
<file path=[Content_Types].xml><?xml version="1.0" encoding="utf-8"?>
<Types xmlns="http://schemas.openxmlformats.org/package/2006/content-types">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2"/>
    <p:sldMasterId id="2147483669" r:id="rId53"/>
    <p:sldMasterId id="2147483703" r:id="rId54"/>
    <p:sldMasterId id="2147483760" r:id="rId55"/>
  </p:sldMasterIdLst>
  <p:notesMasterIdLst>
    <p:notesMasterId r:id="rId103"/>
  </p:notesMasterIdLst>
  <p:sldIdLst>
    <p:sldId id="2134960271" r:id="rId56"/>
    <p:sldId id="258" r:id="rId57"/>
    <p:sldId id="257" r:id="rId58"/>
    <p:sldId id="360" r:id="rId59"/>
    <p:sldId id="2134960215" r:id="rId60"/>
    <p:sldId id="2134960224" r:id="rId61"/>
    <p:sldId id="2134960227" r:id="rId62"/>
    <p:sldId id="11420" r:id="rId63"/>
    <p:sldId id="2134960196" r:id="rId64"/>
    <p:sldId id="714" r:id="rId65"/>
    <p:sldId id="405" r:id="rId66"/>
    <p:sldId id="635" r:id="rId67"/>
    <p:sldId id="2353" r:id="rId68"/>
    <p:sldId id="2134960211" r:id="rId69"/>
    <p:sldId id="2134960249" r:id="rId70"/>
    <p:sldId id="2134960250" r:id="rId71"/>
    <p:sldId id="801" r:id="rId72"/>
    <p:sldId id="812" r:id="rId73"/>
    <p:sldId id="2134960198" r:id="rId74"/>
    <p:sldId id="2134960199" r:id="rId75"/>
    <p:sldId id="989" r:id="rId76"/>
    <p:sldId id="990" r:id="rId77"/>
    <p:sldId id="2134960233" r:id="rId78"/>
    <p:sldId id="2134960197" r:id="rId79"/>
    <p:sldId id="2134960208" r:id="rId80"/>
    <p:sldId id="2134960230" r:id="rId81"/>
    <p:sldId id="2134960232" r:id="rId82"/>
    <p:sldId id="2134960229" r:id="rId83"/>
    <p:sldId id="876" r:id="rId84"/>
    <p:sldId id="927" r:id="rId85"/>
    <p:sldId id="2134960254" r:id="rId86"/>
    <p:sldId id="2134960255" r:id="rId87"/>
    <p:sldId id="2134960256" r:id="rId88"/>
    <p:sldId id="2134960257" r:id="rId89"/>
    <p:sldId id="2134960258" r:id="rId90"/>
    <p:sldId id="2134960259" r:id="rId91"/>
    <p:sldId id="2134960260" r:id="rId92"/>
    <p:sldId id="2134960261" r:id="rId93"/>
    <p:sldId id="2134960263" r:id="rId94"/>
    <p:sldId id="2134960264" r:id="rId95"/>
    <p:sldId id="2134960265" r:id="rId96"/>
    <p:sldId id="2134960266" r:id="rId97"/>
    <p:sldId id="2134960267" r:id="rId98"/>
    <p:sldId id="2134960268" r:id="rId99"/>
    <p:sldId id="2134960269" r:id="rId100"/>
    <p:sldId id="2134960270" r:id="rId101"/>
    <p:sldId id="2264" r:id="rId10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BC6345-AD76-43D9-8EFA-FC925AF42188}" v="88" dt="2025-04-08T07:42:44.3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86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8.xml"/><Relationship Id="rId68" Type="http://schemas.openxmlformats.org/officeDocument/2006/relationships/slide" Target="slides/slide13.xml"/><Relationship Id="rId84" Type="http://schemas.openxmlformats.org/officeDocument/2006/relationships/slide" Target="slides/slide29.xml"/><Relationship Id="rId89" Type="http://schemas.openxmlformats.org/officeDocument/2006/relationships/slide" Target="slides/slide34.xml"/><Relationship Id="rId16" Type="http://schemas.openxmlformats.org/officeDocument/2006/relationships/customXml" Target="../customXml/item16.xml"/><Relationship Id="rId107" Type="http://schemas.openxmlformats.org/officeDocument/2006/relationships/tableStyles" Target="tableStyles.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Master" Target="slideMasters/slideMaster2.xml"/><Relationship Id="rId58" Type="http://schemas.openxmlformats.org/officeDocument/2006/relationships/slide" Target="slides/slide3.xml"/><Relationship Id="rId74" Type="http://schemas.openxmlformats.org/officeDocument/2006/relationships/slide" Target="slides/slide19.xml"/><Relationship Id="rId79" Type="http://schemas.openxmlformats.org/officeDocument/2006/relationships/slide" Target="slides/slide24.xml"/><Relationship Id="rId102" Type="http://schemas.openxmlformats.org/officeDocument/2006/relationships/slide" Target="slides/slide47.xml"/><Relationship Id="rId5" Type="http://schemas.openxmlformats.org/officeDocument/2006/relationships/customXml" Target="../customXml/item5.xml"/><Relationship Id="rId90" Type="http://schemas.openxmlformats.org/officeDocument/2006/relationships/slide" Target="slides/slide35.xml"/><Relationship Id="rId95" Type="http://schemas.openxmlformats.org/officeDocument/2006/relationships/slide" Target="slides/slide40.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9.xml"/><Relationship Id="rId69" Type="http://schemas.openxmlformats.org/officeDocument/2006/relationships/slide" Target="slides/slide14.xml"/><Relationship Id="rId80" Type="http://schemas.openxmlformats.org/officeDocument/2006/relationships/slide" Target="slides/slide25.xml"/><Relationship Id="rId85" Type="http://schemas.openxmlformats.org/officeDocument/2006/relationships/slide" Target="slides/slide30.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slide" Target="slides/slide4.xml"/><Relationship Id="rId103" Type="http://schemas.openxmlformats.org/officeDocument/2006/relationships/notesMaster" Target="notesMasters/notesMaster1.xml"/><Relationship Id="rId108" Type="http://schemas.microsoft.com/office/2016/11/relationships/changesInfo" Target="changesInfos/changesInfo1.xml"/><Relationship Id="rId54" Type="http://schemas.openxmlformats.org/officeDocument/2006/relationships/slideMaster" Target="slideMasters/slideMaster3.xml"/><Relationship Id="rId70" Type="http://schemas.openxmlformats.org/officeDocument/2006/relationships/slide" Target="slides/slide15.xml"/><Relationship Id="rId75" Type="http://schemas.openxmlformats.org/officeDocument/2006/relationships/slide" Target="slides/slide20.xml"/><Relationship Id="rId91" Type="http://schemas.openxmlformats.org/officeDocument/2006/relationships/slide" Target="slides/slide36.xml"/><Relationship Id="rId96" Type="http://schemas.openxmlformats.org/officeDocument/2006/relationships/slide" Target="slides/slide4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 Target="slides/slide2.xml"/><Relationship Id="rId106" Type="http://schemas.openxmlformats.org/officeDocument/2006/relationships/theme" Target="theme/theme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Master" Target="slideMasters/slideMaster1.xml"/><Relationship Id="rId60" Type="http://schemas.openxmlformats.org/officeDocument/2006/relationships/slide" Target="slides/slide5.xml"/><Relationship Id="rId65" Type="http://schemas.openxmlformats.org/officeDocument/2006/relationships/slide" Target="slides/slide10.xml"/><Relationship Id="rId73" Type="http://schemas.openxmlformats.org/officeDocument/2006/relationships/slide" Target="slides/slide18.xml"/><Relationship Id="rId78" Type="http://schemas.openxmlformats.org/officeDocument/2006/relationships/slide" Target="slides/slide23.xml"/><Relationship Id="rId81" Type="http://schemas.openxmlformats.org/officeDocument/2006/relationships/slide" Target="slides/slide26.xml"/><Relationship Id="rId86" Type="http://schemas.openxmlformats.org/officeDocument/2006/relationships/slide" Target="slides/slide31.xml"/><Relationship Id="rId94" Type="http://schemas.openxmlformats.org/officeDocument/2006/relationships/slide" Target="slides/slide39.xml"/><Relationship Id="rId99" Type="http://schemas.openxmlformats.org/officeDocument/2006/relationships/slide" Target="slides/slide44.xml"/><Relationship Id="rId101" Type="http://schemas.openxmlformats.org/officeDocument/2006/relationships/slide" Target="slides/slide46.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microsoft.com/office/2015/10/relationships/revisionInfo" Target="revisionInfo.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slideMaster" Target="slideMasters/slideMaster4.xml"/><Relationship Id="rId76" Type="http://schemas.openxmlformats.org/officeDocument/2006/relationships/slide" Target="slides/slide21.xml"/><Relationship Id="rId97" Type="http://schemas.openxmlformats.org/officeDocument/2006/relationships/slide" Target="slides/slide42.xml"/><Relationship Id="rId104"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16.xml"/><Relationship Id="rId92" Type="http://schemas.openxmlformats.org/officeDocument/2006/relationships/slide" Target="slides/slide37.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11.xml"/><Relationship Id="rId87" Type="http://schemas.openxmlformats.org/officeDocument/2006/relationships/slide" Target="slides/slide32.xml"/><Relationship Id="rId61" Type="http://schemas.openxmlformats.org/officeDocument/2006/relationships/slide" Target="slides/slide6.xml"/><Relationship Id="rId82" Type="http://schemas.openxmlformats.org/officeDocument/2006/relationships/slide" Target="slides/slide27.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xml"/><Relationship Id="rId77" Type="http://schemas.openxmlformats.org/officeDocument/2006/relationships/slide" Target="slides/slide22.xml"/><Relationship Id="rId100" Type="http://schemas.openxmlformats.org/officeDocument/2006/relationships/slide" Target="slides/slide45.xml"/><Relationship Id="rId105"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7.xml"/><Relationship Id="rId93" Type="http://schemas.openxmlformats.org/officeDocument/2006/relationships/slide" Target="slides/slide38.xml"/><Relationship Id="rId98" Type="http://schemas.openxmlformats.org/officeDocument/2006/relationships/slide" Target="slides/slide43.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slide" Target="slides/slide12.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slide" Target="slides/slide7.xml"/><Relationship Id="rId83" Type="http://schemas.openxmlformats.org/officeDocument/2006/relationships/slide" Target="slides/slide28.xml"/><Relationship Id="rId88"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r Tazelaar | Dux Nova" userId="2f70ad18-45dc-46e9-8d5a-4bb38e1ec15b" providerId="ADAL" clId="{79BC6345-AD76-43D9-8EFA-FC925AF42188}"/>
    <pc:docChg chg="custSel addSld delSld modSld sldOrd">
      <pc:chgData name="Sander Tazelaar | Dux Nova" userId="2f70ad18-45dc-46e9-8d5a-4bb38e1ec15b" providerId="ADAL" clId="{79BC6345-AD76-43D9-8EFA-FC925AF42188}" dt="2025-04-08T07:42:44.343" v="101" actId="14100"/>
      <pc:docMkLst>
        <pc:docMk/>
      </pc:docMkLst>
      <pc:sldChg chg="add del">
        <pc:chgData name="Sander Tazelaar | Dux Nova" userId="2f70ad18-45dc-46e9-8d5a-4bb38e1ec15b" providerId="ADAL" clId="{79BC6345-AD76-43D9-8EFA-FC925AF42188}" dt="2025-04-08T07:25:58.570" v="14" actId="47"/>
        <pc:sldMkLst>
          <pc:docMk/>
          <pc:sldMk cId="1450252990" sldId="256"/>
        </pc:sldMkLst>
      </pc:sldChg>
      <pc:sldChg chg="del">
        <pc:chgData name="Sander Tazelaar | Dux Nova" userId="2f70ad18-45dc-46e9-8d5a-4bb38e1ec15b" providerId="ADAL" clId="{79BC6345-AD76-43D9-8EFA-FC925AF42188}" dt="2025-04-08T07:23:22.161" v="7"/>
        <pc:sldMkLst>
          <pc:docMk/>
          <pc:sldMk cId="2897396193" sldId="256"/>
        </pc:sldMkLst>
      </pc:sldChg>
      <pc:sldChg chg="modSp mod">
        <pc:chgData name="Sander Tazelaar | Dux Nova" userId="2f70ad18-45dc-46e9-8d5a-4bb38e1ec15b" providerId="ADAL" clId="{79BC6345-AD76-43D9-8EFA-FC925AF42188}" dt="2025-04-08T07:31:39.127" v="83" actId="20577"/>
        <pc:sldMkLst>
          <pc:docMk/>
          <pc:sldMk cId="577521237" sldId="257"/>
        </pc:sldMkLst>
        <pc:spChg chg="mod">
          <ac:chgData name="Sander Tazelaar | Dux Nova" userId="2f70ad18-45dc-46e9-8d5a-4bb38e1ec15b" providerId="ADAL" clId="{79BC6345-AD76-43D9-8EFA-FC925AF42188}" dt="2025-04-08T07:31:39.127" v="83" actId="20577"/>
          <ac:spMkLst>
            <pc:docMk/>
            <pc:sldMk cId="577521237" sldId="257"/>
            <ac:spMk id="3" creationId="{56D7B030-B788-AD2C-CB48-CDF3194234D4}"/>
          </ac:spMkLst>
        </pc:spChg>
      </pc:sldChg>
      <pc:sldChg chg="del">
        <pc:chgData name="Sander Tazelaar | Dux Nova" userId="2f70ad18-45dc-46e9-8d5a-4bb38e1ec15b" providerId="ADAL" clId="{79BC6345-AD76-43D9-8EFA-FC925AF42188}" dt="2025-04-08T07:32:13.217" v="84" actId="47"/>
        <pc:sldMkLst>
          <pc:docMk/>
          <pc:sldMk cId="876455947" sldId="259"/>
        </pc:sldMkLst>
      </pc:sldChg>
      <pc:sldChg chg="del">
        <pc:chgData name="Sander Tazelaar | Dux Nova" userId="2f70ad18-45dc-46e9-8d5a-4bb38e1ec15b" providerId="ADAL" clId="{79BC6345-AD76-43D9-8EFA-FC925AF42188}" dt="2025-04-08T07:23:22.161" v="7"/>
        <pc:sldMkLst>
          <pc:docMk/>
          <pc:sldMk cId="2716059555" sldId="263"/>
        </pc:sldMkLst>
      </pc:sldChg>
      <pc:sldChg chg="modSp add del mod">
        <pc:chgData name="Sander Tazelaar | Dux Nova" userId="2f70ad18-45dc-46e9-8d5a-4bb38e1ec15b" providerId="ADAL" clId="{79BC6345-AD76-43D9-8EFA-FC925AF42188}" dt="2025-04-08T07:26:08.865" v="15" actId="47"/>
        <pc:sldMkLst>
          <pc:docMk/>
          <pc:sldMk cId="3813736390" sldId="263"/>
        </pc:sldMkLst>
        <pc:spChg chg="mod">
          <ac:chgData name="Sander Tazelaar | Dux Nova" userId="2f70ad18-45dc-46e9-8d5a-4bb38e1ec15b" providerId="ADAL" clId="{79BC6345-AD76-43D9-8EFA-FC925AF42188}" dt="2025-04-08T07:23:48.752" v="10" actId="27636"/>
          <ac:spMkLst>
            <pc:docMk/>
            <pc:sldMk cId="3813736390" sldId="263"/>
            <ac:spMk id="3" creationId="{E6592B2C-D316-7F16-1520-778432A45EC0}"/>
          </ac:spMkLst>
        </pc:spChg>
      </pc:sldChg>
      <pc:sldChg chg="add del">
        <pc:chgData name="Sander Tazelaar | Dux Nova" userId="2f70ad18-45dc-46e9-8d5a-4bb38e1ec15b" providerId="ADAL" clId="{79BC6345-AD76-43D9-8EFA-FC925AF42188}" dt="2025-04-08T07:26:08.865" v="15" actId="47"/>
        <pc:sldMkLst>
          <pc:docMk/>
          <pc:sldMk cId="47794404" sldId="265"/>
        </pc:sldMkLst>
      </pc:sldChg>
      <pc:sldChg chg="del">
        <pc:chgData name="Sander Tazelaar | Dux Nova" userId="2f70ad18-45dc-46e9-8d5a-4bb38e1ec15b" providerId="ADAL" clId="{79BC6345-AD76-43D9-8EFA-FC925AF42188}" dt="2025-04-08T07:23:22.161" v="7"/>
        <pc:sldMkLst>
          <pc:docMk/>
          <pc:sldMk cId="4138916154" sldId="265"/>
        </pc:sldMkLst>
      </pc:sldChg>
      <pc:sldChg chg="del">
        <pc:chgData name="Sander Tazelaar | Dux Nova" userId="2f70ad18-45dc-46e9-8d5a-4bb38e1ec15b" providerId="ADAL" clId="{79BC6345-AD76-43D9-8EFA-FC925AF42188}" dt="2025-04-08T07:23:22.161" v="7"/>
        <pc:sldMkLst>
          <pc:docMk/>
          <pc:sldMk cId="2292211388" sldId="268"/>
        </pc:sldMkLst>
      </pc:sldChg>
      <pc:sldChg chg="modSp add del mod">
        <pc:chgData name="Sander Tazelaar | Dux Nova" userId="2f70ad18-45dc-46e9-8d5a-4bb38e1ec15b" providerId="ADAL" clId="{79BC6345-AD76-43D9-8EFA-FC925AF42188}" dt="2025-04-08T07:26:08.865" v="15" actId="47"/>
        <pc:sldMkLst>
          <pc:docMk/>
          <pc:sldMk cId="2955249758" sldId="268"/>
        </pc:sldMkLst>
        <pc:spChg chg="mod">
          <ac:chgData name="Sander Tazelaar | Dux Nova" userId="2f70ad18-45dc-46e9-8d5a-4bb38e1ec15b" providerId="ADAL" clId="{79BC6345-AD76-43D9-8EFA-FC925AF42188}" dt="2025-04-08T07:23:48.772" v="11" actId="27636"/>
          <ac:spMkLst>
            <pc:docMk/>
            <pc:sldMk cId="2955249758" sldId="268"/>
            <ac:spMk id="3" creationId="{E6592B2C-D316-7F16-1520-778432A45EC0}"/>
          </ac:spMkLst>
        </pc:spChg>
      </pc:sldChg>
      <pc:sldChg chg="add del">
        <pc:chgData name="Sander Tazelaar | Dux Nova" userId="2f70ad18-45dc-46e9-8d5a-4bb38e1ec15b" providerId="ADAL" clId="{79BC6345-AD76-43D9-8EFA-FC925AF42188}" dt="2025-04-08T07:26:08.865" v="15" actId="47"/>
        <pc:sldMkLst>
          <pc:docMk/>
          <pc:sldMk cId="2658832243" sldId="269"/>
        </pc:sldMkLst>
      </pc:sldChg>
      <pc:sldChg chg="del">
        <pc:chgData name="Sander Tazelaar | Dux Nova" userId="2f70ad18-45dc-46e9-8d5a-4bb38e1ec15b" providerId="ADAL" clId="{79BC6345-AD76-43D9-8EFA-FC925AF42188}" dt="2025-04-08T07:23:22.161" v="7"/>
        <pc:sldMkLst>
          <pc:docMk/>
          <pc:sldMk cId="4032678193" sldId="269"/>
        </pc:sldMkLst>
      </pc:sldChg>
      <pc:sldChg chg="del">
        <pc:chgData name="Sander Tazelaar | Dux Nova" userId="2f70ad18-45dc-46e9-8d5a-4bb38e1ec15b" providerId="ADAL" clId="{79BC6345-AD76-43D9-8EFA-FC925AF42188}" dt="2025-04-08T07:23:22.161" v="7"/>
        <pc:sldMkLst>
          <pc:docMk/>
          <pc:sldMk cId="2386092812" sldId="274"/>
        </pc:sldMkLst>
      </pc:sldChg>
      <pc:sldChg chg="add del">
        <pc:chgData name="Sander Tazelaar | Dux Nova" userId="2f70ad18-45dc-46e9-8d5a-4bb38e1ec15b" providerId="ADAL" clId="{79BC6345-AD76-43D9-8EFA-FC925AF42188}" dt="2025-04-08T07:26:08.865" v="15" actId="47"/>
        <pc:sldMkLst>
          <pc:docMk/>
          <pc:sldMk cId="3793085154" sldId="274"/>
        </pc:sldMkLst>
      </pc:sldChg>
      <pc:sldChg chg="del">
        <pc:chgData name="Sander Tazelaar | Dux Nova" userId="2f70ad18-45dc-46e9-8d5a-4bb38e1ec15b" providerId="ADAL" clId="{79BC6345-AD76-43D9-8EFA-FC925AF42188}" dt="2025-04-08T07:23:22.161" v="7"/>
        <pc:sldMkLst>
          <pc:docMk/>
          <pc:sldMk cId="1173283905" sldId="275"/>
        </pc:sldMkLst>
      </pc:sldChg>
      <pc:sldChg chg="add del">
        <pc:chgData name="Sander Tazelaar | Dux Nova" userId="2f70ad18-45dc-46e9-8d5a-4bb38e1ec15b" providerId="ADAL" clId="{79BC6345-AD76-43D9-8EFA-FC925AF42188}" dt="2025-04-08T07:26:08.865" v="15" actId="47"/>
        <pc:sldMkLst>
          <pc:docMk/>
          <pc:sldMk cId="1877973194" sldId="275"/>
        </pc:sldMkLst>
      </pc:sldChg>
      <pc:sldChg chg="del">
        <pc:chgData name="Sander Tazelaar | Dux Nova" userId="2f70ad18-45dc-46e9-8d5a-4bb38e1ec15b" providerId="ADAL" clId="{79BC6345-AD76-43D9-8EFA-FC925AF42188}" dt="2025-04-08T07:23:22.161" v="7"/>
        <pc:sldMkLst>
          <pc:docMk/>
          <pc:sldMk cId="490814953" sldId="276"/>
        </pc:sldMkLst>
      </pc:sldChg>
      <pc:sldChg chg="add del">
        <pc:chgData name="Sander Tazelaar | Dux Nova" userId="2f70ad18-45dc-46e9-8d5a-4bb38e1ec15b" providerId="ADAL" clId="{79BC6345-AD76-43D9-8EFA-FC925AF42188}" dt="2025-04-08T07:26:08.865" v="15" actId="47"/>
        <pc:sldMkLst>
          <pc:docMk/>
          <pc:sldMk cId="4058750303" sldId="276"/>
        </pc:sldMkLst>
      </pc:sldChg>
      <pc:sldChg chg="del">
        <pc:chgData name="Sander Tazelaar | Dux Nova" userId="2f70ad18-45dc-46e9-8d5a-4bb38e1ec15b" providerId="ADAL" clId="{79BC6345-AD76-43D9-8EFA-FC925AF42188}" dt="2025-04-08T07:23:22.161" v="7"/>
        <pc:sldMkLst>
          <pc:docMk/>
          <pc:sldMk cId="2497153984" sldId="277"/>
        </pc:sldMkLst>
      </pc:sldChg>
      <pc:sldChg chg="add del">
        <pc:chgData name="Sander Tazelaar | Dux Nova" userId="2f70ad18-45dc-46e9-8d5a-4bb38e1ec15b" providerId="ADAL" clId="{79BC6345-AD76-43D9-8EFA-FC925AF42188}" dt="2025-04-08T07:26:08.865" v="15" actId="47"/>
        <pc:sldMkLst>
          <pc:docMk/>
          <pc:sldMk cId="2652277999" sldId="277"/>
        </pc:sldMkLst>
      </pc:sldChg>
      <pc:sldChg chg="add del">
        <pc:chgData name="Sander Tazelaar | Dux Nova" userId="2f70ad18-45dc-46e9-8d5a-4bb38e1ec15b" providerId="ADAL" clId="{79BC6345-AD76-43D9-8EFA-FC925AF42188}" dt="2025-04-08T07:26:08.865" v="15" actId="47"/>
        <pc:sldMkLst>
          <pc:docMk/>
          <pc:sldMk cId="1547389620" sldId="278"/>
        </pc:sldMkLst>
      </pc:sldChg>
      <pc:sldChg chg="del">
        <pc:chgData name="Sander Tazelaar | Dux Nova" userId="2f70ad18-45dc-46e9-8d5a-4bb38e1ec15b" providerId="ADAL" clId="{79BC6345-AD76-43D9-8EFA-FC925AF42188}" dt="2025-04-08T07:23:22.161" v="7"/>
        <pc:sldMkLst>
          <pc:docMk/>
          <pc:sldMk cId="2303224473" sldId="278"/>
        </pc:sldMkLst>
      </pc:sldChg>
      <pc:sldChg chg="add del">
        <pc:chgData name="Sander Tazelaar | Dux Nova" userId="2f70ad18-45dc-46e9-8d5a-4bb38e1ec15b" providerId="ADAL" clId="{79BC6345-AD76-43D9-8EFA-FC925AF42188}" dt="2025-04-08T07:26:08.865" v="15" actId="47"/>
        <pc:sldMkLst>
          <pc:docMk/>
          <pc:sldMk cId="1494028730" sldId="279"/>
        </pc:sldMkLst>
      </pc:sldChg>
      <pc:sldChg chg="del">
        <pc:chgData name="Sander Tazelaar | Dux Nova" userId="2f70ad18-45dc-46e9-8d5a-4bb38e1ec15b" providerId="ADAL" clId="{79BC6345-AD76-43D9-8EFA-FC925AF42188}" dt="2025-04-08T07:23:22.161" v="7"/>
        <pc:sldMkLst>
          <pc:docMk/>
          <pc:sldMk cId="1874653617" sldId="279"/>
        </pc:sldMkLst>
      </pc:sldChg>
      <pc:sldChg chg="add del">
        <pc:chgData name="Sander Tazelaar | Dux Nova" userId="2f70ad18-45dc-46e9-8d5a-4bb38e1ec15b" providerId="ADAL" clId="{79BC6345-AD76-43D9-8EFA-FC925AF42188}" dt="2025-04-08T07:26:08.865" v="15" actId="47"/>
        <pc:sldMkLst>
          <pc:docMk/>
          <pc:sldMk cId="1478648242" sldId="280"/>
        </pc:sldMkLst>
      </pc:sldChg>
      <pc:sldChg chg="del">
        <pc:chgData name="Sander Tazelaar | Dux Nova" userId="2f70ad18-45dc-46e9-8d5a-4bb38e1ec15b" providerId="ADAL" clId="{79BC6345-AD76-43D9-8EFA-FC925AF42188}" dt="2025-04-08T07:23:22.161" v="7"/>
        <pc:sldMkLst>
          <pc:docMk/>
          <pc:sldMk cId="2082290293" sldId="280"/>
        </pc:sldMkLst>
      </pc:sldChg>
      <pc:sldChg chg="add del">
        <pc:chgData name="Sander Tazelaar | Dux Nova" userId="2f70ad18-45dc-46e9-8d5a-4bb38e1ec15b" providerId="ADAL" clId="{79BC6345-AD76-43D9-8EFA-FC925AF42188}" dt="2025-04-08T07:26:08.865" v="15" actId="47"/>
        <pc:sldMkLst>
          <pc:docMk/>
          <pc:sldMk cId="39009577" sldId="281"/>
        </pc:sldMkLst>
      </pc:sldChg>
      <pc:sldChg chg="del">
        <pc:chgData name="Sander Tazelaar | Dux Nova" userId="2f70ad18-45dc-46e9-8d5a-4bb38e1ec15b" providerId="ADAL" clId="{79BC6345-AD76-43D9-8EFA-FC925AF42188}" dt="2025-04-08T07:23:22.161" v="7"/>
        <pc:sldMkLst>
          <pc:docMk/>
          <pc:sldMk cId="3189918666" sldId="281"/>
        </pc:sldMkLst>
      </pc:sldChg>
      <pc:sldChg chg="add del">
        <pc:chgData name="Sander Tazelaar | Dux Nova" userId="2f70ad18-45dc-46e9-8d5a-4bb38e1ec15b" providerId="ADAL" clId="{79BC6345-AD76-43D9-8EFA-FC925AF42188}" dt="2025-04-08T07:26:08.865" v="15" actId="47"/>
        <pc:sldMkLst>
          <pc:docMk/>
          <pc:sldMk cId="3098395207" sldId="282"/>
        </pc:sldMkLst>
      </pc:sldChg>
      <pc:sldChg chg="del">
        <pc:chgData name="Sander Tazelaar | Dux Nova" userId="2f70ad18-45dc-46e9-8d5a-4bb38e1ec15b" providerId="ADAL" clId="{79BC6345-AD76-43D9-8EFA-FC925AF42188}" dt="2025-04-08T07:23:22.161" v="7"/>
        <pc:sldMkLst>
          <pc:docMk/>
          <pc:sldMk cId="3118953461" sldId="282"/>
        </pc:sldMkLst>
      </pc:sldChg>
      <pc:sldChg chg="del">
        <pc:chgData name="Sander Tazelaar | Dux Nova" userId="2f70ad18-45dc-46e9-8d5a-4bb38e1ec15b" providerId="ADAL" clId="{79BC6345-AD76-43D9-8EFA-FC925AF42188}" dt="2025-04-08T07:23:22.161" v="7"/>
        <pc:sldMkLst>
          <pc:docMk/>
          <pc:sldMk cId="2978837912" sldId="283"/>
        </pc:sldMkLst>
      </pc:sldChg>
      <pc:sldChg chg="add del">
        <pc:chgData name="Sander Tazelaar | Dux Nova" userId="2f70ad18-45dc-46e9-8d5a-4bb38e1ec15b" providerId="ADAL" clId="{79BC6345-AD76-43D9-8EFA-FC925AF42188}" dt="2025-04-08T07:26:08.865" v="15" actId="47"/>
        <pc:sldMkLst>
          <pc:docMk/>
          <pc:sldMk cId="3316826976" sldId="283"/>
        </pc:sldMkLst>
      </pc:sldChg>
      <pc:sldChg chg="addSp">
        <pc:chgData name="Sander Tazelaar | Dux Nova" userId="2f70ad18-45dc-46e9-8d5a-4bb38e1ec15b" providerId="ADAL" clId="{79BC6345-AD76-43D9-8EFA-FC925AF42188}" dt="2025-04-08T07:23:22.370" v="8"/>
        <pc:sldMkLst>
          <pc:docMk/>
          <pc:sldMk cId="441189173" sldId="2264"/>
        </pc:sldMkLst>
        <pc:picChg chg="add">
          <ac:chgData name="Sander Tazelaar | Dux Nova" userId="2f70ad18-45dc-46e9-8d5a-4bb38e1ec15b" providerId="ADAL" clId="{79BC6345-AD76-43D9-8EFA-FC925AF42188}" dt="2025-04-08T07:23:22.370" v="8"/>
          <ac:picMkLst>
            <pc:docMk/>
            <pc:sldMk cId="441189173" sldId="2264"/>
            <ac:picMk id="4" creationId="{AA5D486F-2AAE-00C8-4D3E-A11E3229DC43}"/>
          </ac:picMkLst>
        </pc:picChg>
      </pc:sldChg>
      <pc:sldChg chg="new del ord">
        <pc:chgData name="Sander Tazelaar | Dux Nova" userId="2f70ad18-45dc-46e9-8d5a-4bb38e1ec15b" providerId="ADAL" clId="{79BC6345-AD76-43D9-8EFA-FC925AF42188}" dt="2025-04-08T07:25:03.412" v="12" actId="47"/>
        <pc:sldMkLst>
          <pc:docMk/>
          <pc:sldMk cId="2276734850" sldId="2134960251"/>
        </pc:sldMkLst>
      </pc:sldChg>
      <pc:sldChg chg="del">
        <pc:chgData name="Sander Tazelaar | Dux Nova" userId="2f70ad18-45dc-46e9-8d5a-4bb38e1ec15b" providerId="ADAL" clId="{79BC6345-AD76-43D9-8EFA-FC925AF42188}" dt="2025-04-08T07:23:22.161" v="7"/>
        <pc:sldMkLst>
          <pc:docMk/>
          <pc:sldMk cId="1174707972" sldId="2134960252"/>
        </pc:sldMkLst>
      </pc:sldChg>
      <pc:sldChg chg="add del">
        <pc:chgData name="Sander Tazelaar | Dux Nova" userId="2f70ad18-45dc-46e9-8d5a-4bb38e1ec15b" providerId="ADAL" clId="{79BC6345-AD76-43D9-8EFA-FC925AF42188}" dt="2025-04-08T07:26:08.865" v="15" actId="47"/>
        <pc:sldMkLst>
          <pc:docMk/>
          <pc:sldMk cId="2576066011" sldId="2134960252"/>
        </pc:sldMkLst>
      </pc:sldChg>
      <pc:sldChg chg="add del">
        <pc:chgData name="Sander Tazelaar | Dux Nova" userId="2f70ad18-45dc-46e9-8d5a-4bb38e1ec15b" providerId="ADAL" clId="{79BC6345-AD76-43D9-8EFA-FC925AF42188}" dt="2025-04-08T07:26:08.865" v="15" actId="47"/>
        <pc:sldMkLst>
          <pc:docMk/>
          <pc:sldMk cId="1702689364" sldId="2134960253"/>
        </pc:sldMkLst>
      </pc:sldChg>
      <pc:sldChg chg="del">
        <pc:chgData name="Sander Tazelaar | Dux Nova" userId="2f70ad18-45dc-46e9-8d5a-4bb38e1ec15b" providerId="ADAL" clId="{79BC6345-AD76-43D9-8EFA-FC925AF42188}" dt="2025-04-08T07:23:22.161" v="7"/>
        <pc:sldMkLst>
          <pc:docMk/>
          <pc:sldMk cId="3611920064" sldId="2134960253"/>
        </pc:sldMkLst>
      </pc:sldChg>
      <pc:sldChg chg="add">
        <pc:chgData name="Sander Tazelaar | Dux Nova" userId="2f70ad18-45dc-46e9-8d5a-4bb38e1ec15b" providerId="ADAL" clId="{79BC6345-AD76-43D9-8EFA-FC925AF42188}" dt="2025-04-08T07:25:54.494" v="13"/>
        <pc:sldMkLst>
          <pc:docMk/>
          <pc:sldMk cId="1290342449" sldId="2134960254"/>
        </pc:sldMkLst>
      </pc:sldChg>
      <pc:sldChg chg="add">
        <pc:chgData name="Sander Tazelaar | Dux Nova" userId="2f70ad18-45dc-46e9-8d5a-4bb38e1ec15b" providerId="ADAL" clId="{79BC6345-AD76-43D9-8EFA-FC925AF42188}" dt="2025-04-08T07:25:54.494" v="13"/>
        <pc:sldMkLst>
          <pc:docMk/>
          <pc:sldMk cId="227082903" sldId="2134960255"/>
        </pc:sldMkLst>
      </pc:sldChg>
      <pc:sldChg chg="add">
        <pc:chgData name="Sander Tazelaar | Dux Nova" userId="2f70ad18-45dc-46e9-8d5a-4bb38e1ec15b" providerId="ADAL" clId="{79BC6345-AD76-43D9-8EFA-FC925AF42188}" dt="2025-04-08T07:25:54.494" v="13"/>
        <pc:sldMkLst>
          <pc:docMk/>
          <pc:sldMk cId="4015733551" sldId="2134960256"/>
        </pc:sldMkLst>
      </pc:sldChg>
      <pc:sldChg chg="add">
        <pc:chgData name="Sander Tazelaar | Dux Nova" userId="2f70ad18-45dc-46e9-8d5a-4bb38e1ec15b" providerId="ADAL" clId="{79BC6345-AD76-43D9-8EFA-FC925AF42188}" dt="2025-04-08T07:25:54.494" v="13"/>
        <pc:sldMkLst>
          <pc:docMk/>
          <pc:sldMk cId="1806337735" sldId="2134960257"/>
        </pc:sldMkLst>
      </pc:sldChg>
      <pc:sldChg chg="add">
        <pc:chgData name="Sander Tazelaar | Dux Nova" userId="2f70ad18-45dc-46e9-8d5a-4bb38e1ec15b" providerId="ADAL" clId="{79BC6345-AD76-43D9-8EFA-FC925AF42188}" dt="2025-04-08T07:25:54.494" v="13"/>
        <pc:sldMkLst>
          <pc:docMk/>
          <pc:sldMk cId="1798528807" sldId="2134960258"/>
        </pc:sldMkLst>
      </pc:sldChg>
      <pc:sldChg chg="add">
        <pc:chgData name="Sander Tazelaar | Dux Nova" userId="2f70ad18-45dc-46e9-8d5a-4bb38e1ec15b" providerId="ADAL" clId="{79BC6345-AD76-43D9-8EFA-FC925AF42188}" dt="2025-04-08T07:25:54.494" v="13"/>
        <pc:sldMkLst>
          <pc:docMk/>
          <pc:sldMk cId="1279789254" sldId="2134960259"/>
        </pc:sldMkLst>
      </pc:sldChg>
      <pc:sldChg chg="add">
        <pc:chgData name="Sander Tazelaar | Dux Nova" userId="2f70ad18-45dc-46e9-8d5a-4bb38e1ec15b" providerId="ADAL" clId="{79BC6345-AD76-43D9-8EFA-FC925AF42188}" dt="2025-04-08T07:25:54.494" v="13"/>
        <pc:sldMkLst>
          <pc:docMk/>
          <pc:sldMk cId="907288737" sldId="2134960260"/>
        </pc:sldMkLst>
      </pc:sldChg>
      <pc:sldChg chg="add">
        <pc:chgData name="Sander Tazelaar | Dux Nova" userId="2f70ad18-45dc-46e9-8d5a-4bb38e1ec15b" providerId="ADAL" clId="{79BC6345-AD76-43D9-8EFA-FC925AF42188}" dt="2025-04-08T07:25:54.494" v="13"/>
        <pc:sldMkLst>
          <pc:docMk/>
          <pc:sldMk cId="4243458191" sldId="2134960261"/>
        </pc:sldMkLst>
      </pc:sldChg>
      <pc:sldChg chg="add">
        <pc:chgData name="Sander Tazelaar | Dux Nova" userId="2f70ad18-45dc-46e9-8d5a-4bb38e1ec15b" providerId="ADAL" clId="{79BC6345-AD76-43D9-8EFA-FC925AF42188}" dt="2025-04-08T07:25:54.494" v="13"/>
        <pc:sldMkLst>
          <pc:docMk/>
          <pc:sldMk cId="3378290963" sldId="2134960262"/>
        </pc:sldMkLst>
      </pc:sldChg>
      <pc:sldChg chg="add">
        <pc:chgData name="Sander Tazelaar | Dux Nova" userId="2f70ad18-45dc-46e9-8d5a-4bb38e1ec15b" providerId="ADAL" clId="{79BC6345-AD76-43D9-8EFA-FC925AF42188}" dt="2025-04-08T07:25:54.494" v="13"/>
        <pc:sldMkLst>
          <pc:docMk/>
          <pc:sldMk cId="2984275682" sldId="2134960263"/>
        </pc:sldMkLst>
      </pc:sldChg>
      <pc:sldChg chg="add">
        <pc:chgData name="Sander Tazelaar | Dux Nova" userId="2f70ad18-45dc-46e9-8d5a-4bb38e1ec15b" providerId="ADAL" clId="{79BC6345-AD76-43D9-8EFA-FC925AF42188}" dt="2025-04-08T07:25:54.494" v="13"/>
        <pc:sldMkLst>
          <pc:docMk/>
          <pc:sldMk cId="2396030010" sldId="2134960264"/>
        </pc:sldMkLst>
      </pc:sldChg>
      <pc:sldChg chg="add">
        <pc:chgData name="Sander Tazelaar | Dux Nova" userId="2f70ad18-45dc-46e9-8d5a-4bb38e1ec15b" providerId="ADAL" clId="{79BC6345-AD76-43D9-8EFA-FC925AF42188}" dt="2025-04-08T07:25:54.494" v="13"/>
        <pc:sldMkLst>
          <pc:docMk/>
          <pc:sldMk cId="1788078894" sldId="2134960265"/>
        </pc:sldMkLst>
      </pc:sldChg>
      <pc:sldChg chg="add">
        <pc:chgData name="Sander Tazelaar | Dux Nova" userId="2f70ad18-45dc-46e9-8d5a-4bb38e1ec15b" providerId="ADAL" clId="{79BC6345-AD76-43D9-8EFA-FC925AF42188}" dt="2025-04-08T07:25:54.494" v="13"/>
        <pc:sldMkLst>
          <pc:docMk/>
          <pc:sldMk cId="774240342" sldId="2134960266"/>
        </pc:sldMkLst>
      </pc:sldChg>
      <pc:sldChg chg="add">
        <pc:chgData name="Sander Tazelaar | Dux Nova" userId="2f70ad18-45dc-46e9-8d5a-4bb38e1ec15b" providerId="ADAL" clId="{79BC6345-AD76-43D9-8EFA-FC925AF42188}" dt="2025-04-08T07:25:54.494" v="13"/>
        <pc:sldMkLst>
          <pc:docMk/>
          <pc:sldMk cId="2151873288" sldId="2134960267"/>
        </pc:sldMkLst>
      </pc:sldChg>
      <pc:sldChg chg="add">
        <pc:chgData name="Sander Tazelaar | Dux Nova" userId="2f70ad18-45dc-46e9-8d5a-4bb38e1ec15b" providerId="ADAL" clId="{79BC6345-AD76-43D9-8EFA-FC925AF42188}" dt="2025-04-08T07:25:54.494" v="13"/>
        <pc:sldMkLst>
          <pc:docMk/>
          <pc:sldMk cId="212288853" sldId="2134960268"/>
        </pc:sldMkLst>
      </pc:sldChg>
      <pc:sldChg chg="add">
        <pc:chgData name="Sander Tazelaar | Dux Nova" userId="2f70ad18-45dc-46e9-8d5a-4bb38e1ec15b" providerId="ADAL" clId="{79BC6345-AD76-43D9-8EFA-FC925AF42188}" dt="2025-04-08T07:25:54.494" v="13"/>
        <pc:sldMkLst>
          <pc:docMk/>
          <pc:sldMk cId="3559244199" sldId="2134960269"/>
        </pc:sldMkLst>
      </pc:sldChg>
      <pc:sldChg chg="add">
        <pc:chgData name="Sander Tazelaar | Dux Nova" userId="2f70ad18-45dc-46e9-8d5a-4bb38e1ec15b" providerId="ADAL" clId="{79BC6345-AD76-43D9-8EFA-FC925AF42188}" dt="2025-04-08T07:25:54.494" v="13"/>
        <pc:sldMkLst>
          <pc:docMk/>
          <pc:sldMk cId="4117808340" sldId="2134960270"/>
        </pc:sldMkLst>
      </pc:sldChg>
      <pc:sldChg chg="addSp delSp modSp new mod ord">
        <pc:chgData name="Sander Tazelaar | Dux Nova" userId="2f70ad18-45dc-46e9-8d5a-4bb38e1ec15b" providerId="ADAL" clId="{79BC6345-AD76-43D9-8EFA-FC925AF42188}" dt="2025-04-08T07:42:44.343" v="101" actId="14100"/>
        <pc:sldMkLst>
          <pc:docMk/>
          <pc:sldMk cId="3860369910" sldId="2134960271"/>
        </pc:sldMkLst>
        <pc:spChg chg="del mod">
          <ac:chgData name="Sander Tazelaar | Dux Nova" userId="2f70ad18-45dc-46e9-8d5a-4bb38e1ec15b" providerId="ADAL" clId="{79BC6345-AD76-43D9-8EFA-FC925AF42188}" dt="2025-04-08T07:28:45.195" v="25" actId="478"/>
          <ac:spMkLst>
            <pc:docMk/>
            <pc:sldMk cId="3860369910" sldId="2134960271"/>
            <ac:spMk id="2" creationId="{0677AA59-7956-CF6D-9C2C-620322EFB99E}"/>
          </ac:spMkLst>
        </pc:spChg>
        <pc:spChg chg="del">
          <ac:chgData name="Sander Tazelaar | Dux Nova" userId="2f70ad18-45dc-46e9-8d5a-4bb38e1ec15b" providerId="ADAL" clId="{79BC6345-AD76-43D9-8EFA-FC925AF42188}" dt="2025-04-08T07:27:20.111" v="19"/>
          <ac:spMkLst>
            <pc:docMk/>
            <pc:sldMk cId="3860369910" sldId="2134960271"/>
            <ac:spMk id="3" creationId="{B7298A8F-61C3-7208-7D1A-C0F319BC6AD3}"/>
          </ac:spMkLst>
        </pc:spChg>
        <pc:spChg chg="add mod">
          <ac:chgData name="Sander Tazelaar | Dux Nova" userId="2f70ad18-45dc-46e9-8d5a-4bb38e1ec15b" providerId="ADAL" clId="{79BC6345-AD76-43D9-8EFA-FC925AF42188}" dt="2025-04-08T07:42:40.161" v="100" actId="1076"/>
          <ac:spMkLst>
            <pc:docMk/>
            <pc:sldMk cId="3860369910" sldId="2134960271"/>
            <ac:spMk id="4" creationId="{D0BA2EFB-1648-9C4D-6B39-A954B7B3891C}"/>
          </ac:spMkLst>
        </pc:spChg>
        <pc:picChg chg="add del mod">
          <ac:chgData name="Sander Tazelaar | Dux Nova" userId="2f70ad18-45dc-46e9-8d5a-4bb38e1ec15b" providerId="ADAL" clId="{79BC6345-AD76-43D9-8EFA-FC925AF42188}" dt="2025-04-08T07:41:59.663" v="97" actId="478"/>
          <ac:picMkLst>
            <pc:docMk/>
            <pc:sldMk cId="3860369910" sldId="2134960271"/>
            <ac:picMk id="2" creationId="{66CFF8F0-9D40-9C83-72D4-2CF1A0D36141}"/>
          </ac:picMkLst>
        </pc:picChg>
        <pc:picChg chg="add mod">
          <ac:chgData name="Sander Tazelaar | Dux Nova" userId="2f70ad18-45dc-46e9-8d5a-4bb38e1ec15b" providerId="ADAL" clId="{79BC6345-AD76-43D9-8EFA-FC925AF42188}" dt="2025-04-08T07:41:58.360" v="96" actId="14100"/>
          <ac:picMkLst>
            <pc:docMk/>
            <pc:sldMk cId="3860369910" sldId="2134960271"/>
            <ac:picMk id="1026" creationId="{25154D81-AAF8-B930-94A6-766D0237E517}"/>
          </ac:picMkLst>
        </pc:picChg>
        <pc:picChg chg="add mod">
          <ac:chgData name="Sander Tazelaar | Dux Nova" userId="2f70ad18-45dc-46e9-8d5a-4bb38e1ec15b" providerId="ADAL" clId="{79BC6345-AD76-43D9-8EFA-FC925AF42188}" dt="2025-04-08T07:42:44.343" v="101" actId="14100"/>
          <ac:picMkLst>
            <pc:docMk/>
            <pc:sldMk cId="3860369910" sldId="2134960271"/>
            <ac:picMk id="1028" creationId="{F57024EE-E5B7-6FC0-D949-F977676D040E}"/>
          </ac:picMkLst>
        </pc:picChg>
      </pc:sldChg>
    </pc:docChg>
  </pc:docChgLst>
  <pc:docChgLst>
    <pc:chgData name="Jurgen Pauwels | Dux Nova" userId="01db191d-2b0e-4170-be2d-538aea6d72cc" providerId="ADAL" clId="{CABD9B53-DE61-4B93-ABC2-40A9C962FD19}"/>
    <pc:docChg chg="delSld modSld">
      <pc:chgData name="Jurgen Pauwels | Dux Nova" userId="01db191d-2b0e-4170-be2d-538aea6d72cc" providerId="ADAL" clId="{CABD9B53-DE61-4B93-ABC2-40A9C962FD19}" dt="2025-04-08T07:36:10.495" v="14" actId="255"/>
      <pc:docMkLst>
        <pc:docMk/>
      </pc:docMkLst>
      <pc:sldChg chg="del">
        <pc:chgData name="Jurgen Pauwels | Dux Nova" userId="01db191d-2b0e-4170-be2d-538aea6d72cc" providerId="ADAL" clId="{CABD9B53-DE61-4B93-ABC2-40A9C962FD19}" dt="2025-04-08T07:34:55.865" v="0" actId="47"/>
        <pc:sldMkLst>
          <pc:docMk/>
          <pc:sldMk cId="3995253667" sldId="270"/>
        </pc:sldMkLst>
      </pc:sldChg>
      <pc:sldChg chg="del">
        <pc:chgData name="Jurgen Pauwels | Dux Nova" userId="01db191d-2b0e-4170-be2d-538aea6d72cc" providerId="ADAL" clId="{CABD9B53-DE61-4B93-ABC2-40A9C962FD19}" dt="2025-04-08T07:35:08.939" v="1" actId="47"/>
        <pc:sldMkLst>
          <pc:docMk/>
          <pc:sldMk cId="3378290963" sldId="2134960262"/>
        </pc:sldMkLst>
      </pc:sldChg>
      <pc:sldChg chg="modSp mod">
        <pc:chgData name="Jurgen Pauwels | Dux Nova" userId="01db191d-2b0e-4170-be2d-538aea6d72cc" providerId="ADAL" clId="{CABD9B53-DE61-4B93-ABC2-40A9C962FD19}" dt="2025-04-08T07:36:10.495" v="14" actId="255"/>
        <pc:sldMkLst>
          <pc:docMk/>
          <pc:sldMk cId="4117808340" sldId="2134960270"/>
        </pc:sldMkLst>
        <pc:spChg chg="mod">
          <ac:chgData name="Jurgen Pauwels | Dux Nova" userId="01db191d-2b0e-4170-be2d-538aea6d72cc" providerId="ADAL" clId="{CABD9B53-DE61-4B93-ABC2-40A9C962FD19}" dt="2025-04-08T07:36:10.495" v="14" actId="255"/>
          <ac:spMkLst>
            <pc:docMk/>
            <pc:sldMk cId="4117808340" sldId="2134960270"/>
            <ac:spMk id="2" creationId="{00352C21-20B7-C364-BEA8-69A46B9EB6C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35B958-D8D5-46E6-A552-20A43F45EF96}" type="datetimeFigureOut">
              <a:rPr lang="nl-NL" smtClean="0"/>
              <a:t>8-4-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A48348-9AAC-417D-A94E-1DD7B2C59CC5}" type="slidenum">
              <a:rPr lang="nl-NL" smtClean="0"/>
              <a:t>‹nr.›</a:t>
            </a:fld>
            <a:endParaRPr lang="nl-NL"/>
          </a:p>
        </p:txBody>
      </p:sp>
    </p:spTree>
    <p:extLst>
      <p:ext uri="{BB962C8B-B14F-4D97-AF65-F5344CB8AC3E}">
        <p14:creationId xmlns:p14="http://schemas.microsoft.com/office/powerpoint/2010/main" val="2895945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jdelijke aanduiding voor dia-afbeelding 1"/>
          <p:cNvSpPr>
            <a:spLocks noGrp="1" noRot="1" noChangeAspect="1" noTextEdit="1"/>
          </p:cNvSpPr>
          <p:nvPr>
            <p:ph type="sldImg"/>
          </p:nvPr>
        </p:nvSpPr>
        <p:spPr>
          <a:ln/>
        </p:spPr>
      </p:sp>
      <p:sp>
        <p:nvSpPr>
          <p:cNvPr id="51203" name="Tijdelijke aanduiding voor notities 2"/>
          <p:cNvSpPr>
            <a:spLocks noGrp="1"/>
          </p:cNvSpPr>
          <p:nvPr>
            <p:ph type="body" idx="1"/>
          </p:nvPr>
        </p:nvSpPr>
        <p:spPr>
          <a:noFill/>
        </p:spPr>
        <p:txBody>
          <a:bodyPr/>
          <a:lstStyle/>
          <a:p>
            <a:endParaRPr lang="en-US" altLang="nl-NL">
              <a:latin typeface="Arial" panose="020B0604020202020204" pitchFamily="34" charset="0"/>
            </a:endParaRPr>
          </a:p>
        </p:txBody>
      </p:sp>
      <p:sp>
        <p:nvSpPr>
          <p:cNvPr id="51204" name="Tijdelijke aanduiding voor datum 3"/>
          <p:cNvSpPr>
            <a:spLocks noGrp="1"/>
          </p:cNvSpPr>
          <p:nvPr>
            <p:ph type="dt" sz="quarter" idx="1"/>
          </p:nvPr>
        </p:nvSpPr>
        <p:spPr>
          <a:noFill/>
        </p:spPr>
        <p:txBody>
          <a:bodyPr/>
          <a:lstStyle>
            <a:lvl1pPr>
              <a:spcBef>
                <a:spcPct val="30000"/>
              </a:spcBef>
              <a:defRPr sz="1300">
                <a:solidFill>
                  <a:schemeClr val="tx1"/>
                </a:solidFill>
                <a:latin typeface="Arial" panose="020B0604020202020204" pitchFamily="34" charset="0"/>
              </a:defRPr>
            </a:lvl1pPr>
            <a:lvl2pPr marL="808944" indent="-311132">
              <a:spcBef>
                <a:spcPct val="30000"/>
              </a:spcBef>
              <a:defRPr sz="1300">
                <a:solidFill>
                  <a:schemeClr val="tx1"/>
                </a:solidFill>
                <a:latin typeface="Arial" panose="020B0604020202020204" pitchFamily="34" charset="0"/>
              </a:defRPr>
            </a:lvl2pPr>
            <a:lvl3pPr marL="1244529" indent="-248906">
              <a:spcBef>
                <a:spcPct val="30000"/>
              </a:spcBef>
              <a:defRPr sz="1300">
                <a:solidFill>
                  <a:schemeClr val="tx1"/>
                </a:solidFill>
                <a:latin typeface="Arial" panose="020B0604020202020204" pitchFamily="34" charset="0"/>
              </a:defRPr>
            </a:lvl3pPr>
            <a:lvl4pPr marL="1742340" indent="-248906">
              <a:spcBef>
                <a:spcPct val="30000"/>
              </a:spcBef>
              <a:defRPr sz="1300">
                <a:solidFill>
                  <a:schemeClr val="tx1"/>
                </a:solidFill>
                <a:latin typeface="Arial" panose="020B0604020202020204" pitchFamily="34" charset="0"/>
              </a:defRPr>
            </a:lvl4pPr>
            <a:lvl5pPr marL="2240151" indent="-248906">
              <a:spcBef>
                <a:spcPct val="30000"/>
              </a:spcBef>
              <a:defRPr sz="1300">
                <a:solidFill>
                  <a:schemeClr val="tx1"/>
                </a:solidFill>
                <a:latin typeface="Arial" panose="020B0604020202020204" pitchFamily="34" charset="0"/>
              </a:defRPr>
            </a:lvl5pPr>
            <a:lvl6pPr marL="2737962" indent="-248906" eaLnBrk="0" fontAlgn="base" hangingPunct="0">
              <a:spcBef>
                <a:spcPct val="30000"/>
              </a:spcBef>
              <a:spcAft>
                <a:spcPct val="0"/>
              </a:spcAft>
              <a:defRPr sz="1300">
                <a:solidFill>
                  <a:schemeClr val="tx1"/>
                </a:solidFill>
                <a:latin typeface="Arial" panose="020B0604020202020204" pitchFamily="34" charset="0"/>
              </a:defRPr>
            </a:lvl6pPr>
            <a:lvl7pPr marL="3235774" indent="-248906" eaLnBrk="0" fontAlgn="base" hangingPunct="0">
              <a:spcBef>
                <a:spcPct val="30000"/>
              </a:spcBef>
              <a:spcAft>
                <a:spcPct val="0"/>
              </a:spcAft>
              <a:defRPr sz="1300">
                <a:solidFill>
                  <a:schemeClr val="tx1"/>
                </a:solidFill>
                <a:latin typeface="Arial" panose="020B0604020202020204" pitchFamily="34" charset="0"/>
              </a:defRPr>
            </a:lvl7pPr>
            <a:lvl8pPr marL="3733585" indent="-248906" eaLnBrk="0" fontAlgn="base" hangingPunct="0">
              <a:spcBef>
                <a:spcPct val="30000"/>
              </a:spcBef>
              <a:spcAft>
                <a:spcPct val="0"/>
              </a:spcAft>
              <a:defRPr sz="1300">
                <a:solidFill>
                  <a:schemeClr val="tx1"/>
                </a:solidFill>
                <a:latin typeface="Arial" panose="020B0604020202020204" pitchFamily="34" charset="0"/>
              </a:defRPr>
            </a:lvl8pPr>
            <a:lvl9pPr marL="4231397" indent="-248906" eaLnBrk="0" fontAlgn="base" hangingPunct="0">
              <a:spcBef>
                <a:spcPct val="30000"/>
              </a:spcBef>
              <a:spcAft>
                <a:spcPct val="0"/>
              </a:spcAft>
              <a:defRPr sz="1300">
                <a:solidFill>
                  <a:schemeClr val="tx1"/>
                </a:solidFill>
                <a:latin typeface="Arial" panose="020B0604020202020204" pitchFamily="34" charset="0"/>
              </a:defRPr>
            </a:lvl9pPr>
          </a:lstStyle>
          <a:p>
            <a:pPr defTabSz="942289">
              <a:spcBef>
                <a:spcPct val="0"/>
              </a:spcBef>
              <a:defRPr/>
            </a:pPr>
            <a:fld id="{F803B73B-55D9-4EBB-A1BB-E9B4B0ED3C33}" type="datetime2">
              <a:rPr lang="nl-NL" altLang="nl-NL">
                <a:solidFill>
                  <a:prstClr val="black"/>
                </a:solidFill>
              </a:rPr>
              <a:pPr defTabSz="942289">
                <a:spcBef>
                  <a:spcPct val="0"/>
                </a:spcBef>
                <a:defRPr/>
              </a:pPr>
              <a:t>dinsdag 8 april 2025</a:t>
            </a:fld>
            <a:endParaRPr lang="nl-NL" altLang="nl-NL">
              <a:solidFill>
                <a:prstClr val="black"/>
              </a:solidFill>
            </a:endParaRPr>
          </a:p>
        </p:txBody>
      </p:sp>
      <p:sp>
        <p:nvSpPr>
          <p:cNvPr id="51205" name="Tijdelijke aanduiding voor dianummer 4"/>
          <p:cNvSpPr>
            <a:spLocks noGrp="1"/>
          </p:cNvSpPr>
          <p:nvPr>
            <p:ph type="sldNum" sz="quarter" idx="5"/>
          </p:nvPr>
        </p:nvSpPr>
        <p:spPr>
          <a:noFill/>
        </p:spPr>
        <p:txBody>
          <a:bodyPr/>
          <a:lstStyle>
            <a:lvl1pPr>
              <a:spcBef>
                <a:spcPct val="30000"/>
              </a:spcBef>
              <a:defRPr sz="1300">
                <a:solidFill>
                  <a:schemeClr val="tx1"/>
                </a:solidFill>
                <a:latin typeface="Arial" panose="020B0604020202020204" pitchFamily="34" charset="0"/>
              </a:defRPr>
            </a:lvl1pPr>
            <a:lvl2pPr marL="808944" indent="-311132">
              <a:spcBef>
                <a:spcPct val="30000"/>
              </a:spcBef>
              <a:defRPr sz="1300">
                <a:solidFill>
                  <a:schemeClr val="tx1"/>
                </a:solidFill>
                <a:latin typeface="Arial" panose="020B0604020202020204" pitchFamily="34" charset="0"/>
              </a:defRPr>
            </a:lvl2pPr>
            <a:lvl3pPr marL="1244529" indent="-248906">
              <a:spcBef>
                <a:spcPct val="30000"/>
              </a:spcBef>
              <a:defRPr sz="1300">
                <a:solidFill>
                  <a:schemeClr val="tx1"/>
                </a:solidFill>
                <a:latin typeface="Arial" panose="020B0604020202020204" pitchFamily="34" charset="0"/>
              </a:defRPr>
            </a:lvl3pPr>
            <a:lvl4pPr marL="1742340" indent="-248906">
              <a:spcBef>
                <a:spcPct val="30000"/>
              </a:spcBef>
              <a:defRPr sz="1300">
                <a:solidFill>
                  <a:schemeClr val="tx1"/>
                </a:solidFill>
                <a:latin typeface="Arial" panose="020B0604020202020204" pitchFamily="34" charset="0"/>
              </a:defRPr>
            </a:lvl4pPr>
            <a:lvl5pPr marL="2240151" indent="-248906">
              <a:spcBef>
                <a:spcPct val="30000"/>
              </a:spcBef>
              <a:defRPr sz="1300">
                <a:solidFill>
                  <a:schemeClr val="tx1"/>
                </a:solidFill>
                <a:latin typeface="Arial" panose="020B0604020202020204" pitchFamily="34" charset="0"/>
              </a:defRPr>
            </a:lvl5pPr>
            <a:lvl6pPr marL="2737962" indent="-248906" eaLnBrk="0" fontAlgn="base" hangingPunct="0">
              <a:spcBef>
                <a:spcPct val="30000"/>
              </a:spcBef>
              <a:spcAft>
                <a:spcPct val="0"/>
              </a:spcAft>
              <a:defRPr sz="1300">
                <a:solidFill>
                  <a:schemeClr val="tx1"/>
                </a:solidFill>
                <a:latin typeface="Arial" panose="020B0604020202020204" pitchFamily="34" charset="0"/>
              </a:defRPr>
            </a:lvl6pPr>
            <a:lvl7pPr marL="3235774" indent="-248906" eaLnBrk="0" fontAlgn="base" hangingPunct="0">
              <a:spcBef>
                <a:spcPct val="30000"/>
              </a:spcBef>
              <a:spcAft>
                <a:spcPct val="0"/>
              </a:spcAft>
              <a:defRPr sz="1300">
                <a:solidFill>
                  <a:schemeClr val="tx1"/>
                </a:solidFill>
                <a:latin typeface="Arial" panose="020B0604020202020204" pitchFamily="34" charset="0"/>
              </a:defRPr>
            </a:lvl7pPr>
            <a:lvl8pPr marL="3733585" indent="-248906" eaLnBrk="0" fontAlgn="base" hangingPunct="0">
              <a:spcBef>
                <a:spcPct val="30000"/>
              </a:spcBef>
              <a:spcAft>
                <a:spcPct val="0"/>
              </a:spcAft>
              <a:defRPr sz="1300">
                <a:solidFill>
                  <a:schemeClr val="tx1"/>
                </a:solidFill>
                <a:latin typeface="Arial" panose="020B0604020202020204" pitchFamily="34" charset="0"/>
              </a:defRPr>
            </a:lvl8pPr>
            <a:lvl9pPr marL="4231397" indent="-248906" eaLnBrk="0" fontAlgn="base" hangingPunct="0">
              <a:spcBef>
                <a:spcPct val="30000"/>
              </a:spcBef>
              <a:spcAft>
                <a:spcPct val="0"/>
              </a:spcAft>
              <a:defRPr sz="1300">
                <a:solidFill>
                  <a:schemeClr val="tx1"/>
                </a:solidFill>
                <a:latin typeface="Arial" panose="020B0604020202020204" pitchFamily="34" charset="0"/>
              </a:defRPr>
            </a:lvl9pPr>
          </a:lstStyle>
          <a:p>
            <a:pPr defTabSz="942289">
              <a:spcBef>
                <a:spcPct val="0"/>
              </a:spcBef>
              <a:defRPr/>
            </a:pPr>
            <a:fld id="{2E9726D2-DCD4-4DE8-86DD-3B0FC1B3EEFE}" type="slidenum">
              <a:rPr lang="nl-NL" altLang="nl-NL">
                <a:solidFill>
                  <a:prstClr val="black"/>
                </a:solidFill>
              </a:rPr>
              <a:pPr defTabSz="942289">
                <a:spcBef>
                  <a:spcPct val="0"/>
                </a:spcBef>
                <a:defRPr/>
              </a:pPr>
              <a:t>11</a:t>
            </a:fld>
            <a:endParaRPr lang="nl-NL" altLang="nl-NL">
              <a:solidFill>
                <a:prstClr val="black"/>
              </a:solidFill>
            </a:endParaRPr>
          </a:p>
        </p:txBody>
      </p:sp>
    </p:spTree>
    <p:extLst>
      <p:ext uri="{BB962C8B-B14F-4D97-AF65-F5344CB8AC3E}">
        <p14:creationId xmlns:p14="http://schemas.microsoft.com/office/powerpoint/2010/main" val="30482415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3207B-39F4-C367-F8DC-7A58108DDF1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7550D87-9DD6-A893-0042-1AD207C30AF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54F68D1E-87A3-8E7E-03FA-53B645A5F1D9}"/>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54C8EC29-1F57-621E-FA9B-02BE9862BA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167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BE9A10-996D-7A0B-34F8-E5D6BEF6AF0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A713F4C-45F0-557F-FC55-D8380483FF6D}"/>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EC1A15EA-073F-D20E-819B-3FBD6063F3F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t>Wat is de toegevoegde waarde van jouw expertise?</a:t>
            </a:r>
          </a:p>
          <a:p>
            <a:endParaRPr lang="nl-NL"/>
          </a:p>
        </p:txBody>
      </p:sp>
      <p:sp>
        <p:nvSpPr>
          <p:cNvPr id="4" name="Tijdelijke aanduiding voor dianummer 3">
            <a:extLst>
              <a:ext uri="{FF2B5EF4-FFF2-40B4-BE49-F238E27FC236}">
                <a16:creationId xmlns:a16="http://schemas.microsoft.com/office/drawing/2014/main" id="{4105C089-A792-E91C-F39F-B27AC13F39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3084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3F951-9EF1-52B5-68F2-30C35E10DD5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76211B92-123D-9BC1-614B-25AA640A6BB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60E32F46-8DF3-9A77-637D-78E89A20978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AE2B586E-E80E-D5A8-B832-FEB20FC70D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4366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069F37-3DD4-B537-A201-44A64E687BA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1E3712B-EBCF-3D19-5810-DA4BC186649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E2BEA41-B888-62D0-F2FE-6E11D8CADD30}"/>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4D4BE1F-A9E8-E76D-0378-56361BCFA2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36639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AF9A44-228B-8195-C141-9A12FC1BF30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9640EF7-7E77-DEE5-90FE-FDBAF8CAD35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F9648AA-7096-EB29-6C6C-B1B5DA8B3BC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7250E5B-0915-16B0-E184-0C91267AF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5339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9184B-384A-9F8C-A5D9-2572934E0EE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378BCC68-3488-174B-9322-B5EEF980ECD3}"/>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8E0B524-375F-B98B-C853-278E881002ED}"/>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12463D2F-4E69-1951-38D8-736B49921A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781791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898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a:t>In today's fast-paced world, efficiency is often seen as the key to success. However, it's important to recognize that efficiency has its limits. The concept of diminishing returns applies to efficiency as well. At some point, the cost of improving efficiency may outweigh the benefits. For example, when it comes to traffic, adding more lanes to a highway may seem like a solution to traffic congestion. However, in reality, it may lead to more cars on the road and even worse congestion. It is important to find the right balance between efficiency and other factors, such as safety, quality, and creativity.</a:t>
            </a:r>
          </a:p>
        </p:txBody>
      </p:sp>
      <p:sp>
        <p:nvSpPr>
          <p:cNvPr id="4" name="Tijdelijke aanduiding voor dianummer 3"/>
          <p:cNvSpPr>
            <a:spLocks noGrp="1"/>
          </p:cNvSpPr>
          <p:nvPr>
            <p:ph type="sldNum" sz="quarter" idx="5"/>
          </p:nvPr>
        </p:nvSpPr>
        <p:spPr/>
        <p:txBody>
          <a:bodyPr/>
          <a:lstStyle/>
          <a:p>
            <a:fld id="{61A1F067-13F3-4B74-9129-FFDDC283E3D2}" type="slidenum">
              <a:rPr lang="en-US" smtClean="0"/>
              <a:t>14</a:t>
            </a:fld>
            <a:endParaRPr lang="en-US"/>
          </a:p>
        </p:txBody>
      </p:sp>
    </p:spTree>
    <p:extLst>
      <p:ext uri="{BB962C8B-B14F-4D97-AF65-F5344CB8AC3E}">
        <p14:creationId xmlns:p14="http://schemas.microsoft.com/office/powerpoint/2010/main" val="1198975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A1F067-13F3-4B74-9129-FFDDC283E3D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87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85750" indent="-285750">
              <a:lnSpc>
                <a:spcPct val="120000"/>
              </a:lnSpc>
              <a:buFont typeface="Arial" panose="020B0604020202020204" pitchFamily="34" charset="0"/>
              <a:buChar char="•"/>
            </a:pPr>
            <a:r>
              <a:rPr lang="nl-NL" sz="1200"/>
              <a:t>Nadruk op ontwikkelingen binnen de organisatie van onze opdrachtgevers en de specifieke opdracht die onder de vacante positie ligt.</a:t>
            </a:r>
          </a:p>
          <a:p>
            <a:pPr marL="285750" indent="-285750">
              <a:lnSpc>
                <a:spcPct val="120000"/>
              </a:lnSpc>
              <a:buFont typeface="Arial" panose="020B0604020202020204" pitchFamily="34" charset="0"/>
              <a:buChar char="•"/>
            </a:pPr>
            <a:r>
              <a:rPr lang="nl-NL" sz="1200"/>
              <a:t>Anders te zoeken, breder te kijken en scherper te kiezen. </a:t>
            </a:r>
          </a:p>
          <a:p>
            <a:pPr marL="285750" indent="-285750">
              <a:lnSpc>
                <a:spcPct val="120000"/>
              </a:lnSpc>
              <a:buFont typeface="Arial" panose="020B0604020202020204" pitchFamily="34" charset="0"/>
              <a:buChar char="•"/>
            </a:pPr>
            <a:r>
              <a:rPr lang="nl-NL" sz="1200"/>
              <a:t>Bewust op zoek naar diversiteit, waar twee werelden bij elkaar komen creëer je synergie en maak je impact. </a:t>
            </a:r>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229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4781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85750" indent="-285750">
              <a:buFont typeface="Arial" panose="020B0604020202020204" pitchFamily="34" charset="0"/>
              <a:buChar char="•"/>
            </a:pPr>
            <a:r>
              <a:rPr lang="nl-NL" sz="1200"/>
              <a:t>Transparant (diffuus)</a:t>
            </a:r>
          </a:p>
          <a:p>
            <a:pPr marL="285750" indent="-285750">
              <a:buFont typeface="Arial" panose="020B0604020202020204" pitchFamily="34" charset="0"/>
              <a:buChar char="•"/>
            </a:pPr>
            <a:r>
              <a:rPr lang="nl-NL" sz="1200"/>
              <a:t>Communicatief (besloten)</a:t>
            </a:r>
          </a:p>
          <a:p>
            <a:pPr marL="285750" indent="-285750">
              <a:buFont typeface="Arial" panose="020B0604020202020204" pitchFamily="34" charset="0"/>
              <a:buChar char="•"/>
            </a:pPr>
            <a:r>
              <a:rPr lang="nl-NL" sz="1200"/>
              <a:t>Intuïtief (analytisch)</a:t>
            </a:r>
          </a:p>
          <a:p>
            <a:pPr marL="285750" indent="-285750">
              <a:buFont typeface="Arial" panose="020B0604020202020204" pitchFamily="34" charset="0"/>
              <a:buChar char="•"/>
            </a:pPr>
            <a:r>
              <a:rPr lang="nl-NL" sz="1200"/>
              <a:t>Reflecterend (observerend)</a:t>
            </a:r>
          </a:p>
          <a:p>
            <a:pPr marL="285750" indent="-285750">
              <a:buFont typeface="Arial" panose="020B0604020202020204" pitchFamily="34" charset="0"/>
              <a:buChar char="•"/>
            </a:pPr>
            <a:r>
              <a:rPr lang="nl-NL" sz="1200"/>
              <a:t>Vertrouwen (controlerend)</a:t>
            </a:r>
          </a:p>
          <a:p>
            <a:pPr marL="285750" indent="-285750">
              <a:buFont typeface="Arial" panose="020B0604020202020204" pitchFamily="34" charset="0"/>
              <a:buChar char="•"/>
            </a:pPr>
            <a:r>
              <a:rPr lang="nl-NL" sz="1200"/>
              <a:t>Ambitieus (behoudend)</a:t>
            </a:r>
          </a:p>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6529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329C7-7B18-CF90-1E86-202D7736166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7B11389F-6777-2AEA-40C7-5D1B4278BBB1}"/>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6CDF1CE7-299B-B15B-D745-DD777C1CBD8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FC826F88-B786-09B4-C810-FA8E013750D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9306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F41D8D-8978-1924-91B7-7BF3A76D7AF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8FD3093-2D86-E545-96A4-CB72504016FD}"/>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1981D38-15FA-38F1-BEA4-C43FC48E342A}"/>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547179D-0AAB-00A7-C220-9B78CEC582A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2022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6E7E86-EC67-ACAF-ABF2-9ADE5F5B21DC}"/>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7CA845F-AD75-76A7-6C58-03B89D708B6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F648C41-9E7B-59C9-0ADF-F4D9F6ACC9AE}"/>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695717B-D081-3320-8F59-547A72349D1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595B51-EFEC-8F49-9E2E-45B9C2492763}" type="slidenum">
              <a:rPr kumimoji="0" lang="nl-N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7772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customXml" Target="../../customXml/item4.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3.xml"/><Relationship Id="rId1" Type="http://schemas.openxmlformats.org/officeDocument/2006/relationships/customXml" Target="../../customXml/item5.xml"/><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3.xml"/><Relationship Id="rId1" Type="http://schemas.openxmlformats.org/officeDocument/2006/relationships/customXml" Target="../../customXml/item6.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9.xml"/><Relationship Id="rId1" Type="http://schemas.openxmlformats.org/officeDocument/2006/relationships/customXml" Target="../../customXml/item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customXml" Target="../../customXml/item10.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3.xml"/><Relationship Id="rId1" Type="http://schemas.openxmlformats.org/officeDocument/2006/relationships/customXml" Target="../../customXml/item11.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customXml" Target="../../customXml/item12.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3.xml"/><Relationship Id="rId1" Type="http://schemas.openxmlformats.org/officeDocument/2006/relationships/customXml" Target="../../customXml/item13.x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customXml" Target="../../customXml/item14.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15.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16.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17.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18.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19.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0.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1.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2.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3.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4.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customXml" Target="../../customXml/item29.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31.xml"/><Relationship Id="rId1" Type="http://schemas.openxmlformats.org/officeDocument/2006/relationships/customXml" Target="../../customXml/item30.xml"/><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33.xml"/><Relationship Id="rId1" Type="http://schemas.openxmlformats.org/officeDocument/2006/relationships/customXml" Target="../../customXml/item32.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35.xml"/><Relationship Id="rId1" Type="http://schemas.openxmlformats.org/officeDocument/2006/relationships/customXml" Target="../../customXml/item34.xml"/><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37.xml"/><Relationship Id="rId1" Type="http://schemas.openxmlformats.org/officeDocument/2006/relationships/customXml" Target="../../customXml/item36.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39.xml"/><Relationship Id="rId1" Type="http://schemas.openxmlformats.org/officeDocument/2006/relationships/customXml" Target="../../customXml/item38.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41.xml"/><Relationship Id="rId1" Type="http://schemas.openxmlformats.org/officeDocument/2006/relationships/customXml" Target="../../customXml/item40.xml"/><Relationship Id="rId4" Type="http://schemas.openxmlformats.org/officeDocument/2006/relationships/image" Target="../media/image13.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43.xml"/><Relationship Id="rId1" Type="http://schemas.openxmlformats.org/officeDocument/2006/relationships/customXml" Target="../../customXml/item42.xml"/><Relationship Id="rId4" Type="http://schemas.openxmlformats.org/officeDocument/2006/relationships/image" Target="../media/image14.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45.xml"/><Relationship Id="rId1" Type="http://schemas.openxmlformats.org/officeDocument/2006/relationships/customXml" Target="../../customXml/item44.xml"/><Relationship Id="rId4" Type="http://schemas.openxmlformats.org/officeDocument/2006/relationships/image" Target="../media/image15.jpe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47.xml"/><Relationship Id="rId1" Type="http://schemas.openxmlformats.org/officeDocument/2006/relationships/customXml" Target="../../customXml/item46.xml"/><Relationship Id="rId4" Type="http://schemas.openxmlformats.org/officeDocument/2006/relationships/image" Target="../media/image16.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49.xml"/><Relationship Id="rId1" Type="http://schemas.openxmlformats.org/officeDocument/2006/relationships/customXml" Target="../../customXml/item48.xml"/><Relationship Id="rId4" Type="http://schemas.openxmlformats.org/officeDocument/2006/relationships/image" Target="../media/image17.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51.xml"/><Relationship Id="rId1" Type="http://schemas.openxmlformats.org/officeDocument/2006/relationships/customXml" Target="../../customXml/item50.xml"/><Relationship Id="rId4" Type="http://schemas.openxmlformats.org/officeDocument/2006/relationships/image" Target="../media/image18.jpe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5F7BB7-1F81-93F9-C540-4503D54A5FE4}"/>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1ED7D464-30EC-7F75-C178-48FF899DD4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2AB18AF2-88EB-1878-5F6E-FB41B499CDE8}"/>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8C9EF4FE-07AC-6662-53DF-F54EB22FE12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513DA21-9816-1CCA-66FD-89D4AF1BC57C}"/>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39349927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1CD23E-BE1C-F446-E261-20E66D685BF9}"/>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ECB3DD6C-F111-D091-5B72-B31BBF0C967F}"/>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84658C26-6EFB-12E3-B230-9DF2F8EE9B96}"/>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457A627E-3F4C-53CB-07A5-C8F7F80378E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795828E-4AAE-BB41-16EE-071BC5E5045F}"/>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2391829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D1E07E32-14F2-F06D-959E-FD5FB9D74E9C}"/>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AECBE859-6EF2-752D-E1A7-A20D19A87BAD}"/>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ACE2556-3389-25D1-DDFA-A4AB687B7F05}"/>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FE377740-8145-CC9F-A3B7-CA6F285FFF3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6991E48-7182-225B-A1B8-FFF58CFB2AD6}"/>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4212638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dia 2 ">
    <p:spTree>
      <p:nvGrpSpPr>
        <p:cNvPr id="1" name=""/>
        <p:cNvGrpSpPr/>
        <p:nvPr/>
      </p:nvGrpSpPr>
      <p:grpSpPr>
        <a:xfrm>
          <a:off x="0" y="0"/>
          <a:ext cx="0" cy="0"/>
          <a:chOff x="0" y="0"/>
          <a:chExt cx="0" cy="0"/>
        </a:xfrm>
      </p:grpSpPr>
      <p:pic>
        <p:nvPicPr>
          <p:cNvPr id="18" name="Picture 4" descr="e:\Users\Studio Max\Desktop\NYE16011-01_Nyenrode Powerpoint map\breedbeeldbeelden\Nyenrode_HR-116-kopi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2000" cy="6858001"/>
          </a:xfrm>
          <a:prstGeom prst="rect">
            <a:avLst/>
          </a:prstGeom>
          <a:noFill/>
          <a:extLst>
            <a:ext uri="{909E8E84-426E-40dd-AFC4-6F175D3DCCD1}">
              <a14:hiddenFill xmlns="" xmlns:a14="http://schemas.microsoft.com/office/drawing/2010/main">
                <a:solidFill>
                  <a:srgbClr val="FFFFFF"/>
                </a:solidFill>
              </a14:hiddenFill>
            </a:ext>
          </a:extLst>
        </p:spPr>
      </p:pic>
      <p:sp>
        <p:nvSpPr>
          <p:cNvPr id="9" name="Rechthoek 8"/>
          <p:cNvSpPr/>
          <p:nvPr userDrawn="1"/>
        </p:nvSpPr>
        <p:spPr>
          <a:xfrm>
            <a:off x="1" y="4688959"/>
            <a:ext cx="12192000" cy="1476346"/>
          </a:xfrm>
          <a:prstGeom prst="rect">
            <a:avLst/>
          </a:prstGeom>
          <a:gradFill flip="none" rotWithShape="1">
            <a:gsLst>
              <a:gs pos="0">
                <a:srgbClr val="E6E9F0"/>
              </a:gs>
              <a:gs pos="71000">
                <a:srgbClr val="F7F9F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sp>
        <p:nvSpPr>
          <p:cNvPr id="2" name="Titel 1"/>
          <p:cNvSpPr>
            <a:spLocks noGrp="1"/>
          </p:cNvSpPr>
          <p:nvPr>
            <p:ph type="ctrTitle" hasCustomPrompt="1"/>
          </p:nvPr>
        </p:nvSpPr>
        <p:spPr>
          <a:xfrm>
            <a:off x="143338" y="4869161"/>
            <a:ext cx="11739254" cy="461913"/>
          </a:xfrm>
        </p:spPr>
        <p:txBody>
          <a:bodyPr anchor="t" anchorCtr="0">
            <a:noAutofit/>
          </a:bodyPr>
          <a:lstStyle>
            <a:lvl1pPr algn="l">
              <a:lnSpc>
                <a:spcPts val="2963"/>
              </a:lnSpc>
              <a:defRPr sz="2963" b="1">
                <a:solidFill>
                  <a:srgbClr val="365172"/>
                </a:solidFill>
              </a:defRPr>
            </a:lvl1pPr>
          </a:lstStyle>
          <a:p>
            <a:r>
              <a:rPr lang="nl-NL"/>
              <a:t>KLIK OM DE STIJL TE BEWERKEN</a:t>
            </a:r>
            <a:endParaRPr lang="en-US"/>
          </a:p>
        </p:txBody>
      </p:sp>
      <p:sp>
        <p:nvSpPr>
          <p:cNvPr id="3" name="Ondertitel 2"/>
          <p:cNvSpPr>
            <a:spLocks noGrp="1"/>
          </p:cNvSpPr>
          <p:nvPr>
            <p:ph type="subTitle" idx="1"/>
          </p:nvPr>
        </p:nvSpPr>
        <p:spPr>
          <a:xfrm>
            <a:off x="143338" y="5661248"/>
            <a:ext cx="11739254" cy="288032"/>
          </a:xfrm>
        </p:spPr>
        <p:txBody>
          <a:bodyPr anchor="ctr" anchorCtr="0">
            <a:noAutofit/>
          </a:bodyPr>
          <a:lstStyle>
            <a:lvl1pPr marL="0" indent="0" algn="l">
              <a:buNone/>
              <a:defRPr sz="2116">
                <a:solidFill>
                  <a:srgbClr val="365172"/>
                </a:solidFill>
              </a:defRPr>
            </a:lvl1pPr>
            <a:lvl2pPr marL="483763" indent="0" algn="ctr">
              <a:buNone/>
              <a:defRPr>
                <a:solidFill>
                  <a:schemeClr val="tx1">
                    <a:tint val="75000"/>
                  </a:schemeClr>
                </a:solidFill>
              </a:defRPr>
            </a:lvl2pPr>
            <a:lvl3pPr marL="967527" indent="0" algn="ctr">
              <a:buNone/>
              <a:defRPr>
                <a:solidFill>
                  <a:schemeClr val="tx1">
                    <a:tint val="75000"/>
                  </a:schemeClr>
                </a:solidFill>
              </a:defRPr>
            </a:lvl3pPr>
            <a:lvl4pPr marL="1451290" indent="0" algn="ctr">
              <a:buNone/>
              <a:defRPr>
                <a:solidFill>
                  <a:schemeClr val="tx1">
                    <a:tint val="75000"/>
                  </a:schemeClr>
                </a:solidFill>
              </a:defRPr>
            </a:lvl4pPr>
            <a:lvl5pPr marL="1935053" indent="0" algn="ctr">
              <a:buNone/>
              <a:defRPr>
                <a:solidFill>
                  <a:schemeClr val="tx1">
                    <a:tint val="75000"/>
                  </a:schemeClr>
                </a:solidFill>
              </a:defRPr>
            </a:lvl5pPr>
            <a:lvl6pPr marL="2418817" indent="0" algn="ctr">
              <a:buNone/>
              <a:defRPr>
                <a:solidFill>
                  <a:schemeClr val="tx1">
                    <a:tint val="75000"/>
                  </a:schemeClr>
                </a:solidFill>
              </a:defRPr>
            </a:lvl6pPr>
            <a:lvl7pPr marL="2902580" indent="0" algn="ctr">
              <a:buNone/>
              <a:defRPr>
                <a:solidFill>
                  <a:schemeClr val="tx1">
                    <a:tint val="75000"/>
                  </a:schemeClr>
                </a:solidFill>
              </a:defRPr>
            </a:lvl7pPr>
            <a:lvl8pPr marL="3386343" indent="0" algn="ctr">
              <a:buNone/>
              <a:defRPr>
                <a:solidFill>
                  <a:schemeClr val="tx1">
                    <a:tint val="75000"/>
                  </a:schemeClr>
                </a:solidFill>
              </a:defRPr>
            </a:lvl8pPr>
            <a:lvl9pPr marL="3870107" indent="0" algn="ctr">
              <a:buNone/>
              <a:defRPr>
                <a:solidFill>
                  <a:schemeClr val="tx1">
                    <a:tint val="75000"/>
                  </a:schemeClr>
                </a:solidFill>
              </a:defRPr>
            </a:lvl9pPr>
          </a:lstStyle>
          <a:p>
            <a:r>
              <a:rPr lang="en-US"/>
              <a:t>Click to edit Master subtitle style</a:t>
            </a:r>
          </a:p>
        </p:txBody>
      </p:sp>
      <p:sp>
        <p:nvSpPr>
          <p:cNvPr id="4" name="Tijdelijke aanduiding voor datum 3"/>
          <p:cNvSpPr>
            <a:spLocks noGrp="1"/>
          </p:cNvSpPr>
          <p:nvPr>
            <p:ph type="dt" sz="half" idx="10"/>
          </p:nvPr>
        </p:nvSpPr>
        <p:spPr/>
        <p:txBody>
          <a:bodyPr/>
          <a:lstStyle/>
          <a:p>
            <a:fld id="{2DA234EA-65A2-4A06-AD22-5931415D03E5}" type="datetime1">
              <a:rPr lang="en-US" smtClean="0"/>
              <a:t>4/8/2025</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34A0F559-C120-4789-B420-3451E346105D}" type="slidenum">
              <a:rPr lang="en-US" smtClean="0"/>
              <a:t>‹nr.›</a:t>
            </a:fld>
            <a:endParaRPr lang="en-US"/>
          </a:p>
        </p:txBody>
      </p:sp>
      <p:sp>
        <p:nvSpPr>
          <p:cNvPr id="16" name="Tekstvak 15"/>
          <p:cNvSpPr txBox="1"/>
          <p:nvPr userDrawn="1"/>
        </p:nvSpPr>
        <p:spPr>
          <a:xfrm>
            <a:off x="144000" y="6381329"/>
            <a:ext cx="4512502" cy="255134"/>
          </a:xfrm>
          <a:prstGeom prst="rect">
            <a:avLst/>
          </a:prstGeom>
          <a:noFill/>
        </p:spPr>
        <p:txBody>
          <a:bodyPr wrap="square" rtlCol="0">
            <a:spAutoFit/>
          </a:bodyPr>
          <a:lstStyle/>
          <a:p>
            <a:r>
              <a:rPr lang="nl-NL" sz="1058" b="1">
                <a:solidFill>
                  <a:schemeClr val="bg1"/>
                </a:solidFill>
                <a:latin typeface="Arial" panose="020B0604020202020204" pitchFamily="34" charset="0"/>
                <a:cs typeface="Arial" panose="020B0604020202020204" pitchFamily="34" charset="0"/>
              </a:rPr>
              <a:t>NYENRODE.</a:t>
            </a:r>
            <a:r>
              <a:rPr lang="nl-NL" sz="1058" b="1" baseline="0">
                <a:solidFill>
                  <a:schemeClr val="bg1"/>
                </a:solidFill>
                <a:latin typeface="Arial" panose="020B0604020202020204" pitchFamily="34" charset="0"/>
                <a:cs typeface="Arial" panose="020B0604020202020204" pitchFamily="34" charset="0"/>
              </a:rPr>
              <a:t> A REWARD FOR LIFE</a:t>
            </a:r>
            <a:endParaRPr lang="en-US" sz="1058" b="1">
              <a:solidFill>
                <a:schemeClr val="bg1"/>
              </a:solidFill>
              <a:latin typeface="Arial" panose="020B0604020202020204" pitchFamily="34" charset="0"/>
              <a:cs typeface="Arial" panose="020B0604020202020204" pitchFamily="34" charset="0"/>
            </a:endParaRPr>
          </a:p>
        </p:txBody>
      </p:sp>
      <p:sp>
        <p:nvSpPr>
          <p:cNvPr id="15" name="Rechthoek 14"/>
          <p:cNvSpPr/>
          <p:nvPr userDrawn="1"/>
        </p:nvSpPr>
        <p:spPr>
          <a:xfrm>
            <a:off x="2" y="6133763"/>
            <a:ext cx="12191999" cy="724237"/>
          </a:xfrm>
          <a:prstGeom prst="rect">
            <a:avLst/>
          </a:prstGeom>
          <a:gradFill>
            <a:gsLst>
              <a:gs pos="0">
                <a:srgbClr val="344E6E"/>
              </a:gs>
              <a:gs pos="11000">
                <a:srgbClr val="5E729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5"/>
          </a:p>
        </p:txBody>
      </p:sp>
      <p:sp>
        <p:nvSpPr>
          <p:cNvPr id="20" name="Tekstvak 19"/>
          <p:cNvSpPr txBox="1"/>
          <p:nvPr userDrawn="1"/>
        </p:nvSpPr>
        <p:spPr>
          <a:xfrm>
            <a:off x="144000" y="6405949"/>
            <a:ext cx="4512502" cy="255134"/>
          </a:xfrm>
          <a:prstGeom prst="rect">
            <a:avLst/>
          </a:prstGeom>
          <a:noFill/>
        </p:spPr>
        <p:txBody>
          <a:bodyPr wrap="square" rtlCol="0">
            <a:spAutoFit/>
          </a:bodyPr>
          <a:lstStyle/>
          <a:p>
            <a:r>
              <a:rPr lang="nl-NL" sz="1058" b="1">
                <a:solidFill>
                  <a:schemeClr val="bg1"/>
                </a:solidFill>
                <a:latin typeface="Arial" panose="020B0604020202020204" pitchFamily="34" charset="0"/>
                <a:cs typeface="Arial" panose="020B0604020202020204" pitchFamily="34" charset="0"/>
              </a:rPr>
              <a:t>NYENRODE.</a:t>
            </a:r>
            <a:r>
              <a:rPr lang="nl-NL" sz="1058" b="1" baseline="0">
                <a:solidFill>
                  <a:schemeClr val="bg1"/>
                </a:solidFill>
                <a:latin typeface="Arial" panose="020B0604020202020204" pitchFamily="34" charset="0"/>
                <a:cs typeface="Arial" panose="020B0604020202020204" pitchFamily="34" charset="0"/>
              </a:rPr>
              <a:t> A REWARD FOR LIFE</a:t>
            </a:r>
            <a:endParaRPr lang="en-US" sz="1058" b="1">
              <a:solidFill>
                <a:schemeClr val="bg1"/>
              </a:solidFill>
              <a:latin typeface="Arial" panose="020B0604020202020204" pitchFamily="34" charset="0"/>
              <a:cs typeface="Arial" panose="020B0604020202020204" pitchFamily="34" charset="0"/>
            </a:endParaRPr>
          </a:p>
        </p:txBody>
      </p:sp>
      <p:pic>
        <p:nvPicPr>
          <p:cNvPr id="21" name="Picture 2" descr="e:\Users\Studio Max\Desktop\NyenrodeLogoFCDiap.png"/>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0517005" y="6375386"/>
            <a:ext cx="1439540" cy="32170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21481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9_Design slide">
    <p:spTree>
      <p:nvGrpSpPr>
        <p:cNvPr id="1" name=""/>
        <p:cNvGrpSpPr/>
        <p:nvPr/>
      </p:nvGrpSpPr>
      <p:grpSpPr>
        <a:xfrm>
          <a:off x="0" y="0"/>
          <a:ext cx="0" cy="0"/>
          <a:chOff x="0" y="0"/>
          <a:chExt cx="0" cy="0"/>
        </a:xfrm>
      </p:grpSpPr>
      <p:cxnSp>
        <p:nvCxnSpPr>
          <p:cNvPr id="9" name="Straight Connector 5"/>
          <p:cNvCxnSpPr/>
          <p:nvPr/>
        </p:nvCxnSpPr>
        <p:spPr>
          <a:xfrm flipV="1">
            <a:off x="-495300" y="65722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0" name="Straight Connector 6"/>
          <p:cNvCxnSpPr/>
          <p:nvPr/>
        </p:nvCxnSpPr>
        <p:spPr>
          <a:xfrm flipV="1">
            <a:off x="-495300" y="1038225"/>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1" name="Straight Connector 7"/>
          <p:cNvCxnSpPr/>
          <p:nvPr/>
        </p:nvCxnSpPr>
        <p:spPr>
          <a:xfrm flipV="1">
            <a:off x="-542925" y="6475413"/>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2" name="Straight Connector 8"/>
          <p:cNvCxnSpPr/>
          <p:nvPr/>
        </p:nvCxnSpPr>
        <p:spPr>
          <a:xfrm flipV="1">
            <a:off x="609600" y="-356394"/>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4" name="Straight Connector 9"/>
          <p:cNvCxnSpPr/>
          <p:nvPr/>
        </p:nvCxnSpPr>
        <p:spPr>
          <a:xfrm flipV="1">
            <a:off x="11635582" y="-226219"/>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pic>
        <p:nvPicPr>
          <p:cNvPr id="15" name="Picture 11"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r="82782"/>
          <a:stretch>
            <a:fillRect/>
          </a:stretch>
        </p:blipFill>
        <p:spPr bwMode="auto">
          <a:xfrm>
            <a:off x="10972007" y="61913"/>
            <a:ext cx="647700" cy="60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Rectangle 200"/>
          <p:cNvSpPr>
            <a:spLocks noChangeArrowheads="1"/>
          </p:cNvSpPr>
          <p:nvPr/>
        </p:nvSpPr>
        <p:spPr bwMode="auto">
          <a:xfrm>
            <a:off x="9468644" y="14288"/>
            <a:ext cx="1434306" cy="640557"/>
          </a:xfrm>
          <a:prstGeom prst="rect">
            <a:avLst/>
          </a:prstGeom>
          <a:solidFill>
            <a:srgbClr val="4D4D4D">
              <a:alpha val="39999"/>
            </a:srgbClr>
          </a:solidFill>
          <a:ln w="3175">
            <a:solidFill>
              <a:schemeClr val="accent1"/>
            </a:solidFill>
            <a:miter lim="800000"/>
            <a:headEnd/>
            <a:tailEnd/>
          </a:ln>
        </p:spPr>
        <p:txBody>
          <a:bodyPr wrap="none" lIns="18000" tIns="18000" rIns="18000" bIns="18000" anchor="ctr"/>
          <a:lstStyle/>
          <a:p>
            <a:pPr algn="ctr" defTabSz="292100" fontAlgn="base">
              <a:spcBef>
                <a:spcPct val="0"/>
              </a:spcBef>
              <a:spcAft>
                <a:spcPct val="0"/>
              </a:spcAft>
            </a:pPr>
            <a:r>
              <a:rPr lang="en-GB" sz="1400">
                <a:solidFill>
                  <a:srgbClr val="000000"/>
                </a:solidFill>
                <a:ea typeface="ＭＳ Ｐゴシック" charset="0"/>
                <a:sym typeface="Avenir Roman" charset="0"/>
              </a:rPr>
              <a:t>customer logo</a:t>
            </a:r>
          </a:p>
        </p:txBody>
      </p:sp>
      <p:cxnSp>
        <p:nvCxnSpPr>
          <p:cNvPr id="17" name="Straight Connector 12"/>
          <p:cNvCxnSpPr/>
          <p:nvPr/>
        </p:nvCxnSpPr>
        <p:spPr>
          <a:xfrm flipV="1">
            <a:off x="10922794" y="-189707"/>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9" name="Straight Connector 13"/>
          <p:cNvCxnSpPr/>
          <p:nvPr/>
        </p:nvCxnSpPr>
        <p:spPr>
          <a:xfrm flipV="1">
            <a:off x="6116638" y="-3444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0" name="Straight Connector 14"/>
          <p:cNvCxnSpPr/>
          <p:nvPr/>
        </p:nvCxnSpPr>
        <p:spPr>
          <a:xfrm flipV="1">
            <a:off x="-419100" y="1392238"/>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1" name="Straight Connector 15"/>
          <p:cNvCxnSpPr/>
          <p:nvPr/>
        </p:nvCxnSpPr>
        <p:spPr>
          <a:xfrm flipV="1">
            <a:off x="-572294" y="6349207"/>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16"/>
          <p:cNvCxnSpPr/>
          <p:nvPr/>
        </p:nvCxnSpPr>
        <p:spPr>
          <a:xfrm flipV="1">
            <a:off x="-542925" y="5397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5" name="Straight Connector 17"/>
          <p:cNvCxnSpPr/>
          <p:nvPr/>
        </p:nvCxnSpPr>
        <p:spPr>
          <a:xfrm flipV="1">
            <a:off x="5934869" y="-2682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6" name="Straight Connector 18"/>
          <p:cNvCxnSpPr/>
          <p:nvPr/>
        </p:nvCxnSpPr>
        <p:spPr>
          <a:xfrm flipV="1">
            <a:off x="6308725" y="-1920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sp>
        <p:nvSpPr>
          <p:cNvPr id="27" name="Text Box 202"/>
          <p:cNvSpPr txBox="1">
            <a:spLocks noChangeArrowheads="1"/>
          </p:cNvSpPr>
          <p:nvPr/>
        </p:nvSpPr>
        <p:spPr bwMode="auto">
          <a:xfrm>
            <a:off x="-3969" y="-212725"/>
            <a:ext cx="3338513" cy="196056"/>
          </a:xfrm>
          <a:prstGeom prst="rect">
            <a:avLst/>
          </a:prstGeom>
          <a:solidFill>
            <a:schemeClr val="accent1"/>
          </a:solidFill>
          <a:ln w="3175">
            <a:solidFill>
              <a:schemeClr val="accent1"/>
            </a:solidFill>
            <a:miter lim="800000"/>
            <a:headEnd/>
            <a:tailEnd/>
          </a:ln>
        </p:spPr>
        <p:txBody>
          <a:bodyPr lIns="18000" tIns="18000" rIns="18000" bIns="18000"/>
          <a:lstStyle>
            <a:lvl1pPr algn="ctr" defTabSz="330200" eaLnBrk="0" hangingPunct="0">
              <a:tabLst>
                <a:tab pos="8521700" algn="r"/>
              </a:tabLst>
              <a:defRPr sz="5000">
                <a:solidFill>
                  <a:schemeClr val="tx1"/>
                </a:solidFill>
                <a:latin typeface="Avenir" charset="0"/>
                <a:ea typeface="ＭＳ Ｐゴシック" charset="0"/>
                <a:cs typeface="Avenir" charset="0"/>
                <a:sym typeface="Avenir Roman" charset="0"/>
              </a:defRPr>
            </a:lvl1pPr>
            <a:lvl2pPr marL="742950" indent="-285750" algn="ctr" defTabSz="330200" eaLnBrk="0" hangingPunct="0">
              <a:tabLst>
                <a:tab pos="8521700" algn="r"/>
              </a:tabLst>
              <a:defRPr sz="5000">
                <a:solidFill>
                  <a:schemeClr val="tx1"/>
                </a:solidFill>
                <a:latin typeface="Avenir" charset="0"/>
                <a:ea typeface="Avenir" charset="0"/>
                <a:cs typeface="Avenir" charset="0"/>
                <a:sym typeface="Avenir Roman" charset="0"/>
              </a:defRPr>
            </a:lvl2pPr>
            <a:lvl3pPr marL="11430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3pPr>
            <a:lvl4pPr marL="16002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4pPr>
            <a:lvl5pPr marL="20574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5pPr>
            <a:lvl6pPr marL="25146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6pPr>
            <a:lvl7pPr marL="29718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7pPr>
            <a:lvl8pPr marL="34290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8pPr>
            <a:lvl9pPr marL="38862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9pPr>
          </a:lstStyle>
          <a:p>
            <a:pPr eaLnBrk="1" fontAlgn="base" hangingPunct="1">
              <a:spcBef>
                <a:spcPct val="50000"/>
              </a:spcBef>
              <a:spcAft>
                <a:spcPct val="0"/>
              </a:spcAft>
              <a:defRPr/>
            </a:pPr>
            <a:r>
              <a:rPr lang="en-GB" sz="800" b="1">
                <a:solidFill>
                  <a:prstClr val="white"/>
                </a:solidFill>
                <a:latin typeface="Futura Medium" charset="0"/>
              </a:rPr>
              <a:t>guides &amp; place holders – remove on slide master, but adhere to it </a:t>
            </a:r>
            <a:r>
              <a:rPr lang="en-GB" sz="800" b="1">
                <a:solidFill>
                  <a:prstClr val="white"/>
                </a:solidFill>
                <a:latin typeface="Futura Medium" charset="0"/>
                <a:sym typeface="Wingdings" charset="0"/>
              </a:rPr>
              <a:t></a:t>
            </a:r>
            <a:endParaRPr lang="en-GB" sz="800" b="1">
              <a:solidFill>
                <a:prstClr val="white"/>
              </a:solidFill>
              <a:latin typeface="Futura Medium" charset="0"/>
            </a:endParaRPr>
          </a:p>
        </p:txBody>
      </p:sp>
      <p:pic>
        <p:nvPicPr>
          <p:cNvPr id="28" name="Picture 21"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30394" y="-962025"/>
            <a:ext cx="3760788" cy="6056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12"/>
          <p:cNvSpPr>
            <a:spLocks noGrp="1"/>
          </p:cNvSpPr>
          <p:nvPr>
            <p:ph type="title" hasCustomPrompt="1"/>
          </p:nvPr>
        </p:nvSpPr>
        <p:spPr>
          <a:xfrm>
            <a:off x="609600" y="67604"/>
            <a:ext cx="8858654" cy="579898"/>
          </a:xfrm>
        </p:spPr>
        <p:txBody>
          <a:bodyPr/>
          <a:lstStyle>
            <a:lvl1pPr algn="l">
              <a:defRPr>
                <a:latin typeface="Futura Medium"/>
              </a:defRPr>
            </a:lvl1pPr>
          </a:lstStyle>
          <a:p>
            <a:r>
              <a:rPr lang="en-US"/>
              <a:t>CLICK TO EDIT MASTER TITLE STYLE</a:t>
            </a:r>
            <a:endParaRPr lang="en-GB"/>
          </a:p>
        </p:txBody>
      </p:sp>
      <p:sp>
        <p:nvSpPr>
          <p:cNvPr id="18" name="Text Placeholder 17"/>
          <p:cNvSpPr>
            <a:spLocks noGrp="1"/>
          </p:cNvSpPr>
          <p:nvPr>
            <p:ph type="body" sz="quarter" idx="13"/>
          </p:nvPr>
        </p:nvSpPr>
        <p:spPr>
          <a:xfrm>
            <a:off x="609600" y="1037432"/>
            <a:ext cx="5304078" cy="371373"/>
          </a:xfrm>
        </p:spPr>
        <p:txBody>
          <a:bodyPr/>
          <a:lstStyle>
            <a:lvl1pPr marL="0" indent="0">
              <a:buNone/>
              <a:defRPr/>
            </a:lvl1pPr>
          </a:lstStyle>
          <a:p>
            <a:pPr lvl="0"/>
            <a:r>
              <a:rPr lang="en-US"/>
              <a:t>Click to edit Master text styles</a:t>
            </a:r>
            <a:endParaRPr lang="en-GB"/>
          </a:p>
        </p:txBody>
      </p:sp>
      <p:sp>
        <p:nvSpPr>
          <p:cNvPr id="29" name="Text Placeholder 28"/>
          <p:cNvSpPr>
            <a:spLocks noGrp="1"/>
          </p:cNvSpPr>
          <p:nvPr>
            <p:ph type="body" sz="quarter" idx="14"/>
          </p:nvPr>
        </p:nvSpPr>
        <p:spPr>
          <a:xfrm>
            <a:off x="609600" y="661194"/>
            <a:ext cx="10193732" cy="383672"/>
          </a:xfrm>
        </p:spPr>
        <p:txBody>
          <a:bodyPr/>
          <a:lstStyle>
            <a:lvl1pPr marL="0" indent="0">
              <a:buFontTx/>
              <a:buNone/>
              <a:defRPr baseline="0">
                <a:latin typeface="Futura Medium"/>
              </a:defRPr>
            </a:lvl1pPr>
            <a:lvl2pPr marL="228600" indent="0">
              <a:buFontTx/>
              <a:buNone/>
              <a:defRPr baseline="0">
                <a:latin typeface="Futura Medium"/>
              </a:defRPr>
            </a:lvl2pPr>
            <a:lvl3pPr marL="457200" indent="0">
              <a:buFontTx/>
              <a:buNone/>
              <a:defRPr baseline="0">
                <a:latin typeface="Futura Medium"/>
              </a:defRPr>
            </a:lvl3pPr>
            <a:lvl4pPr marL="685800" indent="0">
              <a:buFontTx/>
              <a:buNone/>
              <a:defRPr baseline="0">
                <a:latin typeface="Futura Medium"/>
              </a:defRPr>
            </a:lvl4pPr>
            <a:lvl5pPr marL="914400" indent="0">
              <a:buFontTx/>
              <a:buNone/>
              <a:defRPr baseline="0">
                <a:latin typeface="Futura Medium"/>
              </a:defRPr>
            </a:lvl5pPr>
          </a:lstStyle>
          <a:p>
            <a:pPr lvl="0"/>
            <a:r>
              <a:rPr lang="en-US"/>
              <a:t>Click to edit Master text styles</a:t>
            </a:r>
          </a:p>
        </p:txBody>
      </p:sp>
      <p:sp>
        <p:nvSpPr>
          <p:cNvPr id="32" name="Text Placeholder 31"/>
          <p:cNvSpPr>
            <a:spLocks noGrp="1"/>
          </p:cNvSpPr>
          <p:nvPr>
            <p:ph type="body" sz="quarter" idx="15"/>
          </p:nvPr>
        </p:nvSpPr>
        <p:spPr>
          <a:xfrm>
            <a:off x="609600" y="6482557"/>
            <a:ext cx="2586832" cy="377825"/>
          </a:xfrm>
        </p:spPr>
        <p:txBody>
          <a:bodyPr>
            <a:normAutofit/>
          </a:bodyPr>
          <a:lstStyle>
            <a:lvl1pPr marL="0" indent="0">
              <a:buFontTx/>
              <a:buNone/>
              <a:defRPr sz="1200"/>
            </a:lvl1pPr>
          </a:lstStyle>
          <a:p>
            <a:pPr lvl="0"/>
            <a:r>
              <a:rPr lang="en-US"/>
              <a:t>Click to edit Master text styles</a:t>
            </a:r>
          </a:p>
        </p:txBody>
      </p:sp>
      <p:sp>
        <p:nvSpPr>
          <p:cNvPr id="22" name="Text Placeholder 17"/>
          <p:cNvSpPr>
            <a:spLocks noGrp="1"/>
          </p:cNvSpPr>
          <p:nvPr>
            <p:ph type="body" sz="quarter" idx="16"/>
          </p:nvPr>
        </p:nvSpPr>
        <p:spPr>
          <a:xfrm>
            <a:off x="6335127" y="1025023"/>
            <a:ext cx="5304078" cy="383782"/>
          </a:xfrm>
        </p:spPr>
        <p:txBody>
          <a:bodyPr/>
          <a:lstStyle>
            <a:lvl1pPr marL="0" indent="0">
              <a:buNone/>
              <a:defRPr/>
            </a:lvl1pPr>
          </a:lstStyle>
          <a:p>
            <a:pPr lvl="0"/>
            <a:r>
              <a:rPr lang="en-US"/>
              <a:t>Click to edit Master text styles</a:t>
            </a:r>
          </a:p>
        </p:txBody>
      </p:sp>
      <p:sp>
        <p:nvSpPr>
          <p:cNvPr id="3" name="Text Placeholder 2"/>
          <p:cNvSpPr>
            <a:spLocks noGrp="1"/>
          </p:cNvSpPr>
          <p:nvPr>
            <p:ph type="body" sz="quarter" idx="17"/>
          </p:nvPr>
        </p:nvSpPr>
        <p:spPr>
          <a:xfrm>
            <a:off x="609600" y="1391925"/>
            <a:ext cx="5303838" cy="4957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2"/>
          <p:cNvSpPr>
            <a:spLocks noGrp="1"/>
          </p:cNvSpPr>
          <p:nvPr>
            <p:ph type="body" sz="quarter" idx="18"/>
          </p:nvPr>
        </p:nvSpPr>
        <p:spPr>
          <a:xfrm>
            <a:off x="6331708" y="1391925"/>
            <a:ext cx="5303838" cy="49541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Footer Placeholder 14"/>
          <p:cNvSpPr>
            <a:spLocks noGrp="1"/>
          </p:cNvSpPr>
          <p:nvPr>
            <p:ph type="ftr" sz="quarter" idx="19"/>
          </p:nvPr>
        </p:nvSpPr>
        <p:spPr/>
        <p:txBody>
          <a:bodyPr/>
          <a:lstStyle>
            <a:lvl1pPr>
              <a:defRPr smtClean="0"/>
            </a:lvl1pPr>
          </a:lstStyle>
          <a:p>
            <a:pPr>
              <a:defRPr/>
            </a:pPr>
            <a:endParaRPr lang="en-GB"/>
          </a:p>
        </p:txBody>
      </p:sp>
      <p:sp>
        <p:nvSpPr>
          <p:cNvPr id="31" name="Slide Number Placeholder 15"/>
          <p:cNvSpPr>
            <a:spLocks noGrp="1"/>
          </p:cNvSpPr>
          <p:nvPr>
            <p:ph type="sldNum" sz="quarter" idx="20"/>
          </p:nvPr>
        </p:nvSpPr>
        <p:spPr>
          <a:xfrm>
            <a:off x="10802938" y="6495257"/>
            <a:ext cx="697707" cy="365125"/>
          </a:xfrm>
        </p:spPr>
        <p:txBody>
          <a:bodyPr/>
          <a:lstStyle>
            <a:lvl1pPr>
              <a:defRPr smtClean="0"/>
            </a:lvl1pPr>
          </a:lstStyle>
          <a:p>
            <a:pPr>
              <a:defRPr/>
            </a:pPr>
            <a:fld id="{AF7EBEFB-60F6-A040-8845-DEE8EB303F7D}" type="slidenum">
              <a:rPr lang="en-GB"/>
              <a:pPr>
                <a:defRPr/>
              </a:pPr>
              <a:t>‹nr.›</a:t>
            </a:fld>
            <a:endParaRPr lang="en-GB"/>
          </a:p>
        </p:txBody>
      </p:sp>
    </p:spTree>
    <p:extLst>
      <p:ext uri="{BB962C8B-B14F-4D97-AF65-F5344CB8AC3E}">
        <p14:creationId xmlns:p14="http://schemas.microsoft.com/office/powerpoint/2010/main" val="2731662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0_Design slide">
    <p:spTree>
      <p:nvGrpSpPr>
        <p:cNvPr id="1" name=""/>
        <p:cNvGrpSpPr/>
        <p:nvPr/>
      </p:nvGrpSpPr>
      <p:grpSpPr>
        <a:xfrm>
          <a:off x="0" y="0"/>
          <a:ext cx="0" cy="0"/>
          <a:chOff x="0" y="0"/>
          <a:chExt cx="0" cy="0"/>
        </a:xfrm>
      </p:grpSpPr>
      <p:pic>
        <p:nvPicPr>
          <p:cNvPr id="6" name="Picture 6"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r="82782"/>
          <a:stretch>
            <a:fillRect/>
          </a:stretch>
        </p:blipFill>
        <p:spPr bwMode="auto">
          <a:xfrm>
            <a:off x="10972007" y="61913"/>
            <a:ext cx="647700" cy="60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200"/>
          <p:cNvSpPr>
            <a:spLocks noChangeArrowheads="1"/>
          </p:cNvSpPr>
          <p:nvPr/>
        </p:nvSpPr>
        <p:spPr bwMode="auto">
          <a:xfrm>
            <a:off x="9468644" y="14288"/>
            <a:ext cx="1434306" cy="640557"/>
          </a:xfrm>
          <a:prstGeom prst="rect">
            <a:avLst/>
          </a:prstGeom>
          <a:solidFill>
            <a:srgbClr val="4D4D4D">
              <a:alpha val="39999"/>
            </a:srgbClr>
          </a:solidFill>
          <a:ln w="3175">
            <a:solidFill>
              <a:schemeClr val="accent1"/>
            </a:solidFill>
            <a:miter lim="800000"/>
            <a:headEnd/>
            <a:tailEnd/>
          </a:ln>
        </p:spPr>
        <p:txBody>
          <a:bodyPr wrap="none" lIns="18000" tIns="18000" rIns="18000" bIns="18000" anchor="ctr"/>
          <a:lstStyle/>
          <a:p>
            <a:pPr algn="ctr" defTabSz="292100" fontAlgn="base">
              <a:spcBef>
                <a:spcPct val="0"/>
              </a:spcBef>
              <a:spcAft>
                <a:spcPct val="0"/>
              </a:spcAft>
            </a:pPr>
            <a:r>
              <a:rPr lang="en-GB" sz="1400">
                <a:solidFill>
                  <a:srgbClr val="000000"/>
                </a:solidFill>
                <a:ea typeface="ＭＳ Ｐゴシック" charset="0"/>
                <a:sym typeface="Avenir Roman" charset="0"/>
              </a:rPr>
              <a:t>customer logo</a:t>
            </a:r>
          </a:p>
        </p:txBody>
      </p:sp>
      <p:pic>
        <p:nvPicPr>
          <p:cNvPr id="8" name="Picture 8"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30394" y="-962025"/>
            <a:ext cx="3760788" cy="6056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12"/>
          <p:cNvSpPr>
            <a:spLocks noGrp="1"/>
          </p:cNvSpPr>
          <p:nvPr>
            <p:ph type="title" hasCustomPrompt="1"/>
          </p:nvPr>
        </p:nvSpPr>
        <p:spPr>
          <a:xfrm>
            <a:off x="609600" y="67604"/>
            <a:ext cx="8858654" cy="579898"/>
          </a:xfrm>
        </p:spPr>
        <p:txBody>
          <a:bodyPr/>
          <a:lstStyle>
            <a:lvl1pPr algn="l">
              <a:defRPr>
                <a:latin typeface="Futura Medium"/>
              </a:defRPr>
            </a:lvl1pPr>
          </a:lstStyle>
          <a:p>
            <a:r>
              <a:rPr lang="en-US"/>
              <a:t>CLICK TO EDIT MASTER TITLE STYLE</a:t>
            </a:r>
            <a:endParaRPr lang="en-GB"/>
          </a:p>
        </p:txBody>
      </p:sp>
      <p:sp>
        <p:nvSpPr>
          <p:cNvPr id="29" name="Text Placeholder 28"/>
          <p:cNvSpPr>
            <a:spLocks noGrp="1"/>
          </p:cNvSpPr>
          <p:nvPr>
            <p:ph type="body" sz="quarter" idx="14"/>
          </p:nvPr>
        </p:nvSpPr>
        <p:spPr>
          <a:xfrm>
            <a:off x="609600" y="661194"/>
            <a:ext cx="10193732" cy="383672"/>
          </a:xfrm>
        </p:spPr>
        <p:txBody>
          <a:bodyPr/>
          <a:lstStyle>
            <a:lvl1pPr marL="0" indent="0">
              <a:buFontTx/>
              <a:buNone/>
              <a:defRPr baseline="0">
                <a:latin typeface="Futura Medium"/>
              </a:defRPr>
            </a:lvl1pPr>
            <a:lvl2pPr marL="228600" indent="0">
              <a:buFontTx/>
              <a:buNone/>
              <a:defRPr baseline="0">
                <a:latin typeface="Futura Medium"/>
              </a:defRPr>
            </a:lvl2pPr>
            <a:lvl3pPr marL="457200" indent="0">
              <a:buFontTx/>
              <a:buNone/>
              <a:defRPr baseline="0">
                <a:latin typeface="Futura Medium"/>
              </a:defRPr>
            </a:lvl3pPr>
            <a:lvl4pPr marL="685800" indent="0">
              <a:buFontTx/>
              <a:buNone/>
              <a:defRPr baseline="0">
                <a:latin typeface="Futura Medium"/>
              </a:defRPr>
            </a:lvl4pPr>
            <a:lvl5pPr marL="914400" indent="0">
              <a:buFontTx/>
              <a:buNone/>
              <a:defRPr baseline="0">
                <a:latin typeface="Futura Medium"/>
              </a:defRPr>
            </a:lvl5pPr>
          </a:lstStyle>
          <a:p>
            <a:pPr lvl="0"/>
            <a:r>
              <a:rPr lang="en-US"/>
              <a:t>Click to edit Master text styles</a:t>
            </a:r>
          </a:p>
        </p:txBody>
      </p:sp>
      <p:sp>
        <p:nvSpPr>
          <p:cNvPr id="32" name="Text Placeholder 31"/>
          <p:cNvSpPr>
            <a:spLocks noGrp="1"/>
          </p:cNvSpPr>
          <p:nvPr>
            <p:ph type="body" sz="quarter" idx="15"/>
          </p:nvPr>
        </p:nvSpPr>
        <p:spPr>
          <a:xfrm>
            <a:off x="609600" y="6482557"/>
            <a:ext cx="2586832" cy="377825"/>
          </a:xfrm>
        </p:spPr>
        <p:txBody>
          <a:bodyPr>
            <a:normAutofit/>
          </a:bodyPr>
          <a:lstStyle>
            <a:lvl1pPr marL="0" indent="0">
              <a:buFontTx/>
              <a:buNone/>
              <a:defRPr sz="1200"/>
            </a:lvl1pPr>
          </a:lstStyle>
          <a:p>
            <a:pPr lvl="0"/>
            <a:r>
              <a:rPr lang="en-US"/>
              <a:t>Click to edit Master text styles</a:t>
            </a:r>
          </a:p>
        </p:txBody>
      </p:sp>
      <p:sp>
        <p:nvSpPr>
          <p:cNvPr id="3" name="Text Placeholder 2"/>
          <p:cNvSpPr>
            <a:spLocks noGrp="1"/>
          </p:cNvSpPr>
          <p:nvPr>
            <p:ph type="body" sz="quarter" idx="17"/>
          </p:nvPr>
        </p:nvSpPr>
        <p:spPr>
          <a:xfrm>
            <a:off x="609600" y="1391925"/>
            <a:ext cx="11025946" cy="4957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14"/>
          <p:cNvSpPr>
            <a:spLocks noGrp="1"/>
          </p:cNvSpPr>
          <p:nvPr>
            <p:ph type="ftr" sz="quarter" idx="18"/>
          </p:nvPr>
        </p:nvSpPr>
        <p:spPr/>
        <p:txBody>
          <a:bodyPr/>
          <a:lstStyle>
            <a:lvl1pPr>
              <a:defRPr smtClean="0"/>
            </a:lvl1pPr>
          </a:lstStyle>
          <a:p>
            <a:pPr>
              <a:defRPr/>
            </a:pPr>
            <a:endParaRPr lang="en-GB"/>
          </a:p>
        </p:txBody>
      </p:sp>
      <p:sp>
        <p:nvSpPr>
          <p:cNvPr id="10" name="Slide Number Placeholder 15"/>
          <p:cNvSpPr>
            <a:spLocks noGrp="1"/>
          </p:cNvSpPr>
          <p:nvPr>
            <p:ph type="sldNum" sz="quarter" idx="19"/>
          </p:nvPr>
        </p:nvSpPr>
        <p:spPr>
          <a:xfrm>
            <a:off x="10802938" y="6495257"/>
            <a:ext cx="697707" cy="365125"/>
          </a:xfrm>
        </p:spPr>
        <p:txBody>
          <a:bodyPr/>
          <a:lstStyle>
            <a:lvl1pPr>
              <a:defRPr smtClean="0"/>
            </a:lvl1pPr>
          </a:lstStyle>
          <a:p>
            <a:pPr>
              <a:defRPr/>
            </a:pPr>
            <a:fld id="{D130A894-C82F-9142-A536-41AEEC352336}" type="slidenum">
              <a:rPr lang="en-GB"/>
              <a:pPr>
                <a:defRPr/>
              </a:pPr>
              <a:t>‹nr.›</a:t>
            </a:fld>
            <a:endParaRPr lang="en-GB"/>
          </a:p>
        </p:txBody>
      </p:sp>
    </p:spTree>
    <p:extLst>
      <p:ext uri="{BB962C8B-B14F-4D97-AF65-F5344CB8AC3E}">
        <p14:creationId xmlns:p14="http://schemas.microsoft.com/office/powerpoint/2010/main" val="25310039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2_Picture">
    <p:spTree>
      <p:nvGrpSpPr>
        <p:cNvPr id="1" name=""/>
        <p:cNvGrpSpPr/>
        <p:nvPr/>
      </p:nvGrpSpPr>
      <p:grpSpPr>
        <a:xfrm>
          <a:off x="0" y="0"/>
          <a:ext cx="0" cy="0"/>
          <a:chOff x="0" y="0"/>
          <a:chExt cx="0" cy="0"/>
        </a:xfrm>
      </p:grpSpPr>
      <p:cxnSp>
        <p:nvCxnSpPr>
          <p:cNvPr id="5" name="Straight Connector 5"/>
          <p:cNvCxnSpPr/>
          <p:nvPr/>
        </p:nvCxnSpPr>
        <p:spPr>
          <a:xfrm flipV="1">
            <a:off x="-495300" y="65722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6" name="Straight Connector 6"/>
          <p:cNvCxnSpPr/>
          <p:nvPr/>
        </p:nvCxnSpPr>
        <p:spPr>
          <a:xfrm flipV="1">
            <a:off x="-495300" y="1038225"/>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7" name="Straight Connector 7"/>
          <p:cNvCxnSpPr/>
          <p:nvPr/>
        </p:nvCxnSpPr>
        <p:spPr>
          <a:xfrm flipV="1">
            <a:off x="-542925" y="6475413"/>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8" name="Straight Connector 8"/>
          <p:cNvCxnSpPr/>
          <p:nvPr/>
        </p:nvCxnSpPr>
        <p:spPr>
          <a:xfrm flipV="1">
            <a:off x="609600" y="-356394"/>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9" name="Straight Connector 9"/>
          <p:cNvCxnSpPr/>
          <p:nvPr/>
        </p:nvCxnSpPr>
        <p:spPr>
          <a:xfrm flipV="1">
            <a:off x="11635582" y="-226219"/>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pic>
        <p:nvPicPr>
          <p:cNvPr id="10" name="Picture 11"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r="82782"/>
          <a:stretch>
            <a:fillRect/>
          </a:stretch>
        </p:blipFill>
        <p:spPr bwMode="auto">
          <a:xfrm>
            <a:off x="10972007" y="61913"/>
            <a:ext cx="647700" cy="60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200"/>
          <p:cNvSpPr>
            <a:spLocks noChangeArrowheads="1"/>
          </p:cNvSpPr>
          <p:nvPr/>
        </p:nvSpPr>
        <p:spPr bwMode="auto">
          <a:xfrm>
            <a:off x="9468644" y="14288"/>
            <a:ext cx="1434306" cy="640557"/>
          </a:xfrm>
          <a:prstGeom prst="rect">
            <a:avLst/>
          </a:prstGeom>
          <a:solidFill>
            <a:srgbClr val="4D4D4D">
              <a:alpha val="39999"/>
            </a:srgbClr>
          </a:solidFill>
          <a:ln w="3175">
            <a:solidFill>
              <a:schemeClr val="accent1"/>
            </a:solidFill>
            <a:miter lim="800000"/>
            <a:headEnd/>
            <a:tailEnd/>
          </a:ln>
        </p:spPr>
        <p:txBody>
          <a:bodyPr wrap="none" lIns="18000" tIns="18000" rIns="18000" bIns="18000" anchor="ctr"/>
          <a:lstStyle/>
          <a:p>
            <a:pPr algn="ctr" defTabSz="292100" fontAlgn="base">
              <a:spcBef>
                <a:spcPct val="0"/>
              </a:spcBef>
              <a:spcAft>
                <a:spcPct val="0"/>
              </a:spcAft>
            </a:pPr>
            <a:r>
              <a:rPr lang="en-GB" sz="1400">
                <a:solidFill>
                  <a:srgbClr val="000000"/>
                </a:solidFill>
                <a:ea typeface="ＭＳ Ｐゴシック" charset="0"/>
                <a:sym typeface="Avenir Roman" charset="0"/>
              </a:rPr>
              <a:t>customer logo</a:t>
            </a:r>
          </a:p>
        </p:txBody>
      </p:sp>
      <p:cxnSp>
        <p:nvCxnSpPr>
          <p:cNvPr id="12" name="Straight Connector 12"/>
          <p:cNvCxnSpPr/>
          <p:nvPr/>
        </p:nvCxnSpPr>
        <p:spPr>
          <a:xfrm flipV="1">
            <a:off x="10922794" y="-189707"/>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V="1">
            <a:off x="6116638" y="-3444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419100" y="1392238"/>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V="1">
            <a:off x="-572294" y="6349207"/>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V="1">
            <a:off x="-542925" y="5397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5934869" y="-2682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V="1">
            <a:off x="6308725" y="-1920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sp>
        <p:nvSpPr>
          <p:cNvPr id="20" name="Text Box 202"/>
          <p:cNvSpPr txBox="1">
            <a:spLocks noChangeArrowheads="1"/>
          </p:cNvSpPr>
          <p:nvPr/>
        </p:nvSpPr>
        <p:spPr bwMode="auto">
          <a:xfrm>
            <a:off x="-3969" y="-212725"/>
            <a:ext cx="3338513" cy="196056"/>
          </a:xfrm>
          <a:prstGeom prst="rect">
            <a:avLst/>
          </a:prstGeom>
          <a:solidFill>
            <a:schemeClr val="accent1"/>
          </a:solidFill>
          <a:ln w="3175">
            <a:solidFill>
              <a:schemeClr val="accent1"/>
            </a:solidFill>
            <a:miter lim="800000"/>
            <a:headEnd/>
            <a:tailEnd/>
          </a:ln>
        </p:spPr>
        <p:txBody>
          <a:bodyPr lIns="18000" tIns="18000" rIns="18000" bIns="18000"/>
          <a:lstStyle>
            <a:lvl1pPr algn="ctr" defTabSz="330200" eaLnBrk="0" hangingPunct="0">
              <a:tabLst>
                <a:tab pos="8521700" algn="r"/>
              </a:tabLst>
              <a:defRPr sz="5000">
                <a:solidFill>
                  <a:schemeClr val="tx1"/>
                </a:solidFill>
                <a:latin typeface="Avenir" charset="0"/>
                <a:ea typeface="ＭＳ Ｐゴシック" charset="0"/>
                <a:cs typeface="Avenir" charset="0"/>
                <a:sym typeface="Avenir Roman" charset="0"/>
              </a:defRPr>
            </a:lvl1pPr>
            <a:lvl2pPr marL="742950" indent="-285750" algn="ctr" defTabSz="330200" eaLnBrk="0" hangingPunct="0">
              <a:tabLst>
                <a:tab pos="8521700" algn="r"/>
              </a:tabLst>
              <a:defRPr sz="5000">
                <a:solidFill>
                  <a:schemeClr val="tx1"/>
                </a:solidFill>
                <a:latin typeface="Avenir" charset="0"/>
                <a:ea typeface="Avenir" charset="0"/>
                <a:cs typeface="Avenir" charset="0"/>
                <a:sym typeface="Avenir Roman" charset="0"/>
              </a:defRPr>
            </a:lvl2pPr>
            <a:lvl3pPr marL="11430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3pPr>
            <a:lvl4pPr marL="16002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4pPr>
            <a:lvl5pPr marL="20574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5pPr>
            <a:lvl6pPr marL="25146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6pPr>
            <a:lvl7pPr marL="29718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7pPr>
            <a:lvl8pPr marL="34290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8pPr>
            <a:lvl9pPr marL="38862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9pPr>
          </a:lstStyle>
          <a:p>
            <a:pPr eaLnBrk="1" fontAlgn="base" hangingPunct="1">
              <a:spcBef>
                <a:spcPct val="50000"/>
              </a:spcBef>
              <a:spcAft>
                <a:spcPct val="0"/>
              </a:spcAft>
              <a:defRPr/>
            </a:pPr>
            <a:r>
              <a:rPr lang="en-GB" sz="800" b="1">
                <a:solidFill>
                  <a:prstClr val="white"/>
                </a:solidFill>
                <a:latin typeface="Futura Medium" charset="0"/>
              </a:rPr>
              <a:t>guides &amp; place holders – remove on slide master, but adhere to it </a:t>
            </a:r>
            <a:r>
              <a:rPr lang="en-GB" sz="800" b="1">
                <a:solidFill>
                  <a:prstClr val="white"/>
                </a:solidFill>
                <a:latin typeface="Futura Medium" charset="0"/>
                <a:sym typeface="Wingdings" charset="0"/>
              </a:rPr>
              <a:t></a:t>
            </a:r>
            <a:endParaRPr lang="en-GB" sz="800" b="1">
              <a:solidFill>
                <a:prstClr val="white"/>
              </a:solidFill>
              <a:latin typeface="Futura Medium" charset="0"/>
            </a:endParaRPr>
          </a:p>
        </p:txBody>
      </p:sp>
      <p:pic>
        <p:nvPicPr>
          <p:cNvPr id="21" name="Picture 21"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30394" y="-962025"/>
            <a:ext cx="3760788" cy="6056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12"/>
          <p:cNvSpPr>
            <a:spLocks noGrp="1"/>
          </p:cNvSpPr>
          <p:nvPr>
            <p:ph type="title" hasCustomPrompt="1"/>
          </p:nvPr>
        </p:nvSpPr>
        <p:spPr>
          <a:xfrm>
            <a:off x="609600" y="67604"/>
            <a:ext cx="8858654" cy="579898"/>
          </a:xfrm>
        </p:spPr>
        <p:txBody>
          <a:bodyPr/>
          <a:lstStyle>
            <a:lvl1pPr algn="l">
              <a:defRPr>
                <a:latin typeface="Futura Medium"/>
              </a:defRPr>
            </a:lvl1pPr>
          </a:lstStyle>
          <a:p>
            <a:r>
              <a:rPr lang="en-US"/>
              <a:t>CLICK TO EDIT MASTER TITLE STYLE</a:t>
            </a:r>
            <a:endParaRPr lang="en-GB"/>
          </a:p>
        </p:txBody>
      </p:sp>
      <p:sp>
        <p:nvSpPr>
          <p:cNvPr id="29" name="Text Placeholder 28"/>
          <p:cNvSpPr>
            <a:spLocks noGrp="1"/>
          </p:cNvSpPr>
          <p:nvPr>
            <p:ph type="body" sz="quarter" idx="14"/>
          </p:nvPr>
        </p:nvSpPr>
        <p:spPr>
          <a:xfrm>
            <a:off x="609600" y="661194"/>
            <a:ext cx="10193732" cy="383672"/>
          </a:xfrm>
        </p:spPr>
        <p:txBody>
          <a:bodyPr/>
          <a:lstStyle>
            <a:lvl1pPr marL="0" indent="0">
              <a:buFontTx/>
              <a:buNone/>
              <a:defRPr baseline="0">
                <a:latin typeface="Futura Medium"/>
              </a:defRPr>
            </a:lvl1pPr>
            <a:lvl2pPr marL="228600" indent="0">
              <a:buFontTx/>
              <a:buNone/>
              <a:defRPr baseline="0">
                <a:latin typeface="Futura Medium"/>
              </a:defRPr>
            </a:lvl2pPr>
            <a:lvl3pPr marL="457200" indent="0">
              <a:buFontTx/>
              <a:buNone/>
              <a:defRPr baseline="0">
                <a:latin typeface="Futura Medium"/>
              </a:defRPr>
            </a:lvl3pPr>
            <a:lvl4pPr marL="685800" indent="0">
              <a:buFontTx/>
              <a:buNone/>
              <a:defRPr baseline="0">
                <a:latin typeface="Futura Medium"/>
              </a:defRPr>
            </a:lvl4pPr>
            <a:lvl5pPr marL="914400" indent="0">
              <a:buFontTx/>
              <a:buNone/>
              <a:defRPr baseline="0">
                <a:latin typeface="Futura Medium"/>
              </a:defRPr>
            </a:lvl5pPr>
          </a:lstStyle>
          <a:p>
            <a:pPr lvl="0"/>
            <a:r>
              <a:rPr lang="en-US"/>
              <a:t>Click to edit Master text styles</a:t>
            </a:r>
          </a:p>
        </p:txBody>
      </p:sp>
      <p:sp>
        <p:nvSpPr>
          <p:cNvPr id="32" name="Text Placeholder 31"/>
          <p:cNvSpPr>
            <a:spLocks noGrp="1"/>
          </p:cNvSpPr>
          <p:nvPr>
            <p:ph type="body" sz="quarter" idx="15"/>
          </p:nvPr>
        </p:nvSpPr>
        <p:spPr>
          <a:xfrm>
            <a:off x="609600" y="6482557"/>
            <a:ext cx="2586832" cy="377825"/>
          </a:xfrm>
        </p:spPr>
        <p:txBody>
          <a:bodyPr>
            <a:normAutofit/>
          </a:bodyPr>
          <a:lstStyle>
            <a:lvl1pPr marL="0" indent="0">
              <a:buFontTx/>
              <a:buNone/>
              <a:defRPr sz="1200"/>
            </a:lvl1pPr>
          </a:lstStyle>
          <a:p>
            <a:pPr lvl="0"/>
            <a:r>
              <a:rPr lang="en-US"/>
              <a:t>Click to edit Master text styles</a:t>
            </a:r>
          </a:p>
        </p:txBody>
      </p:sp>
      <p:sp>
        <p:nvSpPr>
          <p:cNvPr id="22" name="Footer Placeholder 14"/>
          <p:cNvSpPr>
            <a:spLocks noGrp="1"/>
          </p:cNvSpPr>
          <p:nvPr>
            <p:ph type="ftr" sz="quarter" idx="16"/>
          </p:nvPr>
        </p:nvSpPr>
        <p:spPr/>
        <p:txBody>
          <a:bodyPr/>
          <a:lstStyle>
            <a:lvl1pPr>
              <a:defRPr smtClean="0"/>
            </a:lvl1pPr>
          </a:lstStyle>
          <a:p>
            <a:pPr>
              <a:defRPr/>
            </a:pPr>
            <a:endParaRPr lang="en-GB"/>
          </a:p>
        </p:txBody>
      </p:sp>
      <p:sp>
        <p:nvSpPr>
          <p:cNvPr id="23" name="Slide Number Placeholder 15"/>
          <p:cNvSpPr>
            <a:spLocks noGrp="1"/>
          </p:cNvSpPr>
          <p:nvPr>
            <p:ph type="sldNum" sz="quarter" idx="17"/>
          </p:nvPr>
        </p:nvSpPr>
        <p:spPr>
          <a:xfrm>
            <a:off x="10802938" y="6495257"/>
            <a:ext cx="697707" cy="365125"/>
          </a:xfrm>
        </p:spPr>
        <p:txBody>
          <a:bodyPr/>
          <a:lstStyle>
            <a:lvl1pPr>
              <a:defRPr smtClean="0"/>
            </a:lvl1pPr>
          </a:lstStyle>
          <a:p>
            <a:pPr>
              <a:defRPr/>
            </a:pPr>
            <a:fld id="{97BBF840-A4F0-184B-AC35-0C6A54DBA4DB}" type="slidenum">
              <a:rPr lang="en-GB"/>
              <a:pPr>
                <a:defRPr/>
              </a:pPr>
              <a:t>‹nr.›</a:t>
            </a:fld>
            <a:endParaRPr lang="en-GB"/>
          </a:p>
        </p:txBody>
      </p:sp>
    </p:spTree>
    <p:extLst>
      <p:ext uri="{BB962C8B-B14F-4D97-AF65-F5344CB8AC3E}">
        <p14:creationId xmlns:p14="http://schemas.microsoft.com/office/powerpoint/2010/main" val="1095436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1_Front slide">
    <p:spTree>
      <p:nvGrpSpPr>
        <p:cNvPr id="1" name=""/>
        <p:cNvGrpSpPr/>
        <p:nvPr/>
      </p:nvGrpSpPr>
      <p:grpSpPr>
        <a:xfrm>
          <a:off x="0" y="0"/>
          <a:ext cx="0" cy="0"/>
          <a:chOff x="0" y="0"/>
          <a:chExt cx="0" cy="0"/>
        </a:xfrm>
      </p:grpSpPr>
      <p:pic>
        <p:nvPicPr>
          <p:cNvPr id="8" name="Picture 6"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r="82782"/>
          <a:stretch>
            <a:fillRect/>
          </a:stretch>
        </p:blipFill>
        <p:spPr bwMode="auto">
          <a:xfrm>
            <a:off x="10972007" y="61913"/>
            <a:ext cx="647700" cy="60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 Box 202"/>
          <p:cNvSpPr txBox="1">
            <a:spLocks noChangeArrowheads="1"/>
          </p:cNvSpPr>
          <p:nvPr/>
        </p:nvSpPr>
        <p:spPr bwMode="auto">
          <a:xfrm>
            <a:off x="-3969" y="-212725"/>
            <a:ext cx="3338513" cy="196056"/>
          </a:xfrm>
          <a:prstGeom prst="rect">
            <a:avLst/>
          </a:prstGeom>
          <a:solidFill>
            <a:schemeClr val="accent1"/>
          </a:solidFill>
          <a:ln w="3175">
            <a:solidFill>
              <a:schemeClr val="accent1"/>
            </a:solidFill>
            <a:miter lim="800000"/>
            <a:headEnd/>
            <a:tailEnd/>
          </a:ln>
        </p:spPr>
        <p:txBody>
          <a:bodyPr lIns="18000" tIns="18000" rIns="18000" bIns="18000"/>
          <a:lstStyle>
            <a:lvl1pPr algn="ctr" defTabSz="330200" eaLnBrk="0" hangingPunct="0">
              <a:tabLst>
                <a:tab pos="8521700" algn="r"/>
              </a:tabLst>
              <a:defRPr sz="5000">
                <a:solidFill>
                  <a:schemeClr val="tx1"/>
                </a:solidFill>
                <a:latin typeface="Avenir" charset="0"/>
                <a:ea typeface="ＭＳ Ｐゴシック" charset="0"/>
                <a:cs typeface="Avenir" charset="0"/>
                <a:sym typeface="Avenir Roman" charset="0"/>
              </a:defRPr>
            </a:lvl1pPr>
            <a:lvl2pPr marL="742950" indent="-285750" algn="ctr" defTabSz="330200" eaLnBrk="0" hangingPunct="0">
              <a:tabLst>
                <a:tab pos="8521700" algn="r"/>
              </a:tabLst>
              <a:defRPr sz="5000">
                <a:solidFill>
                  <a:schemeClr val="tx1"/>
                </a:solidFill>
                <a:latin typeface="Avenir" charset="0"/>
                <a:ea typeface="Avenir" charset="0"/>
                <a:cs typeface="Avenir" charset="0"/>
                <a:sym typeface="Avenir Roman" charset="0"/>
              </a:defRPr>
            </a:lvl2pPr>
            <a:lvl3pPr marL="11430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3pPr>
            <a:lvl4pPr marL="16002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4pPr>
            <a:lvl5pPr marL="20574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5pPr>
            <a:lvl6pPr marL="25146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6pPr>
            <a:lvl7pPr marL="29718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7pPr>
            <a:lvl8pPr marL="34290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8pPr>
            <a:lvl9pPr marL="38862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9pPr>
          </a:lstStyle>
          <a:p>
            <a:pPr eaLnBrk="1" fontAlgn="base" hangingPunct="1">
              <a:spcBef>
                <a:spcPct val="50000"/>
              </a:spcBef>
              <a:spcAft>
                <a:spcPct val="0"/>
              </a:spcAft>
              <a:defRPr/>
            </a:pPr>
            <a:r>
              <a:rPr lang="en-GB" sz="800" b="1">
                <a:solidFill>
                  <a:prstClr val="white"/>
                </a:solidFill>
                <a:latin typeface="Futura Medium" charset="0"/>
              </a:rPr>
              <a:t>guides &amp; place holders – remove on slide master, but adhere to it </a:t>
            </a:r>
            <a:r>
              <a:rPr lang="en-GB" sz="800" b="1">
                <a:solidFill>
                  <a:prstClr val="white"/>
                </a:solidFill>
                <a:latin typeface="Futura Medium" charset="0"/>
                <a:sym typeface="Wingdings" charset="0"/>
              </a:rPr>
              <a:t></a:t>
            </a:r>
            <a:endParaRPr lang="en-GB" sz="800" b="1">
              <a:solidFill>
                <a:prstClr val="white"/>
              </a:solidFill>
              <a:latin typeface="Futura Medium" charset="0"/>
            </a:endParaRPr>
          </a:p>
        </p:txBody>
      </p:sp>
      <p:pic>
        <p:nvPicPr>
          <p:cNvPr id="10" name="Picture 8"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09600" y="654844"/>
            <a:ext cx="3759994" cy="6056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12"/>
          <p:cNvSpPr>
            <a:spLocks noGrp="1"/>
          </p:cNvSpPr>
          <p:nvPr>
            <p:ph type="title" hasCustomPrompt="1"/>
          </p:nvPr>
        </p:nvSpPr>
        <p:spPr>
          <a:xfrm>
            <a:off x="1699793" y="2607421"/>
            <a:ext cx="8858654" cy="579898"/>
          </a:xfrm>
        </p:spPr>
        <p:txBody>
          <a:bodyPr/>
          <a:lstStyle>
            <a:lvl1pPr algn="ctr">
              <a:defRPr>
                <a:latin typeface="Futura Medium"/>
              </a:defRPr>
            </a:lvl1pPr>
          </a:lstStyle>
          <a:p>
            <a:r>
              <a:rPr lang="en-US"/>
              <a:t>CLICK TO EDIT MASTER TITLE STYLE</a:t>
            </a:r>
            <a:endParaRPr lang="en-GB"/>
          </a:p>
        </p:txBody>
      </p:sp>
      <p:sp>
        <p:nvSpPr>
          <p:cNvPr id="29" name="Text Placeholder 28"/>
          <p:cNvSpPr>
            <a:spLocks noGrp="1"/>
          </p:cNvSpPr>
          <p:nvPr>
            <p:ph type="body" sz="quarter" idx="14"/>
          </p:nvPr>
        </p:nvSpPr>
        <p:spPr>
          <a:xfrm>
            <a:off x="1910422" y="3201011"/>
            <a:ext cx="8424572" cy="383672"/>
          </a:xfrm>
        </p:spPr>
        <p:txBody>
          <a:bodyPr/>
          <a:lstStyle>
            <a:lvl1pPr marL="0" indent="0" algn="ctr">
              <a:buFontTx/>
              <a:buNone/>
              <a:defRPr baseline="0">
                <a:latin typeface="Futura Medium"/>
              </a:defRPr>
            </a:lvl1pPr>
            <a:lvl2pPr marL="228600" indent="0">
              <a:buFontTx/>
              <a:buNone/>
              <a:defRPr baseline="0">
                <a:latin typeface="Futura Medium"/>
              </a:defRPr>
            </a:lvl2pPr>
            <a:lvl3pPr marL="457200" indent="0">
              <a:buFontTx/>
              <a:buNone/>
              <a:defRPr baseline="0">
                <a:latin typeface="Futura Medium"/>
              </a:defRPr>
            </a:lvl3pPr>
            <a:lvl4pPr marL="685800" indent="0">
              <a:buFontTx/>
              <a:buNone/>
              <a:defRPr baseline="0">
                <a:latin typeface="Futura Medium"/>
              </a:defRPr>
            </a:lvl4pPr>
            <a:lvl5pPr marL="914400" indent="0">
              <a:buFontTx/>
              <a:buNone/>
              <a:defRPr baseline="0">
                <a:latin typeface="Futura Medium"/>
              </a:defRPr>
            </a:lvl5pPr>
          </a:lstStyle>
          <a:p>
            <a:pPr lvl="0"/>
            <a:r>
              <a:rPr lang="en-US"/>
              <a:t>Click to edit Master text styles</a:t>
            </a:r>
          </a:p>
        </p:txBody>
      </p:sp>
      <p:sp>
        <p:nvSpPr>
          <p:cNvPr id="32" name="Text Placeholder 31"/>
          <p:cNvSpPr>
            <a:spLocks noGrp="1"/>
          </p:cNvSpPr>
          <p:nvPr>
            <p:ph type="body" sz="quarter" idx="15"/>
          </p:nvPr>
        </p:nvSpPr>
        <p:spPr>
          <a:xfrm>
            <a:off x="609600" y="6482557"/>
            <a:ext cx="2586832" cy="377825"/>
          </a:xfrm>
        </p:spPr>
        <p:txBody>
          <a:bodyPr>
            <a:normAutofit/>
          </a:bodyPr>
          <a:lstStyle>
            <a:lvl1pPr marL="0" indent="0">
              <a:buFontTx/>
              <a:buNone/>
              <a:defRPr sz="1200"/>
            </a:lvl1pPr>
          </a:lstStyle>
          <a:p>
            <a:pPr lvl="0"/>
            <a:r>
              <a:rPr lang="en-US"/>
              <a:t>Click to edit Master text styles</a:t>
            </a:r>
          </a:p>
        </p:txBody>
      </p:sp>
      <p:sp>
        <p:nvSpPr>
          <p:cNvPr id="4" name="Text Placeholder 3"/>
          <p:cNvSpPr>
            <a:spLocks noGrp="1"/>
          </p:cNvSpPr>
          <p:nvPr>
            <p:ph type="body" sz="quarter" idx="16"/>
          </p:nvPr>
        </p:nvSpPr>
        <p:spPr>
          <a:xfrm>
            <a:off x="609600" y="5733627"/>
            <a:ext cx="4033838" cy="615578"/>
          </a:xfrm>
        </p:spPr>
        <p:txBody>
          <a:bodyPr/>
          <a:lstStyle>
            <a:lvl1pPr marL="0" marR="0" indent="0" algn="l" defTabSz="228600" rtl="0" eaLnBrk="1" fontAlgn="auto" latinLnBrk="0" hangingPunct="1">
              <a:lnSpc>
                <a:spcPct val="100000"/>
              </a:lnSpc>
              <a:spcBef>
                <a:spcPct val="20000"/>
              </a:spcBef>
              <a:spcAft>
                <a:spcPts val="0"/>
              </a:spcAft>
              <a:buClrTx/>
              <a:buSzTx/>
              <a:buFontTx/>
              <a:buNone/>
              <a:tabLst/>
              <a:defRPr baseline="0">
                <a:latin typeface="Futura Medium"/>
              </a:defRPr>
            </a:lvl1pPr>
          </a:lstStyle>
          <a:p>
            <a:pPr lvl="0"/>
            <a:r>
              <a:rPr lang="en-US"/>
              <a:t>Click to edit Master text styles</a:t>
            </a:r>
          </a:p>
          <a:p>
            <a:pPr lvl="1"/>
            <a:r>
              <a:rPr lang="en-US"/>
              <a:t>Second level</a:t>
            </a:r>
          </a:p>
        </p:txBody>
      </p:sp>
      <p:sp>
        <p:nvSpPr>
          <p:cNvPr id="38" name="Text Placeholder 3"/>
          <p:cNvSpPr>
            <a:spLocks noGrp="1"/>
          </p:cNvSpPr>
          <p:nvPr>
            <p:ph type="body" sz="quarter" idx="17"/>
          </p:nvPr>
        </p:nvSpPr>
        <p:spPr>
          <a:xfrm>
            <a:off x="6938403" y="5733627"/>
            <a:ext cx="4033838" cy="615578"/>
          </a:xfrm>
        </p:spPr>
        <p:txBody>
          <a:bodyPr/>
          <a:lstStyle>
            <a:lvl1pPr marL="0" marR="0" indent="0" algn="l" defTabSz="228600" rtl="0" eaLnBrk="1" fontAlgn="auto" latinLnBrk="0" hangingPunct="1">
              <a:lnSpc>
                <a:spcPct val="100000"/>
              </a:lnSpc>
              <a:spcBef>
                <a:spcPct val="20000"/>
              </a:spcBef>
              <a:spcAft>
                <a:spcPts val="0"/>
              </a:spcAft>
              <a:buClrTx/>
              <a:buSzTx/>
              <a:buFontTx/>
              <a:buNone/>
              <a:tabLst/>
              <a:defRPr baseline="0">
                <a:latin typeface="Futura Medium"/>
              </a:defRPr>
            </a:lvl1pPr>
          </a:lstStyle>
          <a:p>
            <a:pPr lvl="0"/>
            <a:r>
              <a:rPr lang="en-US"/>
              <a:t>Click to edit Master text styles</a:t>
            </a:r>
          </a:p>
          <a:p>
            <a:pPr lvl="1"/>
            <a:r>
              <a:rPr lang="en-US"/>
              <a:t>Second level</a:t>
            </a:r>
          </a:p>
        </p:txBody>
      </p:sp>
      <p:sp>
        <p:nvSpPr>
          <p:cNvPr id="6" name="Picture Placeholder 5"/>
          <p:cNvSpPr>
            <a:spLocks noGrp="1"/>
          </p:cNvSpPr>
          <p:nvPr>
            <p:ph type="pic" sz="quarter" idx="18"/>
          </p:nvPr>
        </p:nvSpPr>
        <p:spPr>
          <a:xfrm>
            <a:off x="9425782" y="654844"/>
            <a:ext cx="1377156" cy="605631"/>
          </a:xfrm>
        </p:spPr>
        <p:txBody>
          <a:bodyPr rtlCol="0">
            <a:normAutofit/>
          </a:bodyPr>
          <a:lstStyle>
            <a:lvl1pPr marL="0" indent="0">
              <a:buNone/>
              <a:defRPr/>
            </a:lvl1pPr>
          </a:lstStyle>
          <a:p>
            <a:pPr lvl="0"/>
            <a:r>
              <a:rPr lang="en-US" noProof="0"/>
              <a:t>Drag picture to placeholder or click icon to add</a:t>
            </a:r>
            <a:endParaRPr lang="en-GB" noProof="0"/>
          </a:p>
        </p:txBody>
      </p:sp>
      <p:sp>
        <p:nvSpPr>
          <p:cNvPr id="11" name="Footer Placeholder 14"/>
          <p:cNvSpPr>
            <a:spLocks noGrp="1"/>
          </p:cNvSpPr>
          <p:nvPr>
            <p:ph type="ftr" sz="quarter" idx="19"/>
          </p:nvPr>
        </p:nvSpPr>
        <p:spPr/>
        <p:txBody>
          <a:bodyPr/>
          <a:lstStyle>
            <a:lvl1pPr>
              <a:defRPr smtClean="0"/>
            </a:lvl1pPr>
          </a:lstStyle>
          <a:p>
            <a:pPr>
              <a:defRPr/>
            </a:pPr>
            <a:endParaRPr lang="en-GB"/>
          </a:p>
        </p:txBody>
      </p:sp>
      <p:sp>
        <p:nvSpPr>
          <p:cNvPr id="12" name="Slide Number Placeholder 15"/>
          <p:cNvSpPr>
            <a:spLocks noGrp="1"/>
          </p:cNvSpPr>
          <p:nvPr>
            <p:ph type="sldNum" sz="quarter" idx="20"/>
          </p:nvPr>
        </p:nvSpPr>
        <p:spPr>
          <a:xfrm>
            <a:off x="10802938" y="6495257"/>
            <a:ext cx="697707" cy="365125"/>
          </a:xfrm>
        </p:spPr>
        <p:txBody>
          <a:bodyPr/>
          <a:lstStyle>
            <a:lvl1pPr>
              <a:defRPr smtClean="0"/>
            </a:lvl1pPr>
          </a:lstStyle>
          <a:p>
            <a:pPr>
              <a:defRPr/>
            </a:pPr>
            <a:fld id="{10C1CF3E-8D50-6D44-8612-5409337FC2D7}" type="slidenum">
              <a:rPr lang="en-GB"/>
              <a:pPr>
                <a:defRPr/>
              </a:pPr>
              <a:t>‹nr.›</a:t>
            </a:fld>
            <a:endParaRPr lang="en-GB"/>
          </a:p>
        </p:txBody>
      </p:sp>
    </p:spTree>
    <p:extLst>
      <p:ext uri="{BB962C8B-B14F-4D97-AF65-F5344CB8AC3E}">
        <p14:creationId xmlns:p14="http://schemas.microsoft.com/office/powerpoint/2010/main" val="9767642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3_Picture">
    <p:spTree>
      <p:nvGrpSpPr>
        <p:cNvPr id="1" name=""/>
        <p:cNvGrpSpPr/>
        <p:nvPr/>
      </p:nvGrpSpPr>
      <p:grpSpPr>
        <a:xfrm>
          <a:off x="0" y="0"/>
          <a:ext cx="0" cy="0"/>
          <a:chOff x="0" y="0"/>
          <a:chExt cx="0" cy="0"/>
        </a:xfrm>
      </p:grpSpPr>
      <p:cxnSp>
        <p:nvCxnSpPr>
          <p:cNvPr id="6" name="Straight Connector 5"/>
          <p:cNvCxnSpPr/>
          <p:nvPr/>
        </p:nvCxnSpPr>
        <p:spPr>
          <a:xfrm flipV="1">
            <a:off x="-495300" y="65722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495300" y="1038225"/>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flipV="1">
            <a:off x="-542925" y="6475413"/>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09600" y="-356394"/>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11635582" y="-226219"/>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pic>
        <p:nvPicPr>
          <p:cNvPr id="11" name="Picture 11"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r="82782"/>
          <a:stretch>
            <a:fillRect/>
          </a:stretch>
        </p:blipFill>
        <p:spPr bwMode="auto">
          <a:xfrm>
            <a:off x="10972007" y="61913"/>
            <a:ext cx="647700" cy="605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200"/>
          <p:cNvSpPr>
            <a:spLocks noChangeArrowheads="1"/>
          </p:cNvSpPr>
          <p:nvPr/>
        </p:nvSpPr>
        <p:spPr bwMode="auto">
          <a:xfrm>
            <a:off x="9468644" y="14288"/>
            <a:ext cx="1434306" cy="640557"/>
          </a:xfrm>
          <a:prstGeom prst="rect">
            <a:avLst/>
          </a:prstGeom>
          <a:solidFill>
            <a:srgbClr val="4D4D4D">
              <a:alpha val="39999"/>
            </a:srgbClr>
          </a:solidFill>
          <a:ln w="3175">
            <a:solidFill>
              <a:schemeClr val="accent1"/>
            </a:solidFill>
            <a:miter lim="800000"/>
            <a:headEnd/>
            <a:tailEnd/>
          </a:ln>
        </p:spPr>
        <p:txBody>
          <a:bodyPr wrap="none" lIns="18000" tIns="18000" rIns="18000" bIns="18000" anchor="ctr"/>
          <a:lstStyle/>
          <a:p>
            <a:pPr algn="ctr" defTabSz="292100" fontAlgn="base">
              <a:spcBef>
                <a:spcPct val="0"/>
              </a:spcBef>
              <a:spcAft>
                <a:spcPct val="0"/>
              </a:spcAft>
            </a:pPr>
            <a:r>
              <a:rPr lang="en-GB" sz="1400">
                <a:solidFill>
                  <a:srgbClr val="000000"/>
                </a:solidFill>
                <a:ea typeface="ＭＳ Ｐゴシック" charset="0"/>
                <a:sym typeface="Avenir Roman" charset="0"/>
              </a:rPr>
              <a:t>customer logo</a:t>
            </a:r>
          </a:p>
        </p:txBody>
      </p:sp>
      <p:cxnSp>
        <p:nvCxnSpPr>
          <p:cNvPr id="14" name="Straight Connector 12"/>
          <p:cNvCxnSpPr/>
          <p:nvPr/>
        </p:nvCxnSpPr>
        <p:spPr>
          <a:xfrm flipV="1">
            <a:off x="10922794" y="-189707"/>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5" name="Straight Connector 13"/>
          <p:cNvCxnSpPr/>
          <p:nvPr/>
        </p:nvCxnSpPr>
        <p:spPr>
          <a:xfrm flipV="1">
            <a:off x="6116638" y="-3444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6" name="Straight Connector 14"/>
          <p:cNvCxnSpPr/>
          <p:nvPr/>
        </p:nvCxnSpPr>
        <p:spPr>
          <a:xfrm flipV="1">
            <a:off x="-419100" y="1392238"/>
            <a:ext cx="13101638" cy="6350"/>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7" name="Straight Connector 15"/>
          <p:cNvCxnSpPr/>
          <p:nvPr/>
        </p:nvCxnSpPr>
        <p:spPr>
          <a:xfrm flipV="1">
            <a:off x="-572294" y="6349207"/>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8" name="Straight Connector 16"/>
          <p:cNvCxnSpPr/>
          <p:nvPr/>
        </p:nvCxnSpPr>
        <p:spPr>
          <a:xfrm flipV="1">
            <a:off x="-542925" y="53975"/>
            <a:ext cx="13101638" cy="7144"/>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19" name="Straight Connector 17"/>
          <p:cNvCxnSpPr/>
          <p:nvPr/>
        </p:nvCxnSpPr>
        <p:spPr>
          <a:xfrm flipV="1">
            <a:off x="5934869" y="-2682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cxnSp>
        <p:nvCxnSpPr>
          <p:cNvPr id="20" name="Straight Connector 18"/>
          <p:cNvCxnSpPr/>
          <p:nvPr/>
        </p:nvCxnSpPr>
        <p:spPr>
          <a:xfrm flipV="1">
            <a:off x="6308725" y="-192088"/>
            <a:ext cx="0" cy="7435057"/>
          </a:xfrm>
          <a:prstGeom prst="line">
            <a:avLst/>
          </a:prstGeom>
          <a:ln w="6350">
            <a:prstDash val="dash"/>
          </a:ln>
          <a:effectLst/>
        </p:spPr>
        <p:style>
          <a:lnRef idx="2">
            <a:schemeClr val="accent1"/>
          </a:lnRef>
          <a:fillRef idx="0">
            <a:schemeClr val="accent1"/>
          </a:fillRef>
          <a:effectRef idx="1">
            <a:schemeClr val="accent1"/>
          </a:effectRef>
          <a:fontRef idx="minor">
            <a:schemeClr val="tx1"/>
          </a:fontRef>
        </p:style>
      </p:cxnSp>
      <p:sp>
        <p:nvSpPr>
          <p:cNvPr id="21" name="Text Box 202"/>
          <p:cNvSpPr txBox="1">
            <a:spLocks noChangeArrowheads="1"/>
          </p:cNvSpPr>
          <p:nvPr/>
        </p:nvSpPr>
        <p:spPr bwMode="auto">
          <a:xfrm>
            <a:off x="-3969" y="-212725"/>
            <a:ext cx="3338513" cy="196056"/>
          </a:xfrm>
          <a:prstGeom prst="rect">
            <a:avLst/>
          </a:prstGeom>
          <a:solidFill>
            <a:schemeClr val="accent1"/>
          </a:solidFill>
          <a:ln w="3175">
            <a:solidFill>
              <a:schemeClr val="accent1"/>
            </a:solidFill>
            <a:miter lim="800000"/>
            <a:headEnd/>
            <a:tailEnd/>
          </a:ln>
        </p:spPr>
        <p:txBody>
          <a:bodyPr lIns="18000" tIns="18000" rIns="18000" bIns="18000"/>
          <a:lstStyle>
            <a:lvl1pPr algn="ctr" defTabSz="330200" eaLnBrk="0" hangingPunct="0">
              <a:tabLst>
                <a:tab pos="8521700" algn="r"/>
              </a:tabLst>
              <a:defRPr sz="5000">
                <a:solidFill>
                  <a:schemeClr val="tx1"/>
                </a:solidFill>
                <a:latin typeface="Avenir" charset="0"/>
                <a:ea typeface="ＭＳ Ｐゴシック" charset="0"/>
                <a:cs typeface="Avenir" charset="0"/>
                <a:sym typeface="Avenir Roman" charset="0"/>
              </a:defRPr>
            </a:lvl1pPr>
            <a:lvl2pPr marL="742950" indent="-285750" algn="ctr" defTabSz="330200" eaLnBrk="0" hangingPunct="0">
              <a:tabLst>
                <a:tab pos="8521700" algn="r"/>
              </a:tabLst>
              <a:defRPr sz="5000">
                <a:solidFill>
                  <a:schemeClr val="tx1"/>
                </a:solidFill>
                <a:latin typeface="Avenir" charset="0"/>
                <a:ea typeface="Avenir" charset="0"/>
                <a:cs typeface="Avenir" charset="0"/>
                <a:sym typeface="Avenir Roman" charset="0"/>
              </a:defRPr>
            </a:lvl2pPr>
            <a:lvl3pPr marL="11430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3pPr>
            <a:lvl4pPr marL="16002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4pPr>
            <a:lvl5pPr marL="2057400" indent="-228600" algn="ctr" defTabSz="330200" eaLnBrk="0" hangingPunct="0">
              <a:tabLst>
                <a:tab pos="8521700" algn="r"/>
              </a:tabLst>
              <a:defRPr sz="5000">
                <a:solidFill>
                  <a:schemeClr val="tx1"/>
                </a:solidFill>
                <a:latin typeface="Avenir" charset="0"/>
                <a:ea typeface="Avenir" charset="0"/>
                <a:cs typeface="Avenir" charset="0"/>
                <a:sym typeface="Avenir Roman" charset="0"/>
              </a:defRPr>
            </a:lvl5pPr>
            <a:lvl6pPr marL="25146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6pPr>
            <a:lvl7pPr marL="29718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7pPr>
            <a:lvl8pPr marL="34290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8pPr>
            <a:lvl9pPr marL="3886200" indent="-228600" algn="ctr" defTabSz="330200" eaLnBrk="0" fontAlgn="base" hangingPunct="0">
              <a:spcBef>
                <a:spcPct val="0"/>
              </a:spcBef>
              <a:spcAft>
                <a:spcPct val="0"/>
              </a:spcAft>
              <a:tabLst>
                <a:tab pos="8521700" algn="r"/>
              </a:tabLst>
              <a:defRPr sz="5000">
                <a:solidFill>
                  <a:schemeClr val="tx1"/>
                </a:solidFill>
                <a:latin typeface="Avenir" charset="0"/>
                <a:ea typeface="Avenir" charset="0"/>
                <a:cs typeface="Avenir" charset="0"/>
                <a:sym typeface="Avenir Roman" charset="0"/>
              </a:defRPr>
            </a:lvl9pPr>
          </a:lstStyle>
          <a:p>
            <a:pPr eaLnBrk="1" fontAlgn="base" hangingPunct="1">
              <a:spcBef>
                <a:spcPct val="50000"/>
              </a:spcBef>
              <a:spcAft>
                <a:spcPct val="0"/>
              </a:spcAft>
              <a:defRPr/>
            </a:pPr>
            <a:r>
              <a:rPr lang="en-GB" sz="800" b="1">
                <a:solidFill>
                  <a:prstClr val="white"/>
                </a:solidFill>
                <a:latin typeface="Futura Medium" charset="0"/>
              </a:rPr>
              <a:t>guides &amp; place holders – remove on slide master, but adhere to it </a:t>
            </a:r>
            <a:r>
              <a:rPr lang="en-GB" sz="800" b="1">
                <a:solidFill>
                  <a:prstClr val="white"/>
                </a:solidFill>
                <a:latin typeface="Futura Medium" charset="0"/>
                <a:sym typeface="Wingdings" charset="0"/>
              </a:rPr>
              <a:t></a:t>
            </a:r>
            <a:endParaRPr lang="en-GB" sz="800" b="1">
              <a:solidFill>
                <a:prstClr val="white"/>
              </a:solidFill>
              <a:latin typeface="Futura Medium" charset="0"/>
            </a:endParaRPr>
          </a:p>
        </p:txBody>
      </p:sp>
      <p:pic>
        <p:nvPicPr>
          <p:cNvPr id="22" name="Picture 20" descr="TNS_logo_swirl_n_text_BLK_rgb_ENG.eps.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230394" y="-962025"/>
            <a:ext cx="3760788" cy="6056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itle 12"/>
          <p:cNvSpPr>
            <a:spLocks noGrp="1"/>
          </p:cNvSpPr>
          <p:nvPr>
            <p:ph type="title"/>
          </p:nvPr>
        </p:nvSpPr>
        <p:spPr>
          <a:xfrm>
            <a:off x="609600" y="67604"/>
            <a:ext cx="8858654" cy="579898"/>
          </a:xfrm>
        </p:spPr>
        <p:txBody>
          <a:bodyPr/>
          <a:lstStyle>
            <a:lvl1pPr algn="l">
              <a:defRPr>
                <a:latin typeface="Futura Medium"/>
              </a:defRPr>
            </a:lvl1pPr>
          </a:lstStyle>
          <a:p>
            <a:r>
              <a:rPr lang="en-US"/>
              <a:t>Click to edit Master title style</a:t>
            </a:r>
            <a:endParaRPr lang="en-GB"/>
          </a:p>
        </p:txBody>
      </p:sp>
      <p:sp>
        <p:nvSpPr>
          <p:cNvPr id="32" name="Text Placeholder 31"/>
          <p:cNvSpPr>
            <a:spLocks noGrp="1"/>
          </p:cNvSpPr>
          <p:nvPr>
            <p:ph type="body" sz="quarter" idx="15"/>
          </p:nvPr>
        </p:nvSpPr>
        <p:spPr>
          <a:xfrm>
            <a:off x="609600" y="6482557"/>
            <a:ext cx="2586832" cy="377825"/>
          </a:xfrm>
        </p:spPr>
        <p:txBody>
          <a:bodyPr>
            <a:normAutofit/>
          </a:bodyPr>
          <a:lstStyle>
            <a:lvl1pPr marL="0" indent="0">
              <a:buFontTx/>
              <a:buNone/>
              <a:defRPr sz="1200"/>
            </a:lvl1pPr>
          </a:lstStyle>
          <a:p>
            <a:pPr lvl="0"/>
            <a:r>
              <a:rPr lang="en-US"/>
              <a:t>Click to edit Master text styles</a:t>
            </a:r>
          </a:p>
        </p:txBody>
      </p:sp>
      <p:sp>
        <p:nvSpPr>
          <p:cNvPr id="23" name="Text Placeholder 2"/>
          <p:cNvSpPr>
            <a:spLocks noGrp="1"/>
          </p:cNvSpPr>
          <p:nvPr>
            <p:ph type="body" sz="quarter" idx="17"/>
          </p:nvPr>
        </p:nvSpPr>
        <p:spPr>
          <a:xfrm>
            <a:off x="609601" y="1391925"/>
            <a:ext cx="10292954" cy="393884"/>
          </a:xfrm>
        </p:spPr>
        <p:txBody>
          <a:bodyPr/>
          <a:lstStyle>
            <a:lvl1pPr marL="0" indent="0">
              <a:buNone/>
              <a:defRPr baseline="0">
                <a:latin typeface="Futura Medium"/>
              </a:defRPr>
            </a:lvl1pPr>
          </a:lstStyle>
          <a:p>
            <a:pPr lvl="0"/>
            <a:r>
              <a:rPr lang="en-US"/>
              <a:t>Click to edit Master text styles</a:t>
            </a:r>
          </a:p>
        </p:txBody>
      </p:sp>
      <p:sp>
        <p:nvSpPr>
          <p:cNvPr id="38" name="Text Placeholder 2"/>
          <p:cNvSpPr>
            <a:spLocks noGrp="1"/>
          </p:cNvSpPr>
          <p:nvPr>
            <p:ph type="body" sz="quarter" idx="18"/>
          </p:nvPr>
        </p:nvSpPr>
        <p:spPr>
          <a:xfrm>
            <a:off x="606423" y="1825290"/>
            <a:ext cx="10292954" cy="393884"/>
          </a:xfrm>
        </p:spPr>
        <p:txBody>
          <a:bodyPr/>
          <a:lstStyle>
            <a:lvl1pPr marL="0" indent="0">
              <a:buNone/>
              <a:defRPr baseline="0">
                <a:latin typeface="Futura Medium"/>
              </a:defRPr>
            </a:lvl1pPr>
          </a:lstStyle>
          <a:p>
            <a:pPr lvl="0"/>
            <a:r>
              <a:rPr lang="en-US"/>
              <a:t>Click to edit Master text styles</a:t>
            </a:r>
          </a:p>
        </p:txBody>
      </p:sp>
      <p:sp>
        <p:nvSpPr>
          <p:cNvPr id="24" name="Footer Placeholder 14"/>
          <p:cNvSpPr>
            <a:spLocks noGrp="1"/>
          </p:cNvSpPr>
          <p:nvPr>
            <p:ph type="ftr" sz="quarter" idx="19"/>
          </p:nvPr>
        </p:nvSpPr>
        <p:spPr/>
        <p:txBody>
          <a:bodyPr/>
          <a:lstStyle>
            <a:lvl1pPr>
              <a:defRPr smtClean="0"/>
            </a:lvl1pPr>
          </a:lstStyle>
          <a:p>
            <a:pPr>
              <a:defRPr/>
            </a:pPr>
            <a:endParaRPr lang="en-GB"/>
          </a:p>
        </p:txBody>
      </p:sp>
      <p:sp>
        <p:nvSpPr>
          <p:cNvPr id="25" name="Slide Number Placeholder 15"/>
          <p:cNvSpPr>
            <a:spLocks noGrp="1"/>
          </p:cNvSpPr>
          <p:nvPr>
            <p:ph type="sldNum" sz="quarter" idx="20"/>
          </p:nvPr>
        </p:nvSpPr>
        <p:spPr>
          <a:xfrm>
            <a:off x="10802938" y="6495257"/>
            <a:ext cx="697707" cy="365125"/>
          </a:xfrm>
        </p:spPr>
        <p:txBody>
          <a:bodyPr/>
          <a:lstStyle>
            <a:lvl1pPr>
              <a:defRPr smtClean="0"/>
            </a:lvl1pPr>
          </a:lstStyle>
          <a:p>
            <a:pPr>
              <a:defRPr/>
            </a:pPr>
            <a:fld id="{B8EE0FF9-6E93-744C-AEB8-8803073B7889}" type="slidenum">
              <a:rPr lang="en-GB"/>
              <a:pPr>
                <a:defRPr/>
              </a:pPr>
              <a:t>‹nr.›</a:t>
            </a:fld>
            <a:endParaRPr lang="en-GB"/>
          </a:p>
        </p:txBody>
      </p:sp>
    </p:spTree>
    <p:extLst>
      <p:ext uri="{BB962C8B-B14F-4D97-AF65-F5344CB8AC3E}">
        <p14:creationId xmlns:p14="http://schemas.microsoft.com/office/powerpoint/2010/main" val="36885071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221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dia met vaste foto (blauw)">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AFA3773A-0A5C-524B-88BC-207BD6C9465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9" name="Bijschrift Tekstvak 3">
            <a:extLst>
              <a:ext uri="{FF2B5EF4-FFF2-40B4-BE49-F238E27FC236}">
                <a16:creationId xmlns:a16="http://schemas.microsoft.com/office/drawing/2014/main" id="{C6FFE400-6BCE-C04B-BEF9-CB1B4A082779}"/>
              </a:ext>
            </a:extLst>
          </p:cNvPr>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Proeftuin Erasmusveld, Den Haag</a:t>
            </a:r>
            <a:endParaRPr lang="nl-NL" sz="1000" b="1"/>
          </a:p>
        </p:txBody>
      </p:sp>
      <p:sp>
        <p:nvSpPr>
          <p:cNvPr id="10" name="Rechthoek met één afgeschuinde hoek 14 (PHJU)">
            <a:extLst>
              <a:ext uri="{FF2B5EF4-FFF2-40B4-BE49-F238E27FC236}">
                <a16:creationId xmlns:a16="http://schemas.microsoft.com/office/drawing/2014/main" id="{D62DDEDA-7601-4FF8-B56B-78C9353690F3}"/>
              </a:ext>
            </a:extLst>
          </p:cNvPr>
          <p:cNvSpPr>
            <a:spLocks noGrp="1"/>
          </p:cNvSpPr>
          <p:nvPr>
            <p:ph type="body" idx="1000" hasCustomPrompt="1"/>
            <p:custDataLst>
              <p:custData r:id="rId1"/>
            </p:custDataLst>
          </p:nvPr>
        </p:nvSpPr>
        <p:spPr>
          <a:xfrm rot="5400000" flipH="1" flipV="1">
            <a:off x="4375864" y="-2096346"/>
            <a:ext cx="3443447" cy="12195176"/>
          </a:xfrm>
          <a:prstGeom prst="snip1Rect">
            <a:avLst>
              <a:gd name="adj" fmla="val 33852"/>
            </a:avLst>
          </a:prstGeom>
          <a:gradFill>
            <a:gsLst>
              <a:gs pos="0">
                <a:srgbClr val="00A2BC"/>
              </a:gs>
              <a:gs pos="99000">
                <a:srgbClr val="4BA1BA">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9519"/>
            <a:ext cx="10401291" cy="1138399"/>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333721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00" fill="hold"/>
                                        <p:tgtEl>
                                          <p:spTgt spid="10"/>
                                        </p:tgtEl>
                                        <p:attrNameLst>
                                          <p:attrName>ppt_x</p:attrName>
                                        </p:attrNameLst>
                                      </p:cBhvr>
                                      <p:tavLst>
                                        <p:tav tm="0">
                                          <p:val>
                                            <p:strVal val="#ppt_x"/>
                                          </p:val>
                                        </p:tav>
                                        <p:tav tm="100000">
                                          <p:val>
                                            <p:strVal val="#ppt_x"/>
                                          </p:val>
                                        </p:tav>
                                      </p:tavLst>
                                    </p:anim>
                                    <p:anim calcmode="lin" valueType="num">
                                      <p:cBhvr additive="base">
                                        <p:cTn id="8" dur="700" fill="hold"/>
                                        <p:tgtEl>
                                          <p:spTgt spid="10"/>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00"/>
                                        <p:tgtEl>
                                          <p:spTgt spid="13"/>
                                        </p:tgtEl>
                                      </p:cBhvr>
                                    </p:animEffect>
                                  </p:childTnLst>
                                </p:cTn>
                              </p:par>
                              <p:par>
                                <p:cTn id="12" presetID="2" presetClass="entr" presetSubtype="1" decel="10000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700" fill="hold"/>
                                        <p:tgtEl>
                                          <p:spTgt spid="8"/>
                                        </p:tgtEl>
                                        <p:attrNameLst>
                                          <p:attrName>ppt_x</p:attrName>
                                        </p:attrNameLst>
                                      </p:cBhvr>
                                      <p:tavLst>
                                        <p:tav tm="0">
                                          <p:val>
                                            <p:strVal val="#ppt_x"/>
                                          </p:val>
                                        </p:tav>
                                        <p:tav tm="100000">
                                          <p:val>
                                            <p:strVal val="#ppt_x"/>
                                          </p:val>
                                        </p:tav>
                                      </p:tavLst>
                                    </p:anim>
                                    <p:anim calcmode="lin" valueType="num">
                                      <p:cBhvr additive="base">
                                        <p:cTn id="15" dur="7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tmplLst>
          <p:tmpl>
            <p:tnLst>
              <p:par>
                <p:cTn presetID="2" presetClass="entr" presetSubtype="4"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ppt_x"/>
                          </p:val>
                        </p:tav>
                        <p:tav tm="100000">
                          <p:val>
                            <p:strVal val="#ppt_x"/>
                          </p:val>
                        </p:tav>
                      </p:tavLst>
                    </p:anim>
                    <p:anim calcmode="lin" valueType="num">
                      <p:cBhvr additive="base">
                        <p:cTn dur="700" fill="hold"/>
                        <p:tgtEl>
                          <p:spTgt spid="10"/>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34F128-C7DB-F56C-D3BE-005531AF252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C627CE7-882F-74C7-B793-0D543254E791}"/>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027DE39-3EE6-CEE1-7169-F52162AFBA8F}"/>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9DFB8109-205A-8447-4D83-5DF97DD63BB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730BF8D-AD79-183C-138C-80A651F6580B}"/>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310203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dia met foto boven (blauw)">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21" name="Rechthoek met één afgeschuinde hoek 14 (PHJU)">
            <a:extLst>
              <a:ext uri="{FF2B5EF4-FFF2-40B4-BE49-F238E27FC236}">
                <a16:creationId xmlns:a16="http://schemas.microsoft.com/office/drawing/2014/main" id="{FA02EF13-E6AA-4DE9-AB4B-A3AECCC68510}"/>
              </a:ext>
            </a:extLst>
          </p:cNvPr>
          <p:cNvSpPr>
            <a:spLocks noGrp="1"/>
          </p:cNvSpPr>
          <p:nvPr userDrawn="1">
            <p:ph type="body" idx="1000" hasCustomPrompt="1"/>
            <p:custDataLst>
              <p:custData r:id="rId1"/>
            </p:custDataLst>
          </p:nvPr>
        </p:nvSpPr>
        <p:spPr>
          <a:xfrm rot="5400000" flipH="1" flipV="1">
            <a:off x="4375864" y="-2096346"/>
            <a:ext cx="3443447" cy="12195176"/>
          </a:xfrm>
          <a:prstGeom prst="snip1Rect">
            <a:avLst>
              <a:gd name="adj" fmla="val 33852"/>
            </a:avLst>
          </a:prstGeom>
          <a:gradFill>
            <a:gsLst>
              <a:gs pos="0">
                <a:srgbClr val="00A2BC"/>
              </a:gs>
              <a:gs pos="99000">
                <a:srgbClr val="4BA1BA">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9518"/>
            <a:ext cx="10401291" cy="1151282"/>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2390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00" fill="hold"/>
                                        <p:tgtEl>
                                          <p:spTgt spid="24"/>
                                        </p:tgtEl>
                                        <p:attrNameLst>
                                          <p:attrName>ppt_x</p:attrName>
                                        </p:attrNameLst>
                                      </p:cBhvr>
                                      <p:tavLst>
                                        <p:tav tm="0">
                                          <p:val>
                                            <p:strVal val="#ppt_x"/>
                                          </p:val>
                                        </p:tav>
                                        <p:tav tm="100000">
                                          <p:val>
                                            <p:strVal val="#ppt_x"/>
                                          </p:val>
                                        </p:tav>
                                      </p:tavLst>
                                    </p:anim>
                                    <p:anim calcmode="lin" valueType="num">
                                      <p:cBhvr additive="base">
                                        <p:cTn id="8" dur="700" fill="hold"/>
                                        <p:tgtEl>
                                          <p:spTgt spid="2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700" fill="hold"/>
                                        <p:tgtEl>
                                          <p:spTgt spid="21"/>
                                        </p:tgtEl>
                                        <p:attrNameLst>
                                          <p:attrName>ppt_x</p:attrName>
                                        </p:attrNameLst>
                                      </p:cBhvr>
                                      <p:tavLst>
                                        <p:tav tm="0">
                                          <p:val>
                                            <p:strVal val="#ppt_x"/>
                                          </p:val>
                                        </p:tav>
                                        <p:tav tm="100000">
                                          <p:val>
                                            <p:strVal val="#ppt_x"/>
                                          </p:val>
                                        </p:tav>
                                      </p:tavLst>
                                    </p:anim>
                                    <p:anim calcmode="lin" valueType="num">
                                      <p:cBhvr additive="base">
                                        <p:cTn id="12" dur="700" fill="hold"/>
                                        <p:tgtEl>
                                          <p:spTgt spid="21"/>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1" grpId="0" animBg="1">
        <p:tmplLst>
          <p:tmpl>
            <p:tnLst>
              <p:par>
                <p:cTn presetID="2" presetClass="entr" presetSubtype="4" decel="10000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additive="base">
                        <p:cTn dur="700" fill="hold"/>
                        <p:tgtEl>
                          <p:spTgt spid="21"/>
                        </p:tgtEl>
                        <p:attrNameLst>
                          <p:attrName>ppt_x</p:attrName>
                        </p:attrNameLst>
                      </p:cBhvr>
                      <p:tavLst>
                        <p:tav tm="0">
                          <p:val>
                            <p:strVal val="#ppt_x"/>
                          </p:val>
                        </p:tav>
                        <p:tav tm="100000">
                          <p:val>
                            <p:strVal val="#ppt_x"/>
                          </p:val>
                        </p:tav>
                      </p:tavLst>
                    </p:anim>
                    <p:anim calcmode="lin" valueType="num">
                      <p:cBhvr additive="base">
                        <p:cTn dur="700" fill="hold"/>
                        <p:tgtEl>
                          <p:spTgt spid="21"/>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dia met foto onder (blauw)">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userDrawn="1">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0">
                <a:srgbClr val="00A2BC"/>
              </a:gs>
              <a:gs pos="99000">
                <a:srgbClr val="4BA1BA">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9520"/>
            <a:ext cx="10401291" cy="114948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pic>
        <p:nvPicPr>
          <p:cNvPr id="9" name="Afbeelding 8">
            <a:extLst>
              <a:ext uri="{FF2B5EF4-FFF2-40B4-BE49-F238E27FC236}">
                <a16:creationId xmlns:a16="http://schemas.microsoft.com/office/drawing/2014/main" id="{F8D141F9-CEE2-4D52-BDE7-D9BF965DB35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424741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en kader">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9"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1"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3" name="Tijdelijke aanduiding voor inhoud 2"/>
          <p:cNvSpPr>
            <a:spLocks noGrp="1"/>
          </p:cNvSpPr>
          <p:nvPr>
            <p:ph idx="1" hasCustomPrompt="1"/>
          </p:nvPr>
        </p:nvSpPr>
        <p:spPr bwMode="gray"/>
        <p:txBody>
          <a:bodyPr/>
          <a:lstStyle>
            <a:lvl1pPr>
              <a:defRPr baseline="0"/>
            </a:lvl1pPr>
          </a:lstStyle>
          <a:p>
            <a:pPr lvl="0"/>
            <a:r>
              <a:rPr lang="nl-NL" noProof="1"/>
              <a:t>[Typ tekst of klik op een pictogram om een object in te voegen]</a:t>
            </a:r>
          </a:p>
        </p:txBody>
      </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47853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grpSp>
        <p:nvGrpSpPr>
          <p:cNvPr id="6" name="Groep 5">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7"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11" name="Tijdelijke aanduiding voor inhoud L"/>
          <p:cNvSpPr>
            <a:spLocks noGrp="1"/>
          </p:cNvSpPr>
          <p:nvPr>
            <p:ph sz="quarter" idx="14" hasCustomPrompt="1"/>
          </p:nvPr>
        </p:nvSpPr>
        <p:spPr bwMode="gray">
          <a:xfrm>
            <a:off x="1439625" y="1295280"/>
            <a:ext cx="4966707" cy="4971600"/>
          </a:xfrm>
        </p:spPr>
        <p:txBody>
          <a:bodyPr/>
          <a:lstStyle>
            <a:lvl1pPr>
              <a:defRPr/>
            </a:lvl1pPr>
          </a:lstStyle>
          <a:p>
            <a:pPr lvl="0"/>
            <a:r>
              <a:rPr lang="nl-NL" noProof="1"/>
              <a:t>[Typ tekst of klik op een pictogram om een object in te voegen]</a:t>
            </a:r>
          </a:p>
        </p:txBody>
      </p:sp>
      <p:sp>
        <p:nvSpPr>
          <p:cNvPr id="9" name="Tijdelijke aanduiding voor inhoud R"/>
          <p:cNvSpPr>
            <a:spLocks noGrp="1"/>
          </p:cNvSpPr>
          <p:nvPr>
            <p:ph sz="quarter" idx="13" hasCustomPrompt="1"/>
          </p:nvPr>
        </p:nvSpPr>
        <p:spPr bwMode="gray">
          <a:xfrm>
            <a:off x="6622275" y="1295280"/>
            <a:ext cx="4966707" cy="4971600"/>
          </a:xfrm>
        </p:spPr>
        <p:txBody>
          <a:bodyPr/>
          <a:lstStyle>
            <a:lvl1pPr>
              <a:defRPr/>
            </a:lvl1pPr>
          </a:lstStyle>
          <a:p>
            <a:pPr lvl="0"/>
            <a:r>
              <a:rPr lang="nl-NL" noProof="1"/>
              <a:t>[Typ tekst of klik op een pictogram om een object in te voegen]</a:t>
            </a:r>
          </a:p>
        </p:txBody>
      </p:sp>
      <p:sp>
        <p:nvSpPr>
          <p:cNvPr id="2" name="Title 1">
            <a:extLst>
              <a:ext uri="{FF2B5EF4-FFF2-40B4-BE49-F238E27FC236}">
                <a16:creationId xmlns:a16="http://schemas.microsoft.com/office/drawing/2014/main" id="{3EB71F1A-CDE7-4CF7-87B9-2ACBE5FB8A64}"/>
              </a:ext>
            </a:extLst>
          </p:cNvPr>
          <p:cNvSpPr>
            <a:spLocks noGrp="1"/>
          </p:cNvSpPr>
          <p:nvPr>
            <p:ph type="title" hasCustomPrompt="1"/>
          </p:nvPr>
        </p:nvSpPr>
        <p:spPr/>
        <p:txBody>
          <a:bodyPr/>
          <a:lstStyle>
            <a:lvl1pPr>
              <a:lnSpc>
                <a:spcPct val="100000"/>
              </a:lnSpc>
              <a:defRPr/>
            </a:lvl1pPr>
          </a:lstStyle>
          <a:p>
            <a:r>
              <a:rPr lang="nl-NL" noProof="1"/>
              <a:t>[Titel,</a:t>
            </a:r>
            <a:br>
              <a:rPr lang="nl-NL" noProof="1"/>
            </a:br>
            <a:r>
              <a:rPr lang="nl-NL" noProof="1"/>
              <a:t>maximaal 2 regels]</a:t>
            </a:r>
            <a:endParaRPr lang="x-none"/>
          </a:p>
        </p:txBody>
      </p:sp>
      <p:sp>
        <p:nvSpPr>
          <p:cNvPr id="8" name="Slide Number Placeholder 7">
            <a:extLst>
              <a:ext uri="{FF2B5EF4-FFF2-40B4-BE49-F238E27FC236}">
                <a16:creationId xmlns:a16="http://schemas.microsoft.com/office/drawing/2014/main" id="{B5B3CBCB-3CBA-4F2D-B5B4-ED512D09267F}"/>
              </a:ext>
            </a:extLst>
          </p:cNvPr>
          <p:cNvSpPr>
            <a:spLocks noGrp="1"/>
          </p:cNvSpPr>
          <p:nvPr>
            <p:ph type="sldNum" sz="quarter" idx="17"/>
          </p:nvPr>
        </p:nvSpPr>
        <p:spPr/>
        <p:txBody>
          <a:bodyPr/>
          <a:lstStyle/>
          <a:p>
            <a:fld id="{1336C48C-F87C-4E4B-81EF-5027B17D1F61}" type="slidenum">
              <a:rPr lang="nl-NL" noProof="1" smtClean="0"/>
              <a:pPr/>
              <a:t>‹nr.›</a:t>
            </a:fld>
            <a:endParaRPr lang="nl-NL" noProof="1"/>
          </a:p>
        </p:txBody>
      </p:sp>
    </p:spTree>
    <p:extLst>
      <p:ext uri="{BB962C8B-B14F-4D97-AF65-F5344CB8AC3E}">
        <p14:creationId xmlns:p14="http://schemas.microsoft.com/office/powerpoint/2010/main" val="80718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grpSp>
        <p:nvGrpSpPr>
          <p:cNvPr id="6" name="Groep 5">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7"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8"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5" name="Tijdelijke aanduiding voor tabel 4"/>
          <p:cNvSpPr>
            <a:spLocks noGrp="1"/>
          </p:cNvSpPr>
          <p:nvPr>
            <p:ph type="tbl" sz="quarter" idx="10" hasCustomPrompt="1"/>
          </p:nvPr>
        </p:nvSpPr>
        <p:spPr bwMode="gray">
          <a:xfrm>
            <a:off x="1439487" y="1954213"/>
            <a:ext cx="9033647" cy="3852000"/>
          </a:xfrm>
        </p:spPr>
        <p:txBody>
          <a:bodyPr/>
          <a:lstStyle>
            <a:lvl1pPr>
              <a:defRPr/>
            </a:lvl1pPr>
          </a:lstStyle>
          <a:p>
            <a:r>
              <a:rPr lang="nl-NL"/>
              <a:t>[Klik op het icoon om een tabel in te voegen]</a:t>
            </a:r>
          </a:p>
        </p:txBody>
      </p:sp>
      <p:sp>
        <p:nvSpPr>
          <p:cNvPr id="9" name="Slide Number Placeholder 8">
            <a:extLst>
              <a:ext uri="{FF2B5EF4-FFF2-40B4-BE49-F238E27FC236}">
                <a16:creationId xmlns:a16="http://schemas.microsoft.com/office/drawing/2014/main" id="{C5F4226B-7B51-4E3D-999A-A7779B362113}"/>
              </a:ext>
            </a:extLst>
          </p:cNvPr>
          <p:cNvSpPr>
            <a:spLocks noGrp="1"/>
          </p:cNvSpPr>
          <p:nvPr>
            <p:ph type="sldNum" sz="quarter" idx="13"/>
          </p:nvPr>
        </p:nvSpPr>
        <p:spPr/>
        <p:txBody>
          <a:bodyPr/>
          <a:lstStyle/>
          <a:p>
            <a:fld id="{1336C48C-F87C-4E4B-81EF-5027B17D1F61}" type="slidenum">
              <a:rPr lang="nl-NL" noProof="1" smtClean="0"/>
              <a:pPr/>
              <a:t>‹nr.›</a:t>
            </a:fld>
            <a:endParaRPr lang="nl-NL" noProof="1"/>
          </a:p>
        </p:txBody>
      </p:sp>
    </p:spTree>
    <p:extLst>
      <p:ext uri="{BB962C8B-B14F-4D97-AF65-F5344CB8AC3E}">
        <p14:creationId xmlns:p14="http://schemas.microsoft.com/office/powerpoint/2010/main" val="150264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lleen titel (blauw)">
    <p:spTree>
      <p:nvGrpSpPr>
        <p:cNvPr id="1" name=""/>
        <p:cNvGrpSpPr/>
        <p:nvPr/>
      </p:nvGrpSpPr>
      <p:grpSpPr>
        <a:xfrm>
          <a:off x="0" y="0"/>
          <a:ext cx="0" cy="0"/>
          <a:chOff x="0" y="0"/>
          <a:chExt cx="0" cy="0"/>
        </a:xfrm>
      </p:grpSpPr>
      <p:grpSp>
        <p:nvGrpSpPr>
          <p:cNvPr id="5" name="Groep 4">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7"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8"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9"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34724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ADC51EEB-E321-4600-B8AB-6D5DC9FC4BBD}"/>
              </a:ext>
            </a:extLst>
          </p:cNvPr>
          <p:cNvSpPr>
            <a:spLocks noGrp="1"/>
          </p:cNvSpPr>
          <p:nvPr>
            <p:ph type="sldNum" sz="quarter" idx="12"/>
          </p:nvPr>
        </p:nvSpPr>
        <p:spPr/>
        <p:txBody>
          <a:bodyPr/>
          <a:lstStyle/>
          <a:p>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82565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eelddia (blauw)">
    <p:spTree>
      <p:nvGrpSpPr>
        <p:cNvPr id="1" name=""/>
        <p:cNvGrpSpPr/>
        <p:nvPr/>
      </p:nvGrpSpPr>
      <p:grpSpPr>
        <a:xfrm>
          <a:off x="0" y="0"/>
          <a:ext cx="0" cy="0"/>
          <a:chOff x="0" y="0"/>
          <a:chExt cx="0" cy="0"/>
        </a:xfrm>
      </p:grpSpPr>
      <p:sp>
        <p:nvSpPr>
          <p:cNvPr id="5"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11" name="Vrije vorm 11 (PHJU)">
            <a:extLst>
              <a:ext uri="{FF2B5EF4-FFF2-40B4-BE49-F238E27FC236}">
                <a16:creationId xmlns:a16="http://schemas.microsoft.com/office/drawing/2014/main" id="{4A133549-F7EA-40D7-87D6-0E93C1D9166F}"/>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00A2BC">
                  <a:alpha val="75000"/>
                </a:srgbClr>
              </a:gs>
              <a:gs pos="99000">
                <a:srgbClr val="00A2BC">
                  <a:alpha val="65000"/>
                </a:srgb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6" name="Instructie algemeen">
            <a:extLst>
              <a:ext uri="{FF2B5EF4-FFF2-40B4-BE49-F238E27FC236}">
                <a16:creationId xmlns:a16="http://schemas.microsoft.com/office/drawing/2014/main" id="{8E1BA0C1-9445-4A6A-917B-9F70694C6270}"/>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7" name="Tijdelijke aanduiding voor afbeelding 9">
            <a:extLst>
              <a:ext uri="{FF2B5EF4-FFF2-40B4-BE49-F238E27FC236}">
                <a16:creationId xmlns:a16="http://schemas.microsoft.com/office/drawing/2014/main" id="{E6067A91-398B-47CA-ACAD-2E57B4593A34}"/>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63092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oofdstukdia met eigen foto (blauw)">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00A2BC"/>
              </a:gs>
              <a:gs pos="99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Tree>
    <p:extLst>
      <p:ext uri="{BB962C8B-B14F-4D97-AF65-F5344CB8AC3E}">
        <p14:creationId xmlns:p14="http://schemas.microsoft.com/office/powerpoint/2010/main" val="234381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blauw)">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ADC51EEB-E321-4600-B8AB-6D5DC9FC4BBD}"/>
              </a:ext>
            </a:extLst>
          </p:cNvPr>
          <p:cNvSpPr>
            <a:spLocks noGrp="1"/>
          </p:cNvSpPr>
          <p:nvPr>
            <p:ph type="sldNum" sz="quarter" idx="12"/>
          </p:nvPr>
        </p:nvSpPr>
        <p:spPr/>
        <p:txBody>
          <a:bodyPr/>
          <a:lstStyle/>
          <a:p>
            <a:fld id="{1336C48C-F87C-4E4B-81EF-5027B17D1F61}" type="slidenum">
              <a:rPr lang="nl-NL" noProof="1" smtClean="0"/>
              <a:pPr/>
              <a:t>‹nr.›</a:t>
            </a:fld>
            <a:endParaRPr lang="nl-NL" noProof="1"/>
          </a:p>
        </p:txBody>
      </p:sp>
      <p:sp>
        <p:nvSpPr>
          <p:cNvPr id="3" name="Vrije vorm 28">
            <a:extLst>
              <a:ext uri="{FF2B5EF4-FFF2-40B4-BE49-F238E27FC236}">
                <a16:creationId xmlns:a16="http://schemas.microsoft.com/office/drawing/2014/main" id="{F61369EB-E423-4788-9D5E-9E2C64F090A8}"/>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4" name="Rechthoek met één afgeschuinde hoek 14">
            <a:extLst>
              <a:ext uri="{FF2B5EF4-FFF2-40B4-BE49-F238E27FC236}">
                <a16:creationId xmlns:a16="http://schemas.microsoft.com/office/drawing/2014/main" id="{DE4EA2C7-98B4-4869-B9CE-797DB41A5BDD}"/>
              </a:ext>
            </a:extLst>
          </p:cNvPr>
          <p:cNvSpPr>
            <a:spLocks/>
          </p:cNvSpPr>
          <p:nvPr userDrawn="1"/>
        </p:nvSpPr>
        <p:spPr>
          <a:xfrm rot="10800000">
            <a:off x="-4" y="1"/>
            <a:ext cx="12192005" cy="5724415"/>
          </a:xfrm>
          <a:prstGeom prst="snip1Rect">
            <a:avLst>
              <a:gd name="adj" fmla="val 20200"/>
            </a:avLst>
          </a:prstGeom>
          <a:gradFill>
            <a:gsLst>
              <a:gs pos="100000">
                <a:srgbClr val="78BDDE">
                  <a:alpha val="69804"/>
                </a:srgbClr>
              </a:gs>
              <a:gs pos="7000">
                <a:srgbClr val="00A2BC"/>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5" name="Vrije vorm 35">
            <a:extLst>
              <a:ext uri="{FF2B5EF4-FFF2-40B4-BE49-F238E27FC236}">
                <a16:creationId xmlns:a16="http://schemas.microsoft.com/office/drawing/2014/main" id="{DF8E57BA-6D1E-499E-B838-766D9F5A53C1}"/>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Tree>
    <p:extLst>
      <p:ext uri="{BB962C8B-B14F-4D97-AF65-F5344CB8AC3E}">
        <p14:creationId xmlns:p14="http://schemas.microsoft.com/office/powerpoint/2010/main" val="426102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00" fill="hold"/>
                                        <p:tgtEl>
                                          <p:spTgt spid="4"/>
                                        </p:tgtEl>
                                        <p:attrNameLst>
                                          <p:attrName>ppt_x</p:attrName>
                                        </p:attrNameLst>
                                      </p:cBhvr>
                                      <p:tavLst>
                                        <p:tav tm="0">
                                          <p:val>
                                            <p:strVal val="1+#ppt_w/2"/>
                                          </p:val>
                                        </p:tav>
                                        <p:tav tm="100000">
                                          <p:val>
                                            <p:strVal val="#ppt_x"/>
                                          </p:val>
                                        </p:tav>
                                      </p:tavLst>
                                    </p:anim>
                                    <p:anim calcmode="lin" valueType="num">
                                      <p:cBhvr additive="base">
                                        <p:cTn id="8" dur="7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00" fill="hold"/>
                                        <p:tgtEl>
                                          <p:spTgt spid="3"/>
                                        </p:tgtEl>
                                        <p:attrNameLst>
                                          <p:attrName>ppt_x</p:attrName>
                                        </p:attrNameLst>
                                      </p:cBhvr>
                                      <p:tavLst>
                                        <p:tav tm="0">
                                          <p:val>
                                            <p:strVal val="0-#ppt_w/2"/>
                                          </p:val>
                                        </p:tav>
                                        <p:tav tm="100000">
                                          <p:val>
                                            <p:strVal val="#ppt_x"/>
                                          </p:val>
                                        </p:tav>
                                      </p:tavLst>
                                    </p:anim>
                                    <p:anim calcmode="lin" valueType="num">
                                      <p:cBhvr additive="base">
                                        <p:cTn id="12" dur="700" fill="hold"/>
                                        <p:tgtEl>
                                          <p:spTgt spid="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4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A84BCC-9980-07E0-15C8-C8C816DA2859}"/>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F8450B31-1C0C-78D8-8B49-51900677BB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904112C5-903D-F140-89B9-7EEDE29CBA3D}"/>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C6451075-0D83-FC2C-6EDD-7971EFA4D1A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3C9242A-F578-F40A-26CA-8EFDD1F15C18}"/>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38339045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dia met vaste foto (groen)">
    <p:spTree>
      <p:nvGrpSpPr>
        <p:cNvPr id="1" name=""/>
        <p:cNvGrpSpPr/>
        <p:nvPr/>
      </p:nvGrpSpPr>
      <p:grpSpPr>
        <a:xfrm>
          <a:off x="0" y="0"/>
          <a:ext cx="0" cy="0"/>
          <a:chOff x="0" y="0"/>
          <a:chExt cx="0" cy="0"/>
        </a:xfrm>
      </p:grpSpPr>
      <p:pic>
        <p:nvPicPr>
          <p:cNvPr id="12" name="Afbeelding 1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7" name="Rechthoek met één afgeschuinde hoek 14 (PHJU)">
            <a:extLst>
              <a:ext uri="{FF2B5EF4-FFF2-40B4-BE49-F238E27FC236}">
                <a16:creationId xmlns:a16="http://schemas.microsoft.com/office/drawing/2014/main" id="{BA11EAD0-7E25-43EB-8513-2EC09D3442A2}"/>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0">
                <a:srgbClr val="C0CF46"/>
              </a:gs>
              <a:gs pos="100000">
                <a:srgbClr val="99A638">
                  <a:alpha val="64706"/>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10" name="Bijschrift Tekstvak 3"/>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Proeftuin Erasmusveld, Den Haag</a:t>
            </a:r>
            <a:endParaRPr lang="nl-NL" sz="1000" b="1"/>
          </a:p>
        </p:txBody>
      </p:sp>
    </p:spTree>
    <p:extLst>
      <p:ext uri="{BB962C8B-B14F-4D97-AF65-F5344CB8AC3E}">
        <p14:creationId xmlns:p14="http://schemas.microsoft.com/office/powerpoint/2010/main" val="348122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00" fill="hold"/>
                                        <p:tgtEl>
                                          <p:spTgt spid="7"/>
                                        </p:tgtEl>
                                        <p:attrNameLst>
                                          <p:attrName>ppt_x</p:attrName>
                                        </p:attrNameLst>
                                      </p:cBhvr>
                                      <p:tavLst>
                                        <p:tav tm="0">
                                          <p:val>
                                            <p:strVal val="#ppt_x"/>
                                          </p:val>
                                        </p:tav>
                                        <p:tav tm="100000">
                                          <p:val>
                                            <p:strVal val="#ppt_x"/>
                                          </p:val>
                                        </p:tav>
                                      </p:tavLst>
                                    </p:anim>
                                    <p:anim calcmode="lin" valueType="num">
                                      <p:cBhvr additive="base">
                                        <p:cTn id="8" dur="7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00" fill="hold"/>
                                        <p:tgtEl>
                                          <p:spTgt spid="12"/>
                                        </p:tgtEl>
                                        <p:attrNameLst>
                                          <p:attrName>ppt_x</p:attrName>
                                        </p:attrNameLst>
                                      </p:cBhvr>
                                      <p:tavLst>
                                        <p:tav tm="0">
                                          <p:val>
                                            <p:strVal val="#ppt_x"/>
                                          </p:val>
                                        </p:tav>
                                        <p:tav tm="100000">
                                          <p:val>
                                            <p:strVal val="#ppt_x"/>
                                          </p:val>
                                        </p:tav>
                                      </p:tavLst>
                                    </p:anim>
                                    <p:anim calcmode="lin" valueType="num">
                                      <p:cBhvr additive="base">
                                        <p:cTn id="12" dur="700" fill="hold"/>
                                        <p:tgtEl>
                                          <p:spTgt spid="12"/>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4"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ppt_x"/>
                          </p:val>
                        </p:tav>
                        <p:tav tm="100000">
                          <p:val>
                            <p:strVal val="#ppt_x"/>
                          </p:val>
                        </p:tav>
                      </p:tavLst>
                    </p:anim>
                    <p:anim calcmode="lin" valueType="num">
                      <p:cBhvr additive="base">
                        <p:cTn dur="700" fill="hold"/>
                        <p:tgtEl>
                          <p:spTgt spid="7"/>
                        </p:tgtEl>
                        <p:attrNameLst>
                          <p:attrName>ppt_y</p:attrName>
                        </p:attrNameLst>
                      </p:cBhvr>
                      <p:tavLst>
                        <p:tav tm="0">
                          <p:val>
                            <p:strVal val="1+#ppt_h/2"/>
                          </p:val>
                        </p:tav>
                        <p:tav tm="100000">
                          <p:val>
                            <p:strVal val="#ppt_y"/>
                          </p:val>
                        </p:tav>
                      </p:tavLst>
                    </p:anim>
                  </p:childTnLst>
                </p:cTn>
              </p:par>
            </p:tnLst>
          </p:tmpl>
        </p:tmplLst>
      </p:bldP>
    </p:bldLst>
  </p:timing>
  <p:hf sldNum="0" hdr="0" ft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dia met vaste foto (rood)">
    <p:spTree>
      <p:nvGrpSpPr>
        <p:cNvPr id="1" name=""/>
        <p:cNvGrpSpPr/>
        <p:nvPr/>
      </p:nvGrpSpPr>
      <p:grpSpPr>
        <a:xfrm>
          <a:off x="0" y="0"/>
          <a:ext cx="0" cy="0"/>
          <a:chOff x="0" y="0"/>
          <a:chExt cx="0" cy="0"/>
        </a:xfrm>
      </p:grpSpPr>
      <p:pic>
        <p:nvPicPr>
          <p:cNvPr id="15" name="Afbeelding 1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11" name="Rechthoek met één afgeschuinde hoek 14 (PHJU) (PHJU)">
            <a:extLst>
              <a:ext uri="{FF2B5EF4-FFF2-40B4-BE49-F238E27FC236}">
                <a16:creationId xmlns:a16="http://schemas.microsoft.com/office/drawing/2014/main" id="{139C14F8-95B3-49FA-9B39-D999B3A2BB0A}"/>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25000">
                <a:srgbClr val="EC1E30"/>
              </a:gs>
              <a:gs pos="97000">
                <a:srgbClr val="C73736">
                  <a:alpha val="69804"/>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8" name="Bijschrift Tekstvak 3"/>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De Binckhorst, Den Haag</a:t>
            </a:r>
            <a:endParaRPr lang="nl-NL" sz="1000" b="1"/>
          </a:p>
        </p:txBody>
      </p:sp>
    </p:spTree>
    <p:extLst>
      <p:ext uri="{BB962C8B-B14F-4D97-AF65-F5344CB8AC3E}">
        <p14:creationId xmlns:p14="http://schemas.microsoft.com/office/powerpoint/2010/main" val="31999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00" fill="hold"/>
                                        <p:tgtEl>
                                          <p:spTgt spid="11"/>
                                        </p:tgtEl>
                                        <p:attrNameLst>
                                          <p:attrName>ppt_x</p:attrName>
                                        </p:attrNameLst>
                                      </p:cBhvr>
                                      <p:tavLst>
                                        <p:tav tm="0">
                                          <p:val>
                                            <p:strVal val="#ppt_x"/>
                                          </p:val>
                                        </p:tav>
                                        <p:tav tm="100000">
                                          <p:val>
                                            <p:strVal val="#ppt_x"/>
                                          </p:val>
                                        </p:tav>
                                      </p:tavLst>
                                    </p:anim>
                                    <p:anim calcmode="lin" valueType="num">
                                      <p:cBhvr additive="base">
                                        <p:cTn id="8" dur="7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tmplLst>
          <p:tmpl>
            <p:tnLst>
              <p:par>
                <p:cTn presetID="2" presetClass="entr" presetSubtype="4" decel="10000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00" fill="hold"/>
                        <p:tgtEl>
                          <p:spTgt spid="11"/>
                        </p:tgtEl>
                        <p:attrNameLst>
                          <p:attrName>ppt_x</p:attrName>
                        </p:attrNameLst>
                      </p:cBhvr>
                      <p:tavLst>
                        <p:tav tm="0">
                          <p:val>
                            <p:strVal val="#ppt_x"/>
                          </p:val>
                        </p:tav>
                        <p:tav tm="100000">
                          <p:val>
                            <p:strVal val="#ppt_x"/>
                          </p:val>
                        </p:tav>
                      </p:tavLst>
                    </p:anim>
                    <p:anim calcmode="lin" valueType="num">
                      <p:cBhvr additive="base">
                        <p:cTn dur="700" fill="hold"/>
                        <p:tgtEl>
                          <p:spTgt spid="11"/>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dia met vaste foto (paars)">
    <p:spTree>
      <p:nvGrpSpPr>
        <p:cNvPr id="1" name=""/>
        <p:cNvGrpSpPr/>
        <p:nvPr/>
      </p:nvGrpSpPr>
      <p:grpSpPr>
        <a:xfrm>
          <a:off x="0" y="0"/>
          <a:ext cx="0" cy="0"/>
          <a:chOff x="0" y="0"/>
          <a:chExt cx="0" cy="0"/>
        </a:xfrm>
      </p:grpSpPr>
      <p:pic>
        <p:nvPicPr>
          <p:cNvPr id="12" name="Afbeelding 1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7" name="Rechthoek met één afgeschuinde hoek 14 (PHJU)">
            <a:extLst>
              <a:ext uri="{FF2B5EF4-FFF2-40B4-BE49-F238E27FC236}">
                <a16:creationId xmlns:a16="http://schemas.microsoft.com/office/drawing/2014/main" id="{C40EEC2C-BA1C-4482-92D6-A853EF5D3BDB}"/>
              </a:ext>
            </a:extLst>
          </p:cNvPr>
          <p:cNvSpPr>
            <a:spLocks noGrp="1"/>
          </p:cNvSpPr>
          <p:nvPr>
            <p:ph type="body" idx="1000" hasCustomPrompt="1"/>
            <p:custDataLst>
              <p:custData r:id="rId1"/>
            </p:custDataLst>
          </p:nvPr>
        </p:nvSpPr>
        <p:spPr>
          <a:xfrm rot="5400000" flipH="1" flipV="1">
            <a:off x="4374276" y="-2094759"/>
            <a:ext cx="3443447" cy="12192001"/>
          </a:xfrm>
          <a:prstGeom prst="snip1Rect">
            <a:avLst>
              <a:gd name="adj" fmla="val 33852"/>
            </a:avLst>
          </a:prstGeom>
          <a:gradFill>
            <a:gsLst>
              <a:gs pos="0">
                <a:srgbClr val="AB7AA6"/>
              </a:gs>
              <a:gs pos="99000">
                <a:srgbClr val="8B536B">
                  <a:alpha val="74902"/>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10" name="Bijschrift Tekstvak 3"/>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Waalhoven, Nijmegen</a:t>
            </a:r>
            <a:endParaRPr lang="nl-NL" sz="1000" b="1"/>
          </a:p>
        </p:txBody>
      </p:sp>
    </p:spTree>
    <p:extLst>
      <p:ext uri="{BB962C8B-B14F-4D97-AF65-F5344CB8AC3E}">
        <p14:creationId xmlns:p14="http://schemas.microsoft.com/office/powerpoint/2010/main" val="55433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00" fill="hold"/>
                                        <p:tgtEl>
                                          <p:spTgt spid="7"/>
                                        </p:tgtEl>
                                        <p:attrNameLst>
                                          <p:attrName>ppt_x</p:attrName>
                                        </p:attrNameLst>
                                      </p:cBhvr>
                                      <p:tavLst>
                                        <p:tav tm="0">
                                          <p:val>
                                            <p:strVal val="#ppt_x"/>
                                          </p:val>
                                        </p:tav>
                                        <p:tav tm="100000">
                                          <p:val>
                                            <p:strVal val="#ppt_x"/>
                                          </p:val>
                                        </p:tav>
                                      </p:tavLst>
                                    </p:anim>
                                    <p:anim calcmode="lin" valueType="num">
                                      <p:cBhvr additive="base">
                                        <p:cTn id="8" dur="7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00" fill="hold"/>
                                        <p:tgtEl>
                                          <p:spTgt spid="12"/>
                                        </p:tgtEl>
                                        <p:attrNameLst>
                                          <p:attrName>ppt_x</p:attrName>
                                        </p:attrNameLst>
                                      </p:cBhvr>
                                      <p:tavLst>
                                        <p:tav tm="0">
                                          <p:val>
                                            <p:strVal val="#ppt_x"/>
                                          </p:val>
                                        </p:tav>
                                        <p:tav tm="100000">
                                          <p:val>
                                            <p:strVal val="#ppt_x"/>
                                          </p:val>
                                        </p:tav>
                                      </p:tavLst>
                                    </p:anim>
                                    <p:anim calcmode="lin" valueType="num">
                                      <p:cBhvr additive="base">
                                        <p:cTn id="12" dur="700" fill="hold"/>
                                        <p:tgtEl>
                                          <p:spTgt spid="12"/>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tmplLst>
          <p:tmpl>
            <p:tnLst>
              <p:par>
                <p:cTn presetID="2" presetClass="entr" presetSubtype="4" decel="10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ppt_x"/>
                          </p:val>
                        </p:tav>
                        <p:tav tm="100000">
                          <p:val>
                            <p:strVal val="#ppt_x"/>
                          </p:val>
                        </p:tav>
                      </p:tavLst>
                    </p:anim>
                    <p:anim calcmode="lin" valueType="num">
                      <p:cBhvr additive="base">
                        <p:cTn dur="700" fill="hold"/>
                        <p:tgtEl>
                          <p:spTgt spid="7"/>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dia met vaste foto (oranje)">
    <p:spTree>
      <p:nvGrpSpPr>
        <p:cNvPr id="1" name=""/>
        <p:cNvGrpSpPr/>
        <p:nvPr/>
      </p:nvGrpSpPr>
      <p:grpSpPr>
        <a:xfrm>
          <a:off x="0" y="0"/>
          <a:ext cx="0" cy="0"/>
          <a:chOff x="0" y="0"/>
          <a:chExt cx="0" cy="0"/>
        </a:xfrm>
      </p:grpSpPr>
      <p:pic>
        <p:nvPicPr>
          <p:cNvPr id="12" name="Afbeelding 1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10" name="Rechthoek met één afgeschuinde hoek 14 (PHJU)">
            <a:extLst>
              <a:ext uri="{FF2B5EF4-FFF2-40B4-BE49-F238E27FC236}">
                <a16:creationId xmlns:a16="http://schemas.microsoft.com/office/drawing/2014/main" id="{3E7C96BD-76FD-4663-A0E0-BAAEE90F4A86}"/>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100000">
                <a:srgbClr val="C06019">
                  <a:alpha val="69804"/>
                </a:srgbClr>
              </a:gs>
              <a:gs pos="0">
                <a:srgbClr val="EB9801"/>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8" name="Bijschrift Tekstvak 3"/>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World Food Center,</a:t>
            </a:r>
            <a:r>
              <a:rPr lang="nl-NL" sz="1000" b="1" baseline="0">
                <a:solidFill>
                  <a:schemeClr val="bg1"/>
                </a:solidFill>
              </a:rPr>
              <a:t> Ede</a:t>
            </a:r>
            <a:endParaRPr lang="nl-NL" sz="1000" b="1"/>
          </a:p>
        </p:txBody>
      </p:sp>
    </p:spTree>
    <p:extLst>
      <p:ext uri="{BB962C8B-B14F-4D97-AF65-F5344CB8AC3E}">
        <p14:creationId xmlns:p14="http://schemas.microsoft.com/office/powerpoint/2010/main" val="390793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00" fill="hold"/>
                                        <p:tgtEl>
                                          <p:spTgt spid="10"/>
                                        </p:tgtEl>
                                        <p:attrNameLst>
                                          <p:attrName>ppt_x</p:attrName>
                                        </p:attrNameLst>
                                      </p:cBhvr>
                                      <p:tavLst>
                                        <p:tav tm="0">
                                          <p:val>
                                            <p:strVal val="#ppt_x"/>
                                          </p:val>
                                        </p:tav>
                                        <p:tav tm="100000">
                                          <p:val>
                                            <p:strVal val="#ppt_x"/>
                                          </p:val>
                                        </p:tav>
                                      </p:tavLst>
                                    </p:anim>
                                    <p:anim calcmode="lin" valueType="num">
                                      <p:cBhvr additive="base">
                                        <p:cTn id="8" dur="7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00" fill="hold"/>
                                        <p:tgtEl>
                                          <p:spTgt spid="12"/>
                                        </p:tgtEl>
                                        <p:attrNameLst>
                                          <p:attrName>ppt_x</p:attrName>
                                        </p:attrNameLst>
                                      </p:cBhvr>
                                      <p:tavLst>
                                        <p:tav tm="0">
                                          <p:val>
                                            <p:strVal val="#ppt_x"/>
                                          </p:val>
                                        </p:tav>
                                        <p:tav tm="100000">
                                          <p:val>
                                            <p:strVal val="#ppt_x"/>
                                          </p:val>
                                        </p:tav>
                                      </p:tavLst>
                                    </p:anim>
                                    <p:anim calcmode="lin" valueType="num">
                                      <p:cBhvr additive="base">
                                        <p:cTn id="12" dur="700" fill="hold"/>
                                        <p:tgtEl>
                                          <p:spTgt spid="12"/>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tmplLst>
          <p:tmpl>
            <p:tnLst>
              <p:par>
                <p:cTn presetID="2" presetClass="entr" presetSubtype="4"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ppt_x"/>
                          </p:val>
                        </p:tav>
                        <p:tav tm="100000">
                          <p:val>
                            <p:strVal val="#ppt_x"/>
                          </p:val>
                        </p:tav>
                      </p:tavLst>
                    </p:anim>
                    <p:anim calcmode="lin" valueType="num">
                      <p:cBhvr additive="base">
                        <p:cTn dur="700" fill="hold"/>
                        <p:tgtEl>
                          <p:spTgt spid="10"/>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dia met vaste foto (blauw2)">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a:xfrm>
            <a:off x="0" y="0"/>
            <a:ext cx="12192000" cy="3435604"/>
          </a:xfrm>
          <a:custGeom>
            <a:avLst/>
            <a:gdLst>
              <a:gd name="connsiteX0" fmla="*/ 0 w 12195175"/>
              <a:gd name="connsiteY0" fmla="*/ 0 h 3435604"/>
              <a:gd name="connsiteX1" fmla="*/ 12195175 w 12195175"/>
              <a:gd name="connsiteY1" fmla="*/ 0 h 3435604"/>
              <a:gd name="connsiteX2" fmla="*/ 12195175 w 12195175"/>
              <a:gd name="connsiteY2" fmla="*/ 3435604 h 3435604"/>
              <a:gd name="connsiteX3" fmla="*/ 1160559 w 12195175"/>
              <a:gd name="connsiteY3" fmla="*/ 3435604 h 3435604"/>
              <a:gd name="connsiteX4" fmla="*/ 0 w 12195175"/>
              <a:gd name="connsiteY4" fmla="*/ 2275045 h 3435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5" h="3435604">
                <a:moveTo>
                  <a:pt x="0" y="0"/>
                </a:moveTo>
                <a:lnTo>
                  <a:pt x="12195175" y="0"/>
                </a:lnTo>
                <a:lnTo>
                  <a:pt x="12195175" y="3435604"/>
                </a:lnTo>
                <a:lnTo>
                  <a:pt x="1160559" y="3435604"/>
                </a:lnTo>
                <a:lnTo>
                  <a:pt x="0" y="2275045"/>
                </a:lnTo>
                <a:close/>
              </a:path>
            </a:pathLst>
          </a:custGeom>
        </p:spPr>
      </p:pic>
      <p:sp>
        <p:nvSpPr>
          <p:cNvPr id="10" name="Rechthoek met één afgeschuinde hoek 14 (PHJU)">
            <a:extLst>
              <a:ext uri="{FF2B5EF4-FFF2-40B4-BE49-F238E27FC236}">
                <a16:creationId xmlns:a16="http://schemas.microsoft.com/office/drawing/2014/main" id="{A21D2D72-5CB9-456F-9CFF-0FE081A6E1A7}"/>
              </a:ext>
            </a:extLst>
          </p:cNvPr>
          <p:cNvSpPr>
            <a:spLocks noGrp="1"/>
          </p:cNvSpPr>
          <p:nvPr>
            <p:ph type="body" idx="1000" hasCustomPrompt="1"/>
            <p:custDataLst>
              <p:custData r:id="rId1"/>
            </p:custDataLst>
          </p:nvPr>
        </p:nvSpPr>
        <p:spPr>
          <a:xfrm rot="5400000" flipH="1" flipV="1">
            <a:off x="4374276" y="-2094759"/>
            <a:ext cx="3443447" cy="12192001"/>
          </a:xfrm>
          <a:prstGeom prst="snip1Rect">
            <a:avLst>
              <a:gd name="adj" fmla="val 33852"/>
            </a:avLst>
          </a:prstGeom>
          <a:gradFill>
            <a:gsLst>
              <a:gs pos="100000">
                <a:srgbClr val="254677">
                  <a:alpha val="69804"/>
                </a:srgbClr>
              </a:gs>
              <a:gs pos="0">
                <a:srgbClr val="396EB4"/>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pic>
        <p:nvPicPr>
          <p:cNvPr id="13" name="Afbeelding 12">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
        <p:nvSpPr>
          <p:cNvPr id="7" name="Bijschrift Tekstvak 3"/>
          <p:cNvSpPr txBox="1">
            <a:spLocks/>
          </p:cNvSpPr>
          <p:nvPr userDrawn="1"/>
        </p:nvSpPr>
        <p:spPr>
          <a:xfrm>
            <a:off x="8327512" y="12600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a:solidFill>
                  <a:schemeClr val="bg1"/>
                </a:solidFill>
              </a:rPr>
              <a:t>Holland Park West, Diemen</a:t>
            </a:r>
            <a:endParaRPr lang="nl-NL" sz="1000" b="1"/>
          </a:p>
        </p:txBody>
      </p:sp>
      <p:sp>
        <p:nvSpPr>
          <p:cNvPr id="9" name="witdriehoek">
            <a:extLst>
              <a:ext uri="{FF2B5EF4-FFF2-40B4-BE49-F238E27FC236}">
                <a16:creationId xmlns:a16="http://schemas.microsoft.com/office/drawing/2014/main" id="{258E5B10-4493-46B1-B50A-1C8CA7958AD0}"/>
              </a:ext>
            </a:extLst>
          </p:cNvPr>
          <p:cNvSpPr>
            <a:spLocks noChangeAspect="1"/>
          </p:cNvSpPr>
          <p:nvPr userDrawn="1"/>
        </p:nvSpPr>
        <p:spPr bwMode="auto">
          <a:xfrm>
            <a:off x="0" y="2286001"/>
            <a:ext cx="583048" cy="1166400"/>
          </a:xfrm>
          <a:custGeom>
            <a:avLst/>
            <a:gdLst>
              <a:gd name="T0" fmla="*/ 360 w 360"/>
              <a:gd name="T1" fmla="*/ 360 h 720"/>
              <a:gd name="T2" fmla="*/ 0 w 360"/>
              <a:gd name="T3" fmla="*/ 720 h 720"/>
              <a:gd name="T4" fmla="*/ 0 w 360"/>
              <a:gd name="T5" fmla="*/ 0 h 720"/>
              <a:gd name="T6" fmla="*/ 360 w 360"/>
              <a:gd name="T7" fmla="*/ 360 h 720"/>
            </a:gdLst>
            <a:ahLst/>
            <a:cxnLst>
              <a:cxn ang="0">
                <a:pos x="T0" y="T1"/>
              </a:cxn>
              <a:cxn ang="0">
                <a:pos x="T2" y="T3"/>
              </a:cxn>
              <a:cxn ang="0">
                <a:pos x="T4" y="T5"/>
              </a:cxn>
              <a:cxn ang="0">
                <a:pos x="T6" y="T7"/>
              </a:cxn>
            </a:cxnLst>
            <a:rect l="0" t="0" r="r" b="b"/>
            <a:pathLst>
              <a:path w="360" h="720">
                <a:moveTo>
                  <a:pt x="360" y="360"/>
                </a:moveTo>
                <a:lnTo>
                  <a:pt x="0" y="720"/>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nl-NL" sz="1799"/>
          </a:p>
        </p:txBody>
      </p:sp>
    </p:spTree>
    <p:extLst>
      <p:ext uri="{BB962C8B-B14F-4D97-AF65-F5344CB8AC3E}">
        <p14:creationId xmlns:p14="http://schemas.microsoft.com/office/powerpoint/2010/main" val="256323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00" fill="hold"/>
                                        <p:tgtEl>
                                          <p:spTgt spid="10"/>
                                        </p:tgtEl>
                                        <p:attrNameLst>
                                          <p:attrName>ppt_x</p:attrName>
                                        </p:attrNameLst>
                                      </p:cBhvr>
                                      <p:tavLst>
                                        <p:tav tm="0">
                                          <p:val>
                                            <p:strVal val="#ppt_x"/>
                                          </p:val>
                                        </p:tav>
                                        <p:tav tm="100000">
                                          <p:val>
                                            <p:strVal val="#ppt_x"/>
                                          </p:val>
                                        </p:tav>
                                      </p:tavLst>
                                    </p:anim>
                                    <p:anim calcmode="lin" valueType="num">
                                      <p:cBhvr additive="base">
                                        <p:cTn id="8" dur="7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00" fill="hold"/>
                                        <p:tgtEl>
                                          <p:spTgt spid="16"/>
                                        </p:tgtEl>
                                        <p:attrNameLst>
                                          <p:attrName>ppt_x</p:attrName>
                                        </p:attrNameLst>
                                      </p:cBhvr>
                                      <p:tavLst>
                                        <p:tav tm="0">
                                          <p:val>
                                            <p:strVal val="#ppt_x"/>
                                          </p:val>
                                        </p:tav>
                                        <p:tav tm="100000">
                                          <p:val>
                                            <p:strVal val="#ppt_x"/>
                                          </p:val>
                                        </p:tav>
                                      </p:tavLst>
                                    </p:anim>
                                    <p:anim calcmode="lin" valueType="num">
                                      <p:cBhvr additive="base">
                                        <p:cTn id="12" dur="700" fill="hold"/>
                                        <p:tgtEl>
                                          <p:spTgt spid="16"/>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7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tmplLst>
          <p:tmpl>
            <p:tnLst>
              <p:par>
                <p:cTn presetID="2" presetClass="entr" presetSubtype="4" decel="10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ppt_x"/>
                          </p:val>
                        </p:tav>
                        <p:tav tm="100000">
                          <p:val>
                            <p:strVal val="#ppt_x"/>
                          </p:val>
                        </p:tav>
                      </p:tavLst>
                    </p:anim>
                    <p:anim calcmode="lin" valueType="num">
                      <p:cBhvr additive="base">
                        <p:cTn dur="700" fill="hold"/>
                        <p:tgtEl>
                          <p:spTgt spid="10"/>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dia met foto boven (groen)">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9" name="Rechthoek met één afgeschuinde hoek 14 (PHJU)">
            <a:extLst>
              <a:ext uri="{FF2B5EF4-FFF2-40B4-BE49-F238E27FC236}">
                <a16:creationId xmlns:a16="http://schemas.microsoft.com/office/drawing/2014/main" id="{BA11EAD0-7E25-43EB-8513-2EC09D3442A2}"/>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0">
                <a:srgbClr val="C0CF46"/>
              </a:gs>
              <a:gs pos="100000">
                <a:srgbClr val="99A638">
                  <a:alpha val="64706"/>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207721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ppt_x"/>
                                          </p:val>
                                        </p:tav>
                                        <p:tav tm="100000">
                                          <p:val>
                                            <p:strVal val="#ppt_x"/>
                                          </p:val>
                                        </p:tav>
                                      </p:tavLst>
                                    </p:anim>
                                    <p:anim calcmode="lin" valueType="num">
                                      <p:cBhvr additive="base">
                                        <p:cTn id="8" dur="7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700" fill="hold"/>
                                        <p:tgtEl>
                                          <p:spTgt spid="24"/>
                                        </p:tgtEl>
                                        <p:attrNameLst>
                                          <p:attrName>ppt_x</p:attrName>
                                        </p:attrNameLst>
                                      </p:cBhvr>
                                      <p:tavLst>
                                        <p:tav tm="0">
                                          <p:val>
                                            <p:strVal val="#ppt_x"/>
                                          </p:val>
                                        </p:tav>
                                        <p:tav tm="100000">
                                          <p:val>
                                            <p:strVal val="#ppt_x"/>
                                          </p:val>
                                        </p:tav>
                                      </p:tavLst>
                                    </p:anim>
                                    <p:anim calcmode="lin" valueType="num">
                                      <p:cBhvr additive="base">
                                        <p:cTn id="12" dur="700" fill="hold"/>
                                        <p:tgtEl>
                                          <p:spTgt spid="24"/>
                                        </p:tgtEl>
                                        <p:attrNameLst>
                                          <p:attrName>ppt_y</p:attrName>
                                        </p:attrNameLst>
                                      </p:cBhvr>
                                      <p:tavLst>
                                        <p:tav tm="0">
                                          <p:val>
                                            <p:strVal val="0-#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9" grpId="0" animBg="1">
        <p:tmplLst>
          <p:tmpl>
            <p:tnLst>
              <p:par>
                <p:cTn presetID="2" presetClass="entr" presetSubtype="4"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00" fill="hold"/>
                        <p:tgtEl>
                          <p:spTgt spid="9"/>
                        </p:tgtEl>
                        <p:attrNameLst>
                          <p:attrName>ppt_x</p:attrName>
                        </p:attrNameLst>
                      </p:cBhvr>
                      <p:tavLst>
                        <p:tav tm="0">
                          <p:val>
                            <p:strVal val="#ppt_x"/>
                          </p:val>
                        </p:tav>
                        <p:tav tm="100000">
                          <p:val>
                            <p:strVal val="#ppt_x"/>
                          </p:val>
                        </p:tav>
                      </p:tavLst>
                    </p:anim>
                    <p:anim calcmode="lin" valueType="num">
                      <p:cBhvr additive="base">
                        <p:cTn dur="700" fill="hold"/>
                        <p:tgtEl>
                          <p:spTgt spid="9"/>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dia met foto boven (rood)">
    <p:spTree>
      <p:nvGrpSpPr>
        <p:cNvPr id="1" name=""/>
        <p:cNvGrpSpPr/>
        <p:nvPr/>
      </p:nvGrpSpPr>
      <p:grpSpPr>
        <a:xfrm>
          <a:off x="0" y="0"/>
          <a:ext cx="0" cy="0"/>
          <a:chOff x="0" y="0"/>
          <a:chExt cx="0" cy="0"/>
        </a:xfrm>
      </p:grpSpPr>
      <p:sp>
        <p:nvSpPr>
          <p:cNvPr id="11"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9" name="Rechthoek met één afgeschuinde hoek 14 (PHJU) (PHJU)">
            <a:extLst>
              <a:ext uri="{FF2B5EF4-FFF2-40B4-BE49-F238E27FC236}">
                <a16:creationId xmlns:a16="http://schemas.microsoft.com/office/drawing/2014/main" id="{139C14F8-95B3-49FA-9B39-D999B3A2BB0A}"/>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25000">
                <a:srgbClr val="EC1E30"/>
              </a:gs>
              <a:gs pos="97000">
                <a:srgbClr val="C73736">
                  <a:alpha val="69804"/>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108714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ppt_x"/>
                                          </p:val>
                                        </p:tav>
                                        <p:tav tm="100000">
                                          <p:val>
                                            <p:strVal val="#ppt_x"/>
                                          </p:val>
                                        </p:tav>
                                      </p:tavLst>
                                    </p:anim>
                                    <p:anim calcmode="lin" valueType="num">
                                      <p:cBhvr additive="base">
                                        <p:cTn id="8" dur="700" fill="hold"/>
                                        <p:tgtEl>
                                          <p:spTgt spid="9"/>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4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00"/>
                                        <p:tgtEl>
                                          <p:spTgt spid="10"/>
                                        </p:tgtEl>
                                      </p:cBhvr>
                                    </p:animEffect>
                                  </p:childTnLst>
                                </p:cTn>
                              </p:par>
                              <p:par>
                                <p:cTn id="12" presetID="2" presetClass="entr" presetSubtype="1" decel="10000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additive="base">
                                        <p:cTn id="14" dur="700" fill="hold"/>
                                        <p:tgtEl>
                                          <p:spTgt spid="11"/>
                                        </p:tgtEl>
                                        <p:attrNameLst>
                                          <p:attrName>ppt_x</p:attrName>
                                        </p:attrNameLst>
                                      </p:cBhvr>
                                      <p:tavLst>
                                        <p:tav tm="0">
                                          <p:val>
                                            <p:strVal val="#ppt_x"/>
                                          </p:val>
                                        </p:tav>
                                        <p:tav tm="100000">
                                          <p:val>
                                            <p:strVal val="#ppt_x"/>
                                          </p:val>
                                        </p:tav>
                                      </p:tavLst>
                                    </p:anim>
                                    <p:anim calcmode="lin" valueType="num">
                                      <p:cBhvr additive="base">
                                        <p:cTn id="15" dur="7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tmplLst>
          <p:tmpl>
            <p:tnLst>
              <p:par>
                <p:cTn presetID="2" presetClass="entr" presetSubtype="4"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00" fill="hold"/>
                        <p:tgtEl>
                          <p:spTgt spid="9"/>
                        </p:tgtEl>
                        <p:attrNameLst>
                          <p:attrName>ppt_x</p:attrName>
                        </p:attrNameLst>
                      </p:cBhvr>
                      <p:tavLst>
                        <p:tav tm="0">
                          <p:val>
                            <p:strVal val="#ppt_x"/>
                          </p:val>
                        </p:tav>
                        <p:tav tm="100000">
                          <p:val>
                            <p:strVal val="#ppt_x"/>
                          </p:val>
                        </p:tav>
                      </p:tavLst>
                    </p:anim>
                    <p:anim calcmode="lin" valueType="num">
                      <p:cBhvr additive="base">
                        <p:cTn dur="700" fill="hold"/>
                        <p:tgtEl>
                          <p:spTgt spid="9"/>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dia met foto boven (paars)">
    <p:spTree>
      <p:nvGrpSpPr>
        <p:cNvPr id="1" name=""/>
        <p:cNvGrpSpPr/>
        <p:nvPr/>
      </p:nvGrpSpPr>
      <p:grpSpPr>
        <a:xfrm>
          <a:off x="0" y="0"/>
          <a:ext cx="0" cy="0"/>
          <a:chOff x="0" y="0"/>
          <a:chExt cx="0" cy="0"/>
        </a:xfrm>
      </p:grpSpPr>
      <p:sp>
        <p:nvSpPr>
          <p:cNvPr id="11"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9" name="Rechthoek met één afgeschuinde hoek 14 (PHJU)">
            <a:extLst>
              <a:ext uri="{FF2B5EF4-FFF2-40B4-BE49-F238E27FC236}">
                <a16:creationId xmlns:a16="http://schemas.microsoft.com/office/drawing/2014/main" id="{C40EEC2C-BA1C-4482-92D6-A853EF5D3BDB}"/>
              </a:ext>
            </a:extLst>
          </p:cNvPr>
          <p:cNvSpPr>
            <a:spLocks noGrp="1"/>
          </p:cNvSpPr>
          <p:nvPr>
            <p:ph type="body" idx="1000" hasCustomPrompt="1"/>
            <p:custDataLst>
              <p:custData r:id="rId1"/>
            </p:custDataLst>
          </p:nvPr>
        </p:nvSpPr>
        <p:spPr>
          <a:xfrm rot="5400000" flipH="1" flipV="1">
            <a:off x="4374276" y="-2094759"/>
            <a:ext cx="3443447" cy="12192001"/>
          </a:xfrm>
          <a:prstGeom prst="snip1Rect">
            <a:avLst>
              <a:gd name="adj" fmla="val 33852"/>
            </a:avLst>
          </a:prstGeom>
          <a:gradFill>
            <a:gsLst>
              <a:gs pos="0">
                <a:srgbClr val="AB7AA6"/>
              </a:gs>
              <a:gs pos="99000">
                <a:srgbClr val="8B536B">
                  <a:alpha val="74902"/>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32437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ppt_x"/>
                                          </p:val>
                                        </p:tav>
                                        <p:tav tm="100000">
                                          <p:val>
                                            <p:strVal val="#ppt_x"/>
                                          </p:val>
                                        </p:tav>
                                      </p:tavLst>
                                    </p:anim>
                                    <p:anim calcmode="lin" valueType="num">
                                      <p:cBhvr additive="base">
                                        <p:cTn id="8" dur="700" fill="hold"/>
                                        <p:tgtEl>
                                          <p:spTgt spid="9"/>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4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00"/>
                                        <p:tgtEl>
                                          <p:spTgt spid="10"/>
                                        </p:tgtEl>
                                      </p:cBhvr>
                                    </p:animEffect>
                                  </p:childTnLst>
                                </p:cTn>
                              </p:par>
                              <p:par>
                                <p:cTn id="12" presetID="2" presetClass="entr" presetSubtype="1" decel="10000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additive="base">
                                        <p:cTn id="14" dur="700" fill="hold"/>
                                        <p:tgtEl>
                                          <p:spTgt spid="11"/>
                                        </p:tgtEl>
                                        <p:attrNameLst>
                                          <p:attrName>ppt_x</p:attrName>
                                        </p:attrNameLst>
                                      </p:cBhvr>
                                      <p:tavLst>
                                        <p:tav tm="0">
                                          <p:val>
                                            <p:strVal val="#ppt_x"/>
                                          </p:val>
                                        </p:tav>
                                        <p:tav tm="100000">
                                          <p:val>
                                            <p:strVal val="#ppt_x"/>
                                          </p:val>
                                        </p:tav>
                                      </p:tavLst>
                                    </p:anim>
                                    <p:anim calcmode="lin" valueType="num">
                                      <p:cBhvr additive="base">
                                        <p:cTn id="15" dur="7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tmplLst>
          <p:tmpl>
            <p:tnLst>
              <p:par>
                <p:cTn presetID="2" presetClass="entr" presetSubtype="4"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00" fill="hold"/>
                        <p:tgtEl>
                          <p:spTgt spid="9"/>
                        </p:tgtEl>
                        <p:attrNameLst>
                          <p:attrName>ppt_x</p:attrName>
                        </p:attrNameLst>
                      </p:cBhvr>
                      <p:tavLst>
                        <p:tav tm="0">
                          <p:val>
                            <p:strVal val="#ppt_x"/>
                          </p:val>
                        </p:tav>
                        <p:tav tm="100000">
                          <p:val>
                            <p:strVal val="#ppt_x"/>
                          </p:val>
                        </p:tav>
                      </p:tavLst>
                    </p:anim>
                    <p:anim calcmode="lin" valueType="num">
                      <p:cBhvr additive="base">
                        <p:cTn dur="700" fill="hold"/>
                        <p:tgtEl>
                          <p:spTgt spid="9"/>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dia met foto boven (oranje)">
    <p:spTree>
      <p:nvGrpSpPr>
        <p:cNvPr id="1" name=""/>
        <p:cNvGrpSpPr/>
        <p:nvPr/>
      </p:nvGrpSpPr>
      <p:grpSpPr>
        <a:xfrm>
          <a:off x="0" y="0"/>
          <a:ext cx="0" cy="0"/>
          <a:chOff x="0" y="0"/>
          <a:chExt cx="0" cy="0"/>
        </a:xfrm>
      </p:grpSpPr>
      <p:sp>
        <p:nvSpPr>
          <p:cNvPr id="12"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9" name="Rechthoek met één afgeschuinde hoek 14 (PHJU)">
            <a:extLst>
              <a:ext uri="{FF2B5EF4-FFF2-40B4-BE49-F238E27FC236}">
                <a16:creationId xmlns:a16="http://schemas.microsoft.com/office/drawing/2014/main" id="{3E7C96BD-76FD-4663-A0E0-BAAEE90F4A86}"/>
              </a:ext>
            </a:extLst>
          </p:cNvPr>
          <p:cNvSpPr>
            <a:spLocks noGrp="1"/>
          </p:cNvSpPr>
          <p:nvPr>
            <p:ph type="body" idx="1000" hasCustomPrompt="1"/>
            <p:custDataLst>
              <p:custData r:id="rId1"/>
            </p:custDataLst>
          </p:nvPr>
        </p:nvSpPr>
        <p:spPr>
          <a:xfrm rot="5400000" flipH="1" flipV="1">
            <a:off x="4374276" y="-2094757"/>
            <a:ext cx="3443447" cy="12191999"/>
          </a:xfrm>
          <a:prstGeom prst="snip1Rect">
            <a:avLst>
              <a:gd name="adj" fmla="val 33852"/>
            </a:avLst>
          </a:prstGeom>
          <a:gradFill>
            <a:gsLst>
              <a:gs pos="100000">
                <a:srgbClr val="C06019">
                  <a:alpha val="69804"/>
                </a:srgbClr>
              </a:gs>
              <a:gs pos="0">
                <a:srgbClr val="EB9801"/>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
        <p:nvSpPr>
          <p:cNvPr id="10" name="witdriehoek">
            <a:extLst>
              <a:ext uri="{FF2B5EF4-FFF2-40B4-BE49-F238E27FC236}">
                <a16:creationId xmlns:a16="http://schemas.microsoft.com/office/drawing/2014/main" id="{258E5B10-4493-46B1-B50A-1C8CA7958AD0}"/>
              </a:ext>
            </a:extLst>
          </p:cNvPr>
          <p:cNvSpPr>
            <a:spLocks noChangeAspect="1"/>
          </p:cNvSpPr>
          <p:nvPr userDrawn="1"/>
        </p:nvSpPr>
        <p:spPr bwMode="auto">
          <a:xfrm>
            <a:off x="0" y="2286001"/>
            <a:ext cx="583048" cy="1166400"/>
          </a:xfrm>
          <a:custGeom>
            <a:avLst/>
            <a:gdLst>
              <a:gd name="T0" fmla="*/ 360 w 360"/>
              <a:gd name="T1" fmla="*/ 360 h 720"/>
              <a:gd name="T2" fmla="*/ 0 w 360"/>
              <a:gd name="T3" fmla="*/ 720 h 720"/>
              <a:gd name="T4" fmla="*/ 0 w 360"/>
              <a:gd name="T5" fmla="*/ 0 h 720"/>
              <a:gd name="T6" fmla="*/ 360 w 360"/>
              <a:gd name="T7" fmla="*/ 360 h 720"/>
            </a:gdLst>
            <a:ahLst/>
            <a:cxnLst>
              <a:cxn ang="0">
                <a:pos x="T0" y="T1"/>
              </a:cxn>
              <a:cxn ang="0">
                <a:pos x="T2" y="T3"/>
              </a:cxn>
              <a:cxn ang="0">
                <a:pos x="T4" y="T5"/>
              </a:cxn>
              <a:cxn ang="0">
                <a:pos x="T6" y="T7"/>
              </a:cxn>
            </a:cxnLst>
            <a:rect l="0" t="0" r="r" b="b"/>
            <a:pathLst>
              <a:path w="360" h="720">
                <a:moveTo>
                  <a:pt x="360" y="360"/>
                </a:moveTo>
                <a:lnTo>
                  <a:pt x="0" y="720"/>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nl-NL" sz="1799"/>
          </a:p>
        </p:txBody>
      </p:sp>
      <p:pic>
        <p:nvPicPr>
          <p:cNvPr id="11" name="Afbeelding 10">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393955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ppt_x"/>
                                          </p:val>
                                        </p:tav>
                                        <p:tav tm="100000">
                                          <p:val>
                                            <p:strVal val="#ppt_x"/>
                                          </p:val>
                                        </p:tav>
                                      </p:tavLst>
                                    </p:anim>
                                    <p:anim calcmode="lin" valueType="num">
                                      <p:cBhvr additive="base">
                                        <p:cTn id="8" dur="700" fill="hold"/>
                                        <p:tgtEl>
                                          <p:spTgt spid="9"/>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4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700"/>
                                        <p:tgtEl>
                                          <p:spTgt spid="11"/>
                                        </p:tgtEl>
                                      </p:cBhvr>
                                    </p:animEffect>
                                  </p:childTnLst>
                                </p:cTn>
                              </p:par>
                              <p:par>
                                <p:cTn id="12" presetID="2" presetClass="entr" presetSubtype="1" decel="100000" fill="hold" grpId="0" nodeType="with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700" fill="hold"/>
                                        <p:tgtEl>
                                          <p:spTgt spid="12"/>
                                        </p:tgtEl>
                                        <p:attrNameLst>
                                          <p:attrName>ppt_x</p:attrName>
                                        </p:attrNameLst>
                                      </p:cBhvr>
                                      <p:tavLst>
                                        <p:tav tm="0">
                                          <p:val>
                                            <p:strVal val="#ppt_x"/>
                                          </p:val>
                                        </p:tav>
                                        <p:tav tm="100000">
                                          <p:val>
                                            <p:strVal val="#ppt_x"/>
                                          </p:val>
                                        </p:tav>
                                      </p:tavLst>
                                    </p:anim>
                                    <p:anim calcmode="lin" valueType="num">
                                      <p:cBhvr additive="base">
                                        <p:cTn id="15" dur="700" fill="hold"/>
                                        <p:tgtEl>
                                          <p:spTgt spid="1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tmplLst>
          <p:tmpl>
            <p:tnLst>
              <p:par>
                <p:cTn presetID="2" presetClass="entr" presetSubtype="4"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00" fill="hold"/>
                        <p:tgtEl>
                          <p:spTgt spid="9"/>
                        </p:tgtEl>
                        <p:attrNameLst>
                          <p:attrName>ppt_x</p:attrName>
                        </p:attrNameLst>
                      </p:cBhvr>
                      <p:tavLst>
                        <p:tav tm="0">
                          <p:val>
                            <p:strVal val="#ppt_x"/>
                          </p:val>
                        </p:tav>
                        <p:tav tm="100000">
                          <p:val>
                            <p:strVal val="#ppt_x"/>
                          </p:val>
                        </p:tav>
                      </p:tavLst>
                    </p:anim>
                    <p:anim calcmode="lin" valueType="num">
                      <p:cBhvr additive="base">
                        <p:cTn dur="700" fill="hold"/>
                        <p:tgtEl>
                          <p:spTgt spid="9"/>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dia met foto boven (blauw2)">
    <p:spTree>
      <p:nvGrpSpPr>
        <p:cNvPr id="1" name=""/>
        <p:cNvGrpSpPr/>
        <p:nvPr/>
      </p:nvGrpSpPr>
      <p:grpSpPr>
        <a:xfrm>
          <a:off x="0" y="0"/>
          <a:ext cx="0" cy="0"/>
          <a:chOff x="0" y="0"/>
          <a:chExt cx="0" cy="0"/>
        </a:xfrm>
      </p:grpSpPr>
      <p:sp>
        <p:nvSpPr>
          <p:cNvPr id="11" name="Tijdelijke aanduiding voor afbeelding 23">
            <a:extLst>
              <a:ext uri="{FF2B5EF4-FFF2-40B4-BE49-F238E27FC236}">
                <a16:creationId xmlns:a16="http://schemas.microsoft.com/office/drawing/2014/main" id="{759EF823-E6F4-4F45-92E2-5EE956987C35}"/>
              </a:ext>
            </a:extLst>
          </p:cNvPr>
          <p:cNvSpPr>
            <a:spLocks noGrp="1"/>
          </p:cNvSpPr>
          <p:nvPr>
            <p:ph type="pic" sz="quarter" idx="1001" hasCustomPrompt="1"/>
          </p:nvPr>
        </p:nvSpPr>
        <p:spPr>
          <a:xfrm>
            <a:off x="0" y="3"/>
            <a:ext cx="12195172" cy="3434041"/>
          </a:xfrm>
          <a:custGeom>
            <a:avLst/>
            <a:gdLst>
              <a:gd name="connsiteX0" fmla="*/ 0 w 12195172"/>
              <a:gd name="connsiteY0" fmla="*/ 0 h 3434041"/>
              <a:gd name="connsiteX1" fmla="*/ 12195172 w 12195172"/>
              <a:gd name="connsiteY1" fmla="*/ 0 h 3434041"/>
              <a:gd name="connsiteX2" fmla="*/ 12195172 w 12195172"/>
              <a:gd name="connsiteY2" fmla="*/ 3434041 h 3434041"/>
              <a:gd name="connsiteX3" fmla="*/ 1165675 w 12195172"/>
              <a:gd name="connsiteY3" fmla="*/ 3434041 h 3434041"/>
              <a:gd name="connsiteX4" fmla="*/ 0 w 12195172"/>
              <a:gd name="connsiteY4" fmla="*/ 2268366 h 3434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2" h="3434041">
                <a:moveTo>
                  <a:pt x="0" y="0"/>
                </a:moveTo>
                <a:lnTo>
                  <a:pt x="12195172" y="0"/>
                </a:lnTo>
                <a:lnTo>
                  <a:pt x="12195172" y="3434041"/>
                </a:lnTo>
                <a:lnTo>
                  <a:pt x="1165675" y="3434041"/>
                </a:lnTo>
                <a:lnTo>
                  <a:pt x="0" y="2268366"/>
                </a:lnTo>
                <a:close/>
              </a:path>
            </a:pathLst>
          </a:custGeom>
          <a:solidFill>
            <a:srgbClr val="000000">
              <a:alpha val="10196"/>
            </a:srgbClr>
          </a:solidFill>
        </p:spPr>
        <p:txBody>
          <a:bodyPr wrap="square">
            <a:noAutofit/>
          </a:bodyPr>
          <a:lstStyle>
            <a:lvl1pPr marL="0" indent="0">
              <a:buFontTx/>
              <a:buNone/>
              <a:defRPr/>
            </a:lvl1pPr>
          </a:lstStyle>
          <a:p>
            <a:r>
              <a:rPr lang="nl-NL"/>
              <a:t>[Klik op het pictogram om een afbeelding in te voegen]</a:t>
            </a:r>
            <a:endParaRPr lang="aa-ET"/>
          </a:p>
        </p:txBody>
      </p:sp>
      <p:sp>
        <p:nvSpPr>
          <p:cNvPr id="9" name="Rechthoek met één afgeschuinde hoek 14 (PHJU)">
            <a:extLst>
              <a:ext uri="{FF2B5EF4-FFF2-40B4-BE49-F238E27FC236}">
                <a16:creationId xmlns:a16="http://schemas.microsoft.com/office/drawing/2014/main" id="{A21D2D72-5CB9-456F-9CFF-0FE081A6E1A7}"/>
              </a:ext>
            </a:extLst>
          </p:cNvPr>
          <p:cNvSpPr>
            <a:spLocks noGrp="1"/>
          </p:cNvSpPr>
          <p:nvPr>
            <p:ph type="body" idx="1000" hasCustomPrompt="1"/>
            <p:custDataLst>
              <p:custData r:id="rId1"/>
            </p:custDataLst>
          </p:nvPr>
        </p:nvSpPr>
        <p:spPr>
          <a:xfrm rot="5400000" flipH="1" flipV="1">
            <a:off x="4374276" y="-2094759"/>
            <a:ext cx="3443447" cy="12192001"/>
          </a:xfrm>
          <a:prstGeom prst="snip1Rect">
            <a:avLst>
              <a:gd name="adj" fmla="val 33852"/>
            </a:avLst>
          </a:prstGeom>
          <a:gradFill>
            <a:gsLst>
              <a:gs pos="100000">
                <a:srgbClr val="254677">
                  <a:alpha val="69804"/>
                </a:srgbClr>
              </a:gs>
              <a:gs pos="0">
                <a:srgbClr val="396EB4"/>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3758400"/>
            <a:ext cx="10401291" cy="1468800"/>
          </a:xfrm>
        </p:spPr>
        <p:txBody>
          <a:bodyPr anchor="ctr" anchorCtr="0"/>
          <a:lstStyle>
            <a:lvl1pPr algn="l">
              <a:defRPr sz="4399"/>
            </a:lvl1pPr>
          </a:lstStyle>
          <a:p>
            <a:r>
              <a:rPr lang="nl-NL"/>
              <a:t>[Titel, max. 2 regels]</a:t>
            </a:r>
          </a:p>
        </p:txBody>
      </p:sp>
      <p:sp>
        <p:nvSpPr>
          <p:cNvPr id="3" name="Ondertitel 2"/>
          <p:cNvSpPr>
            <a:spLocks noGrp="1"/>
          </p:cNvSpPr>
          <p:nvPr>
            <p:ph type="subTitle" idx="1" hasCustomPrompt="1"/>
          </p:nvPr>
        </p:nvSpPr>
        <p:spPr>
          <a:xfrm>
            <a:off x="1130106" y="2275200"/>
            <a:ext cx="10401291" cy="1153800"/>
          </a:xfrm>
        </p:spPr>
        <p:txBody>
          <a:bodyPr anchor="ctr" anchorCtr="0"/>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presentator en/of datum]</a:t>
            </a:r>
          </a:p>
        </p:txBody>
      </p:sp>
      <p:sp>
        <p:nvSpPr>
          <p:cNvPr id="17"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8"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44987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ppt_x"/>
                                          </p:val>
                                        </p:tav>
                                        <p:tav tm="100000">
                                          <p:val>
                                            <p:strVal val="#ppt_x"/>
                                          </p:val>
                                        </p:tav>
                                      </p:tavLst>
                                    </p:anim>
                                    <p:anim calcmode="lin" valueType="num">
                                      <p:cBhvr additive="base">
                                        <p:cTn id="8" dur="700" fill="hold"/>
                                        <p:tgtEl>
                                          <p:spTgt spid="9"/>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4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00"/>
                                        <p:tgtEl>
                                          <p:spTgt spid="10"/>
                                        </p:tgtEl>
                                      </p:cBhvr>
                                    </p:animEffect>
                                  </p:childTnLst>
                                </p:cTn>
                              </p:par>
                              <p:par>
                                <p:cTn id="12" presetID="2" presetClass="entr" presetSubtype="1" decel="10000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additive="base">
                                        <p:cTn id="14" dur="700" fill="hold"/>
                                        <p:tgtEl>
                                          <p:spTgt spid="11"/>
                                        </p:tgtEl>
                                        <p:attrNameLst>
                                          <p:attrName>ppt_x</p:attrName>
                                        </p:attrNameLst>
                                      </p:cBhvr>
                                      <p:tavLst>
                                        <p:tav tm="0">
                                          <p:val>
                                            <p:strVal val="#ppt_x"/>
                                          </p:val>
                                        </p:tav>
                                        <p:tav tm="100000">
                                          <p:val>
                                            <p:strVal val="#ppt_x"/>
                                          </p:val>
                                        </p:tav>
                                      </p:tavLst>
                                    </p:anim>
                                    <p:anim calcmode="lin" valueType="num">
                                      <p:cBhvr additive="base">
                                        <p:cTn id="15" dur="7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9" grpId="0" animBg="1">
        <p:tmplLst>
          <p:tmpl>
            <p:tnLst>
              <p:par>
                <p:cTn presetID="2" presetClass="entr" presetSubtype="4"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00" fill="hold"/>
                        <p:tgtEl>
                          <p:spTgt spid="9"/>
                        </p:tgtEl>
                        <p:attrNameLst>
                          <p:attrName>ppt_x</p:attrName>
                        </p:attrNameLst>
                      </p:cBhvr>
                      <p:tavLst>
                        <p:tav tm="0">
                          <p:val>
                            <p:strVal val="#ppt_x"/>
                          </p:val>
                        </p:tav>
                        <p:tav tm="100000">
                          <p:val>
                            <p:strVal val="#ppt_x"/>
                          </p:val>
                        </p:tav>
                      </p:tavLst>
                    </p:anim>
                    <p:anim calcmode="lin" valueType="num">
                      <p:cBhvr additive="base">
                        <p:cTn dur="700" fill="hold"/>
                        <p:tgtEl>
                          <p:spTgt spid="9"/>
                        </p:tgtEl>
                        <p:attrNameLst>
                          <p:attrName>ppt_y</p:attrName>
                        </p:attrNameLst>
                      </p:cBhvr>
                      <p:tavLst>
                        <p:tav tm="0">
                          <p:val>
                            <p:strVal val="1+#ppt_h/2"/>
                          </p:val>
                        </p:tav>
                        <p:tav tm="100000">
                          <p:val>
                            <p:strVal val="#ppt_y"/>
                          </p:val>
                        </p:tav>
                      </p:tavLst>
                    </p:anim>
                  </p:childTnLst>
                </p:cTn>
              </p:par>
            </p:tnLst>
          </p:tmpl>
        </p:tmplLst>
      </p:bldP>
    </p:bldLst>
  </p:timing>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9E04E5-7015-0AF3-6E57-2C17803851C3}"/>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8C6A0711-ACE0-F811-23BD-B134748B266A}"/>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6E2D91F-5BD4-D6F6-8BDA-0BCBAE4E062B}"/>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38BAB83B-7036-68C4-9642-D207A663B51A}"/>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824C4791-A8D2-C61D-903D-89491A1185F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7A2FEC0-90BB-1646-4245-AAD85240A26C}"/>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41383760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dia met foto onder (groen)">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0">
                <a:srgbClr val="C0CF46"/>
              </a:gs>
              <a:gs pos="100000">
                <a:srgbClr val="99A638">
                  <a:alpha val="64706"/>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5200"/>
            <a:ext cx="10401291" cy="115380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309503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dia met foto onder (rood)">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25000">
                <a:srgbClr val="EC1E30"/>
              </a:gs>
              <a:gs pos="97000">
                <a:srgbClr val="C73736">
                  <a:alpha val="69804"/>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5200"/>
            <a:ext cx="10401291" cy="115380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84676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dia met foto onder (paars)">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0">
                <a:srgbClr val="AB7AA6"/>
              </a:gs>
              <a:gs pos="99000">
                <a:srgbClr val="8B536B">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5200"/>
            <a:ext cx="10401291" cy="115380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28297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dia met foto onder (oranje)">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0">
                <a:srgbClr val="EB9801"/>
              </a:gs>
              <a:gs pos="100000">
                <a:srgbClr val="C06019">
                  <a:alpha val="70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5200"/>
            <a:ext cx="10401291" cy="115380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124986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dia met foto onder (blauw2)">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EC84CD6-687B-417B-A80F-2B8E9A6295DE}"/>
              </a:ext>
            </a:extLst>
          </p:cNvPr>
          <p:cNvSpPr>
            <a:spLocks noGrp="1"/>
          </p:cNvSpPr>
          <p:nvPr>
            <p:ph type="pic" sz="quarter" idx="1001" hasCustomPrompt="1"/>
          </p:nvPr>
        </p:nvSpPr>
        <p:spPr>
          <a:xfrm>
            <a:off x="3" y="2279521"/>
            <a:ext cx="12195171" cy="3443447"/>
          </a:xfrm>
          <a:custGeom>
            <a:avLst/>
            <a:gdLst>
              <a:gd name="connsiteX0" fmla="*/ 1165676 w 12195171"/>
              <a:gd name="connsiteY0" fmla="*/ 0 h 3443447"/>
              <a:gd name="connsiteX1" fmla="*/ 12195171 w 12195171"/>
              <a:gd name="connsiteY1" fmla="*/ 0 h 3443447"/>
              <a:gd name="connsiteX2" fmla="*/ 12195171 w 12195171"/>
              <a:gd name="connsiteY2" fmla="*/ 3443447 h 3443447"/>
              <a:gd name="connsiteX3" fmla="*/ 0 w 12195171"/>
              <a:gd name="connsiteY3" fmla="*/ 3443447 h 3443447"/>
              <a:gd name="connsiteX4" fmla="*/ 0 w 12195171"/>
              <a:gd name="connsiteY4" fmla="*/ 1165676 h 344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171" h="3443447">
                <a:moveTo>
                  <a:pt x="1165676" y="0"/>
                </a:moveTo>
                <a:lnTo>
                  <a:pt x="12195171" y="0"/>
                </a:lnTo>
                <a:lnTo>
                  <a:pt x="12195171" y="3443447"/>
                </a:lnTo>
                <a:lnTo>
                  <a:pt x="0" y="3443447"/>
                </a:lnTo>
                <a:lnTo>
                  <a:pt x="0" y="1165676"/>
                </a:lnTo>
                <a:close/>
              </a:path>
            </a:pathLst>
          </a:custGeom>
          <a:solidFill>
            <a:srgbClr val="000000">
              <a:alpha val="10196"/>
            </a:srgbClr>
          </a:solidFill>
        </p:spPr>
        <p:txBody>
          <a:bodyPr wrap="square" anchor="b">
            <a:noAutofit/>
          </a:bodyPr>
          <a:lstStyle>
            <a:lvl1pPr marL="0" indent="0">
              <a:buFontTx/>
              <a:buNone/>
              <a:defRPr/>
            </a:lvl1pPr>
          </a:lstStyle>
          <a:p>
            <a:r>
              <a:rPr lang="nl-NL"/>
              <a:t>[Klik op het pictogram om een afbeelding in te voegen]</a:t>
            </a:r>
            <a:endParaRPr lang="aa-ET"/>
          </a:p>
        </p:txBody>
      </p:sp>
      <p:sp>
        <p:nvSpPr>
          <p:cNvPr id="14" name="Rechthoek met één afgeschuinde hoek 13 (PHJU)">
            <a:extLst>
              <a:ext uri="{FF2B5EF4-FFF2-40B4-BE49-F238E27FC236}">
                <a16:creationId xmlns:a16="http://schemas.microsoft.com/office/drawing/2014/main" id="{3FBDCB29-A84F-412A-A2A7-F24339FA90F2}"/>
              </a:ext>
            </a:extLst>
          </p:cNvPr>
          <p:cNvSpPr>
            <a:spLocks noGrp="1"/>
          </p:cNvSpPr>
          <p:nvPr>
            <p:ph type="body" idx="1000" hasCustomPrompt="1"/>
            <p:custDataLst>
              <p:custData r:id="rId1"/>
            </p:custDataLst>
          </p:nvPr>
        </p:nvSpPr>
        <p:spPr>
          <a:xfrm rot="16200000" flipH="1">
            <a:off x="4375864" y="-4385269"/>
            <a:ext cx="3443447" cy="12195174"/>
          </a:xfrm>
          <a:prstGeom prst="snip1Rect">
            <a:avLst>
              <a:gd name="adj" fmla="val 33852"/>
            </a:avLst>
          </a:prstGeom>
          <a:gradFill>
            <a:gsLst>
              <a:gs pos="0">
                <a:srgbClr val="396EB4"/>
              </a:gs>
              <a:gs pos="100000">
                <a:srgbClr val="254677">
                  <a:alpha val="69804"/>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2" name="Titel 1"/>
          <p:cNvSpPr>
            <a:spLocks noGrp="1"/>
          </p:cNvSpPr>
          <p:nvPr>
            <p:ph type="ctrTitle" hasCustomPrompt="1"/>
          </p:nvPr>
        </p:nvSpPr>
        <p:spPr>
          <a:xfrm>
            <a:off x="1130106" y="414000"/>
            <a:ext cx="10401291" cy="1468800"/>
          </a:xfrm>
        </p:spPr>
        <p:txBody>
          <a:bodyPr anchor="ctr" anchorCtr="0"/>
          <a:lstStyle>
            <a:lvl1pPr algn="l">
              <a:defRPr sz="3599"/>
            </a:lvl1pPr>
          </a:lstStyle>
          <a:p>
            <a:r>
              <a:rPr lang="nl-NL"/>
              <a:t>[Titel]</a:t>
            </a:r>
          </a:p>
        </p:txBody>
      </p:sp>
      <p:sp>
        <p:nvSpPr>
          <p:cNvPr id="3" name="Ondertitel 2"/>
          <p:cNvSpPr>
            <a:spLocks noGrp="1"/>
          </p:cNvSpPr>
          <p:nvPr>
            <p:ph type="subTitle" idx="1" hasCustomPrompt="1"/>
          </p:nvPr>
        </p:nvSpPr>
        <p:spPr>
          <a:xfrm>
            <a:off x="1130106" y="2275200"/>
            <a:ext cx="10401291" cy="1153800"/>
          </a:xfrm>
        </p:spPr>
        <p:txBody>
          <a:bodyPr anchor="ctr"/>
          <a:lstStyle>
            <a:lvl1pPr marL="0" indent="0" algn="l">
              <a:lnSpc>
                <a:spcPts val="2499"/>
              </a:lnSpc>
              <a:buNone/>
              <a:defRPr sz="1799" b="1" cap="all"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Subtitel]</a:t>
            </a:r>
          </a:p>
        </p:txBody>
      </p:sp>
      <p:sp>
        <p:nvSpPr>
          <p:cNvPr id="18" name="Instructie algemeen"/>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19" name="Tijdelijke aanduiding voor afbeelding 9"/>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pic>
        <p:nvPicPr>
          <p:cNvPr id="10" name="Afbeelding 9">
            <a:extLst>
              <a:ext uri="{FF2B5EF4-FFF2-40B4-BE49-F238E27FC236}">
                <a16:creationId xmlns:a16="http://schemas.microsoft.com/office/drawing/2014/main" id="{2B0C2FEE-4A8D-4252-9CA0-CB79823400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0120" y="5977083"/>
            <a:ext cx="2389320" cy="525179"/>
          </a:xfrm>
          <a:prstGeom prst="rect">
            <a:avLst/>
          </a:prstGeom>
        </p:spPr>
      </p:pic>
    </p:spTree>
    <p:extLst>
      <p:ext uri="{BB962C8B-B14F-4D97-AF65-F5344CB8AC3E}">
        <p14:creationId xmlns:p14="http://schemas.microsoft.com/office/powerpoint/2010/main" val="403527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ppt_x"/>
                                          </p:val>
                                        </p:tav>
                                        <p:tav tm="100000">
                                          <p:val>
                                            <p:strVal val="#ppt_x"/>
                                          </p:val>
                                        </p:tav>
                                      </p:tavLst>
                                    </p:anim>
                                    <p:anim calcmode="lin" valueType="num">
                                      <p:cBhvr additive="base">
                                        <p:cTn id="8" dur="7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00" fill="hold"/>
                                        <p:tgtEl>
                                          <p:spTgt spid="15"/>
                                        </p:tgtEl>
                                        <p:attrNameLst>
                                          <p:attrName>ppt_x</p:attrName>
                                        </p:attrNameLst>
                                      </p:cBhvr>
                                      <p:tavLst>
                                        <p:tav tm="0">
                                          <p:val>
                                            <p:strVal val="#ppt_x"/>
                                          </p:val>
                                        </p:tav>
                                        <p:tav tm="100000">
                                          <p:val>
                                            <p:strVal val="#ppt_x"/>
                                          </p:val>
                                        </p:tav>
                                      </p:tavLst>
                                    </p:anim>
                                    <p:anim calcmode="lin" valueType="num">
                                      <p:cBhvr additive="base">
                                        <p:cTn id="12" dur="700" fill="hold"/>
                                        <p:tgtEl>
                                          <p:spTgt spid="15"/>
                                        </p:tgtEl>
                                        <p:attrNameLst>
                                          <p:attrName>ppt_y</p:attrName>
                                        </p:attrNameLst>
                                      </p:cBhvr>
                                      <p:tavLst>
                                        <p:tav tm="0">
                                          <p:val>
                                            <p:strVal val="1+#ppt_h/2"/>
                                          </p:val>
                                        </p:tav>
                                        <p:tav tm="100000">
                                          <p:val>
                                            <p:strVal val="#ppt_y"/>
                                          </p:val>
                                        </p:tav>
                                      </p:tavLst>
                                    </p:anim>
                                  </p:childTnLst>
                                </p:cTn>
                              </p:par>
                              <p:par>
                                <p:cTn id="13" presetID="10" presetClass="entr" presetSubtype="0" fill="hold" nodeType="withEffect">
                                  <p:stCondLst>
                                    <p:cond delay="4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tmplLst>
          <p:tmpl>
            <p:tnLst>
              <p:par>
                <p:cTn presetID="2" presetClass="entr" presetSubtype="1"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00" fill="hold"/>
                        <p:tgtEl>
                          <p:spTgt spid="14"/>
                        </p:tgtEl>
                        <p:attrNameLst>
                          <p:attrName>ppt_x</p:attrName>
                        </p:attrNameLst>
                      </p:cBhvr>
                      <p:tavLst>
                        <p:tav tm="0">
                          <p:val>
                            <p:strVal val="#ppt_x"/>
                          </p:val>
                        </p:tav>
                        <p:tav tm="100000">
                          <p:val>
                            <p:strVal val="#ppt_x"/>
                          </p:val>
                        </p:tav>
                      </p:tavLst>
                    </p:anim>
                    <p:anim calcmode="lin" valueType="num">
                      <p:cBhvr additive="base">
                        <p:cTn dur="700" fill="hold"/>
                        <p:tgtEl>
                          <p:spTgt spid="14"/>
                        </p:tgtEl>
                        <p:attrNameLst>
                          <p:attrName>ppt_y</p:attrName>
                        </p:attrNameLst>
                      </p:cBhvr>
                      <p:tavLst>
                        <p:tav tm="0">
                          <p:val>
                            <p:strVal val="0-#ppt_h/2"/>
                          </p:val>
                        </p:tav>
                        <p:tav tm="100000">
                          <p:val>
                            <p:strVal val="#ppt_y"/>
                          </p:val>
                        </p:tav>
                      </p:tavLst>
                    </p:anim>
                  </p:childTnLst>
                </p:cTn>
              </p:par>
            </p:tnLst>
          </p:tmpl>
        </p:tmplLst>
      </p:bldP>
    </p:bldLst>
  </p:timing>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lleen titel (groen)">
    <p:spTree>
      <p:nvGrpSpPr>
        <p:cNvPr id="1" name=""/>
        <p:cNvGrpSpPr/>
        <p:nvPr/>
      </p:nvGrpSpPr>
      <p:grpSpPr>
        <a:xfrm>
          <a:off x="0" y="0"/>
          <a:ext cx="0" cy="0"/>
          <a:chOff x="0" y="0"/>
          <a:chExt cx="0" cy="0"/>
        </a:xfrm>
      </p:grpSpPr>
      <p:grpSp>
        <p:nvGrpSpPr>
          <p:cNvPr id="10" name="Groep 9"/>
          <p:cNvGrpSpPr>
            <a:grpSpLocks/>
          </p:cNvGrpSpPr>
          <p:nvPr userDrawn="1"/>
        </p:nvGrpSpPr>
        <p:grpSpPr>
          <a:xfrm>
            <a:off x="0" y="-5151"/>
            <a:ext cx="12192000" cy="837801"/>
            <a:chOff x="0" y="-5151"/>
            <a:chExt cx="12195175" cy="837801"/>
          </a:xfrm>
        </p:grpSpPr>
        <p:sp>
          <p:nvSpPr>
            <p:cNvPr id="11" name="Vrije vorm 7">
              <a:extLst>
                <a:ext uri="{FF2B5EF4-FFF2-40B4-BE49-F238E27FC236}">
                  <a16:creationId xmlns:a16="http://schemas.microsoft.com/office/drawing/2014/main" id="{90CF1682-EBA5-4820-A4E3-E18D40ADAE5E}"/>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1">
              <a:extLst>
                <a:ext uri="{FF2B5EF4-FFF2-40B4-BE49-F238E27FC236}">
                  <a16:creationId xmlns:a16="http://schemas.microsoft.com/office/drawing/2014/main" id="{963A74B7-B8DD-4086-A835-18184E3D2F85}"/>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B4C831"/>
                </a:gs>
                <a:gs pos="100000">
                  <a:srgbClr val="99A638"/>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3" name="Vrije vorm 12">
              <a:extLst>
                <a:ext uri="{FF2B5EF4-FFF2-40B4-BE49-F238E27FC236}">
                  <a16:creationId xmlns:a16="http://schemas.microsoft.com/office/drawing/2014/main" id="{94D146B0-50EA-40BE-97BB-640665CCF1C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99A63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138526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lleen titel (rood)">
    <p:spTree>
      <p:nvGrpSpPr>
        <p:cNvPr id="1" name=""/>
        <p:cNvGrpSpPr/>
        <p:nvPr/>
      </p:nvGrpSpPr>
      <p:grpSpPr>
        <a:xfrm>
          <a:off x="0" y="0"/>
          <a:ext cx="0" cy="0"/>
          <a:chOff x="0" y="0"/>
          <a:chExt cx="0" cy="0"/>
        </a:xfrm>
      </p:grpSpPr>
      <p:grpSp>
        <p:nvGrpSpPr>
          <p:cNvPr id="10" name="Groep 9">
            <a:extLst>
              <a:ext uri="{FF2B5EF4-FFF2-40B4-BE49-F238E27FC236}">
                <a16:creationId xmlns:a16="http://schemas.microsoft.com/office/drawing/2014/main" id="{A0BF6480-6356-44EC-88AA-228A3A01A8A6}"/>
              </a:ext>
            </a:extLst>
          </p:cNvPr>
          <p:cNvGrpSpPr>
            <a:grpSpLocks/>
          </p:cNvGrpSpPr>
          <p:nvPr userDrawn="1"/>
        </p:nvGrpSpPr>
        <p:grpSpPr>
          <a:xfrm>
            <a:off x="0" y="-5151"/>
            <a:ext cx="12192000" cy="837801"/>
            <a:chOff x="0" y="-5151"/>
            <a:chExt cx="12195175" cy="837801"/>
          </a:xfrm>
        </p:grpSpPr>
        <p:sp>
          <p:nvSpPr>
            <p:cNvPr id="11" name="Vrije vorm 7">
              <a:extLst>
                <a:ext uri="{FF2B5EF4-FFF2-40B4-BE49-F238E27FC236}">
                  <a16:creationId xmlns:a16="http://schemas.microsoft.com/office/drawing/2014/main" id="{1F9CA4FA-EA59-4DBF-8D51-68B2E47A2CAD}"/>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0">
              <a:extLst>
                <a:ext uri="{FF2B5EF4-FFF2-40B4-BE49-F238E27FC236}">
                  <a16:creationId xmlns:a16="http://schemas.microsoft.com/office/drawing/2014/main" id="{5BDFE493-D7FB-4907-9500-EA6992540F02}"/>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EC1E2F"/>
                </a:gs>
                <a:gs pos="99000">
                  <a:srgbClr val="961E2F"/>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3" name="Vrije vorm 11">
              <a:extLst>
                <a:ext uri="{FF2B5EF4-FFF2-40B4-BE49-F238E27FC236}">
                  <a16:creationId xmlns:a16="http://schemas.microsoft.com/office/drawing/2014/main" id="{2CD7629F-CD59-406E-B7B2-C54D7FF87D49}"/>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961E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331708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lleen titel (paars)">
    <p:spTree>
      <p:nvGrpSpPr>
        <p:cNvPr id="1" name=""/>
        <p:cNvGrpSpPr/>
        <p:nvPr/>
      </p:nvGrpSpPr>
      <p:grpSpPr>
        <a:xfrm>
          <a:off x="0" y="0"/>
          <a:ext cx="0" cy="0"/>
          <a:chOff x="0" y="0"/>
          <a:chExt cx="0" cy="0"/>
        </a:xfrm>
      </p:grpSpPr>
      <p:grpSp>
        <p:nvGrpSpPr>
          <p:cNvPr id="10" name="Groep 9">
            <a:extLst>
              <a:ext uri="{FF2B5EF4-FFF2-40B4-BE49-F238E27FC236}">
                <a16:creationId xmlns:a16="http://schemas.microsoft.com/office/drawing/2014/main" id="{F0F2639C-2EC9-450A-A069-166690C43A3E}"/>
              </a:ext>
            </a:extLst>
          </p:cNvPr>
          <p:cNvGrpSpPr>
            <a:grpSpLocks/>
          </p:cNvGrpSpPr>
          <p:nvPr userDrawn="1"/>
        </p:nvGrpSpPr>
        <p:grpSpPr>
          <a:xfrm>
            <a:off x="0" y="-5151"/>
            <a:ext cx="12192000" cy="837801"/>
            <a:chOff x="0" y="-5151"/>
            <a:chExt cx="12195175" cy="837801"/>
          </a:xfrm>
        </p:grpSpPr>
        <p:sp>
          <p:nvSpPr>
            <p:cNvPr id="11" name="Vrije vorm 7">
              <a:extLst>
                <a:ext uri="{FF2B5EF4-FFF2-40B4-BE49-F238E27FC236}">
                  <a16:creationId xmlns:a16="http://schemas.microsoft.com/office/drawing/2014/main" id="{5B51B8C9-1B6C-4191-954E-D361A14290A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0">
              <a:extLst>
                <a:ext uri="{FF2B5EF4-FFF2-40B4-BE49-F238E27FC236}">
                  <a16:creationId xmlns:a16="http://schemas.microsoft.com/office/drawing/2014/main" id="{75DF1AD4-1972-4951-8F7C-DD190770F9FE}"/>
                </a:ext>
              </a:extLst>
            </p:cNvPr>
            <p:cNvSpPr>
              <a:spLocks/>
            </p:cNvSpPr>
            <p:nvPr/>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B473AC"/>
                </a:gs>
                <a:gs pos="100000">
                  <a:srgbClr val="8B536A"/>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3" name="Vrije vorm 11">
              <a:extLst>
                <a:ext uri="{FF2B5EF4-FFF2-40B4-BE49-F238E27FC236}">
                  <a16:creationId xmlns:a16="http://schemas.microsoft.com/office/drawing/2014/main" id="{77795376-C7DF-4FD3-A43F-F4B7192707B6}"/>
                </a:ext>
              </a:extLst>
            </p:cNvPr>
            <p:cNvSpPr>
              <a:spLocks/>
            </p:cNvSpPr>
            <p:nvPr/>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8B536A"/>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213072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lleen titel (oranje)">
    <p:spTree>
      <p:nvGrpSpPr>
        <p:cNvPr id="1" name=""/>
        <p:cNvGrpSpPr/>
        <p:nvPr/>
      </p:nvGrpSpPr>
      <p:grpSpPr>
        <a:xfrm>
          <a:off x="0" y="0"/>
          <a:ext cx="0" cy="0"/>
          <a:chOff x="0" y="0"/>
          <a:chExt cx="0" cy="0"/>
        </a:xfrm>
      </p:grpSpPr>
      <p:grpSp>
        <p:nvGrpSpPr>
          <p:cNvPr id="10" name="Groep 9">
            <a:extLst>
              <a:ext uri="{FF2B5EF4-FFF2-40B4-BE49-F238E27FC236}">
                <a16:creationId xmlns:a16="http://schemas.microsoft.com/office/drawing/2014/main" id="{E88513D3-ADA0-4A23-9B00-E756E7D9518F}"/>
              </a:ext>
            </a:extLst>
          </p:cNvPr>
          <p:cNvGrpSpPr>
            <a:grpSpLocks/>
          </p:cNvGrpSpPr>
          <p:nvPr userDrawn="1"/>
        </p:nvGrpSpPr>
        <p:grpSpPr>
          <a:xfrm>
            <a:off x="0" y="-5151"/>
            <a:ext cx="12192000" cy="837801"/>
            <a:chOff x="0" y="-5151"/>
            <a:chExt cx="12195175" cy="837801"/>
          </a:xfrm>
        </p:grpSpPr>
        <p:sp>
          <p:nvSpPr>
            <p:cNvPr id="11" name="Vrije vorm 7">
              <a:extLst>
                <a:ext uri="{FF2B5EF4-FFF2-40B4-BE49-F238E27FC236}">
                  <a16:creationId xmlns:a16="http://schemas.microsoft.com/office/drawing/2014/main" id="{58EC490B-35B9-4FF4-B7E2-10F66FF6A638}"/>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0">
              <a:extLst>
                <a:ext uri="{FF2B5EF4-FFF2-40B4-BE49-F238E27FC236}">
                  <a16:creationId xmlns:a16="http://schemas.microsoft.com/office/drawing/2014/main" id="{CA5C4B6B-E292-4CF1-BA60-03B412879F7A}"/>
                </a:ext>
              </a:extLst>
            </p:cNvPr>
            <p:cNvSpPr>
              <a:spLocks/>
            </p:cNvSpPr>
            <p:nvPr/>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EB9800"/>
                </a:gs>
                <a:gs pos="100000">
                  <a:srgbClr val="C0601A"/>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3" name="Vrije vorm 11">
              <a:extLst>
                <a:ext uri="{FF2B5EF4-FFF2-40B4-BE49-F238E27FC236}">
                  <a16:creationId xmlns:a16="http://schemas.microsoft.com/office/drawing/2014/main" id="{B1F40A8A-B001-4C8F-B582-6B4F063D7261}"/>
                </a:ext>
              </a:extLst>
            </p:cNvPr>
            <p:cNvSpPr>
              <a:spLocks/>
            </p:cNvSpPr>
            <p:nvPr/>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C0601A"/>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179206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lleen titel (blauw2)">
    <p:spTree>
      <p:nvGrpSpPr>
        <p:cNvPr id="1" name=""/>
        <p:cNvGrpSpPr/>
        <p:nvPr/>
      </p:nvGrpSpPr>
      <p:grpSpPr>
        <a:xfrm>
          <a:off x="0" y="0"/>
          <a:ext cx="0" cy="0"/>
          <a:chOff x="0" y="0"/>
          <a:chExt cx="0" cy="0"/>
        </a:xfrm>
      </p:grpSpPr>
      <p:grpSp>
        <p:nvGrpSpPr>
          <p:cNvPr id="10" name="Groep 9">
            <a:extLst>
              <a:ext uri="{FF2B5EF4-FFF2-40B4-BE49-F238E27FC236}">
                <a16:creationId xmlns:a16="http://schemas.microsoft.com/office/drawing/2014/main" id="{2323DD94-7BEF-47B2-9451-16659D1DE0DE}"/>
              </a:ext>
            </a:extLst>
          </p:cNvPr>
          <p:cNvGrpSpPr>
            <a:grpSpLocks/>
          </p:cNvGrpSpPr>
          <p:nvPr userDrawn="1"/>
        </p:nvGrpSpPr>
        <p:grpSpPr>
          <a:xfrm>
            <a:off x="0" y="-5151"/>
            <a:ext cx="12192000" cy="837801"/>
            <a:chOff x="0" y="-5151"/>
            <a:chExt cx="12195175" cy="837801"/>
          </a:xfrm>
        </p:grpSpPr>
        <p:sp>
          <p:nvSpPr>
            <p:cNvPr id="11" name="Vrije vorm 7">
              <a:extLst>
                <a:ext uri="{FF2B5EF4-FFF2-40B4-BE49-F238E27FC236}">
                  <a16:creationId xmlns:a16="http://schemas.microsoft.com/office/drawing/2014/main" id="{63038A5E-698C-49EA-942B-E01AB86A72D5}"/>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2" name="Vrije vorm 10">
              <a:extLst>
                <a:ext uri="{FF2B5EF4-FFF2-40B4-BE49-F238E27FC236}">
                  <a16:creationId xmlns:a16="http://schemas.microsoft.com/office/drawing/2014/main" id="{2EC23FE8-F0D1-4736-8F68-9DF0FBFC6A96}"/>
                </a:ext>
              </a:extLst>
            </p:cNvPr>
            <p:cNvSpPr>
              <a:spLocks/>
            </p:cNvSpPr>
            <p:nvPr/>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396EB3"/>
                </a:gs>
                <a:gs pos="100000">
                  <a:srgbClr val="254676"/>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3" name="Vrije vorm 11">
              <a:extLst>
                <a:ext uri="{FF2B5EF4-FFF2-40B4-BE49-F238E27FC236}">
                  <a16:creationId xmlns:a16="http://schemas.microsoft.com/office/drawing/2014/main" id="{480E03A7-A7D1-4FF1-82D3-121EC386F0E6}"/>
                </a:ext>
              </a:extLst>
            </p:cNvPr>
            <p:cNvSpPr>
              <a:spLocks/>
            </p:cNvSpPr>
            <p:nvPr/>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2546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 name="Titel 1"/>
          <p:cNvSpPr>
            <a:spLocks noGrp="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6" name="Tijdelijke aanduiding voor dianummer 5"/>
          <p:cNvSpPr>
            <a:spLocks noGrp="1"/>
          </p:cNvSpPr>
          <p:nvPr>
            <p:ph type="sldNum" sz="quarter" idx="12"/>
          </p:nvPr>
        </p:nvSpPr>
        <p:spPr/>
        <p:txBody>
          <a:bodyPr/>
          <a:lstStyle/>
          <a:p>
            <a:pPr algn="r"/>
            <a:fld id="{1336C48C-F87C-4E4B-81EF-5027B17D1F61}" type="slidenum">
              <a:rPr lang="nl-NL" noProof="1" smtClean="0"/>
              <a:pPr algn="r"/>
              <a:t>‹nr.›</a:t>
            </a:fld>
            <a:endParaRPr lang="nl-NL" noProof="1"/>
          </a:p>
        </p:txBody>
      </p:sp>
    </p:spTree>
    <p:extLst>
      <p:ext uri="{BB962C8B-B14F-4D97-AF65-F5344CB8AC3E}">
        <p14:creationId xmlns:p14="http://schemas.microsoft.com/office/powerpoint/2010/main" val="310183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26C27E-11B1-E878-4521-850F85A51876}"/>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436D44E8-E6DB-1FE6-9724-04FFE55988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88C45324-2541-0C89-0FEE-61B1208E986F}"/>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45416E61-1C91-A1EE-F21A-567C589A66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6E0B7511-A0EF-1680-0B2D-F9EC3036D1B7}"/>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2F35FD85-D85E-29F4-EA03-C3512DC83A3F}"/>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8" name="Tijdelijke aanduiding voor voettekst 7">
            <a:extLst>
              <a:ext uri="{FF2B5EF4-FFF2-40B4-BE49-F238E27FC236}">
                <a16:creationId xmlns:a16="http://schemas.microsoft.com/office/drawing/2014/main" id="{52E178E4-7E5D-70C6-B645-2302EE57BDC8}"/>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3D9FFA33-0B50-B2A5-9A70-C82C0A1DF920}"/>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26859006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eelddia (groen)">
    <p:spTree>
      <p:nvGrpSpPr>
        <p:cNvPr id="1" name=""/>
        <p:cNvGrpSpPr/>
        <p:nvPr/>
      </p:nvGrpSpPr>
      <p:grpSpPr>
        <a:xfrm>
          <a:off x="0" y="0"/>
          <a:ext cx="0" cy="0"/>
          <a:chOff x="0" y="0"/>
          <a:chExt cx="0" cy="0"/>
        </a:xfrm>
      </p:grpSpPr>
      <p:sp>
        <p:nvSpPr>
          <p:cNvPr id="10"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9" name="Text Placeholder 8 (PHJU)">
            <a:extLst>
              <a:ext uri="{FF2B5EF4-FFF2-40B4-BE49-F238E27FC236}">
                <a16:creationId xmlns:a16="http://schemas.microsoft.com/office/drawing/2014/main" id="{2D53C57C-62FB-4B22-B960-64020DDA6BF4}"/>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99A636">
                  <a:alpha val="74902"/>
                </a:srgbClr>
              </a:gs>
              <a:gs pos="95000">
                <a:srgbClr val="C0CF46"/>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5" name="Instructie algemeen">
            <a:extLst>
              <a:ext uri="{FF2B5EF4-FFF2-40B4-BE49-F238E27FC236}">
                <a16:creationId xmlns:a16="http://schemas.microsoft.com/office/drawing/2014/main" id="{59FF8DA1-6236-41E3-8FDE-CB8EC852F557}"/>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6" name="Tijdelijke aanduiding voor afbeelding 9">
            <a:extLst>
              <a:ext uri="{FF2B5EF4-FFF2-40B4-BE49-F238E27FC236}">
                <a16:creationId xmlns:a16="http://schemas.microsoft.com/office/drawing/2014/main" id="{B3C98B13-A0FD-4042-826E-4FA738537303}"/>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85052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eelddia (rood)">
    <p:spTree>
      <p:nvGrpSpPr>
        <p:cNvPr id="1" name=""/>
        <p:cNvGrpSpPr/>
        <p:nvPr/>
      </p:nvGrpSpPr>
      <p:grpSpPr>
        <a:xfrm>
          <a:off x="0" y="0"/>
          <a:ext cx="0" cy="0"/>
          <a:chOff x="0" y="0"/>
          <a:chExt cx="0" cy="0"/>
        </a:xfrm>
      </p:grpSpPr>
      <p:sp>
        <p:nvSpPr>
          <p:cNvPr id="7"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9" name="Vrije vorm 11 (PHJU)">
            <a:extLst>
              <a:ext uri="{FF2B5EF4-FFF2-40B4-BE49-F238E27FC236}">
                <a16:creationId xmlns:a16="http://schemas.microsoft.com/office/drawing/2014/main" id="{40DC21DD-3B47-4394-A514-ACB75BBFA633}"/>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961E30">
                  <a:alpha val="69804"/>
                </a:srgbClr>
              </a:gs>
              <a:gs pos="99000">
                <a:srgbClr val="EC1E30"/>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5" name="Instructie algemeen">
            <a:extLst>
              <a:ext uri="{FF2B5EF4-FFF2-40B4-BE49-F238E27FC236}">
                <a16:creationId xmlns:a16="http://schemas.microsoft.com/office/drawing/2014/main" id="{F55DEE03-8DEE-46E6-BF1A-B5C905211189}"/>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6" name="Tijdelijke aanduiding voor afbeelding 9">
            <a:extLst>
              <a:ext uri="{FF2B5EF4-FFF2-40B4-BE49-F238E27FC236}">
                <a16:creationId xmlns:a16="http://schemas.microsoft.com/office/drawing/2014/main" id="{D300AA92-1636-44C7-BFB7-BCA8B51DD699}"/>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26432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eelddia (paars)">
    <p:spTree>
      <p:nvGrpSpPr>
        <p:cNvPr id="1" name=""/>
        <p:cNvGrpSpPr/>
        <p:nvPr/>
      </p:nvGrpSpPr>
      <p:grpSpPr>
        <a:xfrm>
          <a:off x="0" y="0"/>
          <a:ext cx="0" cy="0"/>
          <a:chOff x="0" y="0"/>
          <a:chExt cx="0" cy="0"/>
        </a:xfrm>
      </p:grpSpPr>
      <p:sp>
        <p:nvSpPr>
          <p:cNvPr id="7"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6" name="Vrije vorm 11 (PHJU)">
            <a:extLst>
              <a:ext uri="{FF2B5EF4-FFF2-40B4-BE49-F238E27FC236}">
                <a16:creationId xmlns:a16="http://schemas.microsoft.com/office/drawing/2014/main" id="{8EABC2F9-0606-40DF-805D-FBA7ED0E3598}"/>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8B5369">
                  <a:alpha val="69804"/>
                </a:srgbClr>
              </a:gs>
              <a:gs pos="98000">
                <a:srgbClr val="AB7AA4"/>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5" name="Instructie algemeen">
            <a:extLst>
              <a:ext uri="{FF2B5EF4-FFF2-40B4-BE49-F238E27FC236}">
                <a16:creationId xmlns:a16="http://schemas.microsoft.com/office/drawing/2014/main" id="{97715611-2355-45E2-BF25-DBCD296425E1}"/>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3BF4C8D2-AD15-4970-868B-96EAD69BF4F5}"/>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20157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eelddia (oranje)">
    <p:spTree>
      <p:nvGrpSpPr>
        <p:cNvPr id="1" name=""/>
        <p:cNvGrpSpPr/>
        <p:nvPr/>
      </p:nvGrpSpPr>
      <p:grpSpPr>
        <a:xfrm>
          <a:off x="0" y="0"/>
          <a:ext cx="0" cy="0"/>
          <a:chOff x="0" y="0"/>
          <a:chExt cx="0" cy="0"/>
        </a:xfrm>
      </p:grpSpPr>
      <p:sp>
        <p:nvSpPr>
          <p:cNvPr id="7"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6" name="Vrije vorm 11 (PHJU)">
            <a:extLst>
              <a:ext uri="{FF2B5EF4-FFF2-40B4-BE49-F238E27FC236}">
                <a16:creationId xmlns:a16="http://schemas.microsoft.com/office/drawing/2014/main" id="{B4330416-DBCA-48C3-8237-838636E13819}"/>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C06019">
                  <a:alpha val="69804"/>
                </a:srgbClr>
              </a:gs>
              <a:gs pos="97000">
                <a:srgbClr val="EB980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5" name="Instructie algemeen">
            <a:extLst>
              <a:ext uri="{FF2B5EF4-FFF2-40B4-BE49-F238E27FC236}">
                <a16:creationId xmlns:a16="http://schemas.microsoft.com/office/drawing/2014/main" id="{B39F1F1A-B3BA-4804-B538-04D6817AD4E2}"/>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364024B4-D536-46EC-9293-CBDB5D98EC3C}"/>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2824863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eelddia (blauw2)">
    <p:spTree>
      <p:nvGrpSpPr>
        <p:cNvPr id="1" name=""/>
        <p:cNvGrpSpPr/>
        <p:nvPr/>
      </p:nvGrpSpPr>
      <p:grpSpPr>
        <a:xfrm>
          <a:off x="0" y="0"/>
          <a:ext cx="0" cy="0"/>
          <a:chOff x="0" y="0"/>
          <a:chExt cx="0" cy="0"/>
        </a:xfrm>
      </p:grpSpPr>
      <p:sp>
        <p:nvSpPr>
          <p:cNvPr id="7" name="Vrije vorm: vorm 10">
            <a:extLst>
              <a:ext uri="{FF2B5EF4-FFF2-40B4-BE49-F238E27FC236}">
                <a16:creationId xmlns:a16="http://schemas.microsoft.com/office/drawing/2014/main" id="{C57DA596-C22F-4096-B042-A58C073E9117}"/>
              </a:ext>
            </a:extLst>
          </p:cNvPr>
          <p:cNvSpPr>
            <a:spLocks noGrp="1"/>
          </p:cNvSpPr>
          <p:nvPr>
            <p:ph type="pic" sz="quarter" idx="10" hasCustomPrompt="1"/>
          </p:nvPr>
        </p:nvSpPr>
        <p:spPr>
          <a:xfrm>
            <a:off x="0" y="0"/>
            <a:ext cx="12190026" cy="6857918"/>
          </a:xfrm>
          <a:custGeom>
            <a:avLst/>
            <a:gdLst>
              <a:gd name="connsiteX0" fmla="*/ 0 w 12193200"/>
              <a:gd name="connsiteY0" fmla="*/ 0 h 6857918"/>
              <a:gd name="connsiteX1" fmla="*/ 12193200 w 12193200"/>
              <a:gd name="connsiteY1" fmla="*/ 0 h 6857918"/>
              <a:gd name="connsiteX2" fmla="*/ 12193200 w 12193200"/>
              <a:gd name="connsiteY2" fmla="*/ 6857918 h 6857918"/>
              <a:gd name="connsiteX3" fmla="*/ 1149277 w 12193200"/>
              <a:gd name="connsiteY3" fmla="*/ 6857918 h 6857918"/>
              <a:gd name="connsiteX4" fmla="*/ 0 w 12193200"/>
              <a:gd name="connsiteY4" fmla="*/ 5710231 h 6857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6857918">
                <a:moveTo>
                  <a:pt x="0" y="0"/>
                </a:moveTo>
                <a:lnTo>
                  <a:pt x="12193200" y="0"/>
                </a:lnTo>
                <a:lnTo>
                  <a:pt x="12193200" y="6857918"/>
                </a:lnTo>
                <a:lnTo>
                  <a:pt x="1149277" y="6857918"/>
                </a:lnTo>
                <a:lnTo>
                  <a:pt x="0" y="5710231"/>
                </a:lnTo>
                <a:close/>
              </a:path>
            </a:pathLst>
          </a:custGeom>
          <a:solidFill>
            <a:schemeClr val="tx1">
              <a:alpha val="10000"/>
            </a:schemeClr>
          </a:solidFill>
        </p:spPr>
        <p:txBody>
          <a:bodyPr wrap="square">
            <a:noAutofit/>
          </a:bodyPr>
          <a:lstStyle>
            <a:lvl1pPr algn="ctr">
              <a:defRPr lang="nl-NL" sz="1000" smtClean="0">
                <a:effectLst/>
              </a:defRPr>
            </a:lvl1pPr>
          </a:lstStyle>
          <a:p>
            <a:r>
              <a:rPr lang="nl-NL" sz="1000">
                <a:effectLst/>
                <a:latin typeface="Arial" panose="020B0604020202020204" pitchFamily="34" charset="0"/>
                <a:ea typeface="Times New Roman" panose="02020603050405020304" pitchFamily="18" charset="0"/>
              </a:rPr>
              <a:t>Klik hier en voeg een foto in via het menu Invoegen | Afbeelding</a:t>
            </a:r>
            <a:endParaRPr lang="nl-NL"/>
          </a:p>
        </p:txBody>
      </p:sp>
      <p:sp>
        <p:nvSpPr>
          <p:cNvPr id="6" name="Vrije vorm 11 (PHJU)">
            <a:extLst>
              <a:ext uri="{FF2B5EF4-FFF2-40B4-BE49-F238E27FC236}">
                <a16:creationId xmlns:a16="http://schemas.microsoft.com/office/drawing/2014/main" id="{3A18C30A-3202-488F-A222-815FC684C14D}"/>
              </a:ext>
            </a:extLst>
          </p:cNvPr>
          <p:cNvSpPr>
            <a:spLocks noGrp="1"/>
          </p:cNvSpPr>
          <p:nvPr userDrawn="1">
            <p:ph type="body" idx="1000" hasCustomPrompt="1"/>
            <p:custDataLst>
              <p:custData r:id="rId1"/>
            </p:custDataLst>
          </p:nvPr>
        </p:nvSpPr>
        <p:spPr>
          <a:xfrm rot="10800000" flipH="1">
            <a:off x="513" y="-16135"/>
            <a:ext cx="1133880" cy="6862599"/>
          </a:xfrm>
          <a:custGeom>
            <a:avLst/>
            <a:gdLst>
              <a:gd name="connsiteX0" fmla="*/ 0 w 1134175"/>
              <a:gd name="connsiteY0" fmla="*/ 6862599 h 6862599"/>
              <a:gd name="connsiteX1" fmla="*/ 1134175 w 1134175"/>
              <a:gd name="connsiteY1" fmla="*/ 6862599 h 6862599"/>
              <a:gd name="connsiteX2" fmla="*/ 1134175 w 1134175"/>
              <a:gd name="connsiteY2" fmla="*/ 1134175 h 6862599"/>
              <a:gd name="connsiteX3" fmla="*/ 0 w 1134175"/>
              <a:gd name="connsiteY3" fmla="*/ 0 h 6862599"/>
            </a:gdLst>
            <a:ahLst/>
            <a:cxnLst>
              <a:cxn ang="0">
                <a:pos x="connsiteX0" y="connsiteY0"/>
              </a:cxn>
              <a:cxn ang="0">
                <a:pos x="connsiteX1" y="connsiteY1"/>
              </a:cxn>
              <a:cxn ang="0">
                <a:pos x="connsiteX2" y="connsiteY2"/>
              </a:cxn>
              <a:cxn ang="0">
                <a:pos x="connsiteX3" y="connsiteY3"/>
              </a:cxn>
            </a:cxnLst>
            <a:rect l="l" t="t" r="r" b="b"/>
            <a:pathLst>
              <a:path w="1134175" h="6862599">
                <a:moveTo>
                  <a:pt x="0" y="6862599"/>
                </a:moveTo>
                <a:lnTo>
                  <a:pt x="1134175" y="6862599"/>
                </a:lnTo>
                <a:lnTo>
                  <a:pt x="1134175" y="1134175"/>
                </a:lnTo>
                <a:lnTo>
                  <a:pt x="0" y="0"/>
                </a:lnTo>
                <a:close/>
              </a:path>
            </a:pathLst>
          </a:custGeom>
          <a:gradFill>
            <a:gsLst>
              <a:gs pos="0">
                <a:srgbClr val="254677">
                  <a:alpha val="69804"/>
                </a:srgbClr>
              </a:gs>
              <a:gs pos="96000">
                <a:srgbClr val="396EB4"/>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lgn="ctr" defTabSz="1088610" rtl="0" eaLnBrk="1" latinLnBrk="0" hangingPunct="1">
              <a:lnSpc>
                <a:spcPct val="114000"/>
              </a:lnSpc>
              <a:spcBef>
                <a:spcPts val="0"/>
              </a:spcBef>
              <a:buFont typeface="Arial" pitchFamily="34" charset="0"/>
              <a:buNone/>
              <a:defRPr/>
            </a:lvl1pPr>
          </a:lstStyle>
          <a:p>
            <a:pPr algn="ctr"/>
            <a:r>
              <a:rPr lang="nl-NL"/>
              <a:t> </a:t>
            </a:r>
          </a:p>
        </p:txBody>
      </p:sp>
      <p:sp>
        <p:nvSpPr>
          <p:cNvPr id="2" name="Titel 1"/>
          <p:cNvSpPr>
            <a:spLocks noGrp="1"/>
          </p:cNvSpPr>
          <p:nvPr>
            <p:ph type="title" hasCustomPrompt="1"/>
          </p:nvPr>
        </p:nvSpPr>
        <p:spPr>
          <a:xfrm>
            <a:off x="1597577" y="1979737"/>
            <a:ext cx="899865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5" name="Instructie algemeen">
            <a:extLst>
              <a:ext uri="{FF2B5EF4-FFF2-40B4-BE49-F238E27FC236}">
                <a16:creationId xmlns:a16="http://schemas.microsoft.com/office/drawing/2014/main" id="{5791E1EA-3C74-4FF9-A588-687053BB981E}"/>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725C6545-9A76-4185-992B-5EE390422620}"/>
              </a:ext>
            </a:extLst>
          </p:cNvPr>
          <p:cNvSpPr>
            <a:spLocks noGrp="1" noChangeAspect="1"/>
          </p:cNvSpPr>
          <p:nvPr>
            <p:ph type="pic" sz="quarter" idx="15" hasCustomPrompt="1"/>
          </p:nvPr>
        </p:nvSpPr>
        <p:spPr>
          <a:xfrm>
            <a:off x="-2119110" y="1926637"/>
            <a:ext cx="1979485" cy="606915"/>
          </a:xfrm>
          <a:blipFill>
            <a:blip r:embed="rId3"/>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204249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oofdstukdia met eigen foto (groen)">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C0CF46"/>
              </a:gs>
              <a:gs pos="98000">
                <a:srgbClr val="99A638">
                  <a:alpha val="70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Instructie algemeen">
            <a:extLst>
              <a:ext uri="{FF2B5EF4-FFF2-40B4-BE49-F238E27FC236}">
                <a16:creationId xmlns:a16="http://schemas.microsoft.com/office/drawing/2014/main" id="{1FF38F2A-6147-41D4-B37A-E37323C655DD}"/>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00190AD8-47D6-4CC4-9EA7-A415B1616474}"/>
              </a:ext>
            </a:extLst>
          </p:cNvPr>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97491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oofdstukdia met eigen foto (rood)">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EC1E30"/>
              </a:gs>
              <a:gs pos="99000">
                <a:srgbClr val="C73736">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Instructie algemeen">
            <a:extLst>
              <a:ext uri="{FF2B5EF4-FFF2-40B4-BE49-F238E27FC236}">
                <a16:creationId xmlns:a16="http://schemas.microsoft.com/office/drawing/2014/main" id="{B9603AB2-26E1-4667-8532-F4A7F174A769}"/>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A10A4F7C-84D4-40F3-8E3E-3A24BF2B7EF4}"/>
              </a:ext>
            </a:extLst>
          </p:cNvPr>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40961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oofdstukdia met eigen foto (paars)">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AB7AA6"/>
              </a:gs>
              <a:gs pos="99000">
                <a:srgbClr val="8B536B">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Instructie algemeen">
            <a:extLst>
              <a:ext uri="{FF2B5EF4-FFF2-40B4-BE49-F238E27FC236}">
                <a16:creationId xmlns:a16="http://schemas.microsoft.com/office/drawing/2014/main" id="{887C3862-E0BF-42BD-87A0-630CA5DE2D97}"/>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86AB4B3C-EB61-478C-BF01-91D26447C4CC}"/>
              </a:ext>
            </a:extLst>
          </p:cNvPr>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06488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oofdstukdia met eigen foto (oranje)">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EB9801"/>
              </a:gs>
              <a:gs pos="99000">
                <a:srgbClr val="C06019">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Instructie algemeen">
            <a:extLst>
              <a:ext uri="{FF2B5EF4-FFF2-40B4-BE49-F238E27FC236}">
                <a16:creationId xmlns:a16="http://schemas.microsoft.com/office/drawing/2014/main" id="{F9B43811-AC5E-499F-8FE6-247977756040}"/>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1B3191AC-56AE-405C-9E1C-FAC661A75888}"/>
              </a:ext>
            </a:extLst>
          </p:cNvPr>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194957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oofdstukdia met eigen foto (blauw2)">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5">
            <a:extLst>
              <a:ext uri="{FF2B5EF4-FFF2-40B4-BE49-F238E27FC236}">
                <a16:creationId xmlns:a16="http://schemas.microsoft.com/office/drawing/2014/main" id="{F91A63AF-08E1-42E3-9249-D09D9858F26E}"/>
              </a:ext>
            </a:extLst>
          </p:cNvPr>
          <p:cNvSpPr>
            <a:spLocks noGrp="1"/>
          </p:cNvSpPr>
          <p:nvPr>
            <p:ph type="pic" sz="quarter" idx="16" hasCustomPrompt="1"/>
          </p:nvPr>
        </p:nvSpPr>
        <p:spPr>
          <a:xfrm>
            <a:off x="4377780" y="1"/>
            <a:ext cx="7811046" cy="6857999"/>
          </a:xfrm>
          <a:custGeom>
            <a:avLst/>
            <a:gdLst>
              <a:gd name="connsiteX0" fmla="*/ 0 w 7813080"/>
              <a:gd name="connsiteY0" fmla="*/ 0 h 6857999"/>
              <a:gd name="connsiteX1" fmla="*/ 7813080 w 7813080"/>
              <a:gd name="connsiteY1" fmla="*/ 0 h 6857999"/>
              <a:gd name="connsiteX2" fmla="*/ 7813080 w 7813080"/>
              <a:gd name="connsiteY2" fmla="*/ 6857999 h 6857999"/>
              <a:gd name="connsiteX3" fmla="*/ 1376673 w 7813080"/>
              <a:gd name="connsiteY3" fmla="*/ 6857999 h 6857999"/>
              <a:gd name="connsiteX4" fmla="*/ 0 w 7813080"/>
              <a:gd name="connsiteY4" fmla="*/ 5481326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3080" h="6857999">
                <a:moveTo>
                  <a:pt x="0" y="0"/>
                </a:moveTo>
                <a:lnTo>
                  <a:pt x="7813080" y="0"/>
                </a:lnTo>
                <a:lnTo>
                  <a:pt x="7813080" y="6857999"/>
                </a:lnTo>
                <a:lnTo>
                  <a:pt x="1376673" y="6857999"/>
                </a:lnTo>
                <a:lnTo>
                  <a:pt x="0" y="5481326"/>
                </a:lnTo>
                <a:close/>
              </a:path>
            </a:pathLst>
          </a:custGeom>
          <a:solidFill>
            <a:srgbClr val="000000">
              <a:alpha val="10000"/>
            </a:srgbClr>
          </a:solidFill>
        </p:spPr>
        <p:txBody>
          <a:bodyPr wrap="square">
            <a:noAutofit/>
          </a:bodyPr>
          <a:lstStyle>
            <a:lvl1pPr marL="287914" indent="-287914" algn="r" defTabSz="914126" rtl="0" eaLnBrk="1" latinLnBrk="0" hangingPunct="1">
              <a:lnSpc>
                <a:spcPct val="100000"/>
              </a:lnSpc>
              <a:spcBef>
                <a:spcPts val="0"/>
              </a:spcBef>
              <a:buFont typeface="Arial" panose="020B0604020202020204" pitchFamily="34" charset="0"/>
              <a:buNone/>
              <a:defRPr/>
            </a:lvl1pPr>
          </a:lstStyle>
          <a:p>
            <a:r>
              <a:rPr lang="nl-NL"/>
              <a:t>[Klik op het pictogram om een afbeelding in te voegen]</a:t>
            </a:r>
            <a:endParaRPr lang="aa-ET"/>
          </a:p>
        </p:txBody>
      </p:sp>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396EB4"/>
              </a:gs>
              <a:gs pos="100000">
                <a:srgbClr val="254677">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Instructie algemeen">
            <a:extLst>
              <a:ext uri="{FF2B5EF4-FFF2-40B4-BE49-F238E27FC236}">
                <a16:creationId xmlns:a16="http://schemas.microsoft.com/office/drawing/2014/main" id="{F288F0F2-CA2E-4A13-9D5F-A3BDF24FD2D3}"/>
              </a:ext>
            </a:extLst>
          </p:cNvPr>
          <p:cNvSpPr>
            <a:spLocks noGrp="1"/>
          </p:cNvSpPr>
          <p:nvPr>
            <p:ph type="body" sz="quarter" idx="14" hasCustomPrompt="1"/>
          </p:nvPr>
        </p:nvSpPr>
        <p:spPr>
          <a:xfrm>
            <a:off x="-2159438" y="-1"/>
            <a:ext cx="2051466" cy="3600000"/>
          </a:xfrm>
          <a:ln>
            <a:solidFill>
              <a:schemeClr val="accent1"/>
            </a:solidFill>
          </a:ln>
        </p:spPr>
        <p:txBody>
          <a:bodyPr lIns="36000" tIns="36000" rIns="36000" bIns="36000"/>
          <a:lstStyle>
            <a:lvl1pPr marL="0" indent="0">
              <a:lnSpc>
                <a:spcPct val="100000"/>
              </a:lnSpc>
              <a:buNone/>
              <a:defRPr sz="1100" b="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100000"/>
              </a:lnSpc>
              <a:buFont typeface="Arial" panose="020B0604020202020204" pitchFamily="34" charset="0"/>
              <a:buNone/>
              <a:defRPr sz="1100" b="0"/>
            </a:lvl5pPr>
          </a:lstStyle>
          <a:p>
            <a:pPr lvl="0"/>
            <a:r>
              <a:rPr lang="nl-NL"/>
              <a:t>Voeg je een foto in dan komt deze automatisch achter de tekst en logo.</a:t>
            </a:r>
            <a:br>
              <a:rPr lang="nl-NL"/>
            </a:br>
            <a:r>
              <a:rPr lang="nl-NL"/>
              <a:t>Wil je later de foto wijzigen, dan plaatst PowerPoint de foto boven op de dia. Klik in het lint hierboven op Start | Opnieuw instellen, en de volgorde van de foto, logo en tekst zal automatisch in de goede volgorde komen. </a:t>
            </a:r>
            <a:br>
              <a:rPr lang="nl-NL"/>
            </a:br>
            <a:br>
              <a:rPr lang="nl-NL"/>
            </a:br>
            <a:br>
              <a:rPr lang="nl-NL"/>
            </a:br>
            <a:br>
              <a:rPr lang="nl-NL"/>
            </a:br>
            <a:br>
              <a:rPr lang="nl-NL"/>
            </a:br>
            <a:r>
              <a:rPr lang="nl-NL"/>
              <a:t>Deze uitleg wordt niet geprint of getoond in de presentatie. Klik in de rand van het frame met de tekst en de rand van de afbeelding en druk op delete om te verwijderen.</a:t>
            </a:r>
          </a:p>
          <a:p>
            <a:pPr lvl="4"/>
            <a:endParaRPr lang="nl-NL"/>
          </a:p>
        </p:txBody>
      </p:sp>
      <p:sp>
        <p:nvSpPr>
          <p:cNvPr id="8" name="Tijdelijke aanduiding voor afbeelding 9">
            <a:extLst>
              <a:ext uri="{FF2B5EF4-FFF2-40B4-BE49-F238E27FC236}">
                <a16:creationId xmlns:a16="http://schemas.microsoft.com/office/drawing/2014/main" id="{2CC3E309-F834-469A-BA8C-2F07707ADFAB}"/>
              </a:ext>
            </a:extLst>
          </p:cNvPr>
          <p:cNvSpPr>
            <a:spLocks noGrp="1" noChangeAspect="1"/>
          </p:cNvSpPr>
          <p:nvPr>
            <p:ph type="pic" sz="quarter" idx="15" hasCustomPrompt="1"/>
          </p:nvPr>
        </p:nvSpPr>
        <p:spPr>
          <a:xfrm>
            <a:off x="-2119110" y="1926637"/>
            <a:ext cx="1979485" cy="606915"/>
          </a:xfrm>
          <a:blipFill>
            <a:blip r:embed="rId4"/>
            <a:stretch>
              <a:fillRect/>
            </a:stretch>
          </a:blipFill>
        </p:spPr>
        <p:txBody>
          <a:bodyPr/>
          <a:lstStyle>
            <a:lvl1pPr marL="0" indent="0">
              <a:lnSpc>
                <a:spcPct val="100000"/>
              </a:lnSpc>
              <a:buNone/>
              <a:defRPr/>
            </a:lvl1pPr>
          </a:lstStyle>
          <a:p>
            <a:r>
              <a:rPr lang="nl-NL"/>
              <a:t> </a:t>
            </a:r>
          </a:p>
        </p:txBody>
      </p:sp>
    </p:spTree>
    <p:extLst>
      <p:ext uri="{BB962C8B-B14F-4D97-AF65-F5344CB8AC3E}">
        <p14:creationId xmlns:p14="http://schemas.microsoft.com/office/powerpoint/2010/main" val="26539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35F436-549C-631E-7304-DEA012845E8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06591D90-1F2D-13CB-1117-665EE746795B}"/>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4" name="Tijdelijke aanduiding voor voettekst 3">
            <a:extLst>
              <a:ext uri="{FF2B5EF4-FFF2-40B4-BE49-F238E27FC236}">
                <a16:creationId xmlns:a16="http://schemas.microsoft.com/office/drawing/2014/main" id="{D9B8191F-A603-EB8F-CB00-F3DB2973893D}"/>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E530AA52-EB0B-FE37-09C3-064E3A281B59}"/>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27105967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oofdstukdia met vaste foto (blauw)">
    <p:bg>
      <p:bgPr>
        <a:solidFill>
          <a:schemeClr val="bg1"/>
        </a:solidFill>
        <a:effectLst/>
      </p:bgPr>
    </p:bg>
    <p:spTree>
      <p:nvGrpSpPr>
        <p:cNvPr id="1" name=""/>
        <p:cNvGrpSpPr/>
        <p:nvPr/>
      </p:nvGrpSpPr>
      <p:grpSpPr>
        <a:xfrm>
          <a:off x="0" y="0"/>
          <a:ext cx="0" cy="0"/>
          <a:chOff x="0" y="0"/>
          <a:chExt cx="0" cy="0"/>
        </a:xfrm>
      </p:grpSpPr>
      <p:pic>
        <p:nvPicPr>
          <p:cNvPr id="9" name="Afbeelding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2" y="2"/>
            <a:ext cx="7818964" cy="6857853"/>
          </a:xfrm>
          <a:custGeom>
            <a:avLst/>
            <a:gdLst>
              <a:gd name="connsiteX0" fmla="*/ 0 w 7821000"/>
              <a:gd name="connsiteY0" fmla="*/ 0 h 6857853"/>
              <a:gd name="connsiteX1" fmla="*/ 7821000 w 7821000"/>
              <a:gd name="connsiteY1" fmla="*/ 0 h 6857853"/>
              <a:gd name="connsiteX2" fmla="*/ 7821000 w 7821000"/>
              <a:gd name="connsiteY2" fmla="*/ 6857853 h 6857853"/>
              <a:gd name="connsiteX3" fmla="*/ 1384243 w 7821000"/>
              <a:gd name="connsiteY3" fmla="*/ 6857853 h 6857853"/>
              <a:gd name="connsiteX4" fmla="*/ 0 w 7821000"/>
              <a:gd name="connsiteY4" fmla="*/ 5473610 h 6857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000" h="6857853">
                <a:moveTo>
                  <a:pt x="0" y="0"/>
                </a:moveTo>
                <a:lnTo>
                  <a:pt x="7821000" y="0"/>
                </a:lnTo>
                <a:lnTo>
                  <a:pt x="7821000" y="6857853"/>
                </a:lnTo>
                <a:lnTo>
                  <a:pt x="1384243" y="6857853"/>
                </a:lnTo>
                <a:lnTo>
                  <a:pt x="0" y="5473610"/>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00A2BC"/>
              </a:gs>
              <a:gs pos="99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7" name="Bijschrift Tekstvak 3">
            <a:extLst>
              <a:ext uri="{FF2B5EF4-FFF2-40B4-BE49-F238E27FC236}">
                <a16:creationId xmlns:a16="http://schemas.microsoft.com/office/drawing/2014/main" id="{2E5BFF8B-46F2-4A1D-8A13-4BD4D981CE3D}"/>
              </a:ext>
            </a:extLst>
          </p:cNvPr>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De Caai, Eindhoven</a:t>
            </a:r>
          </a:p>
        </p:txBody>
      </p:sp>
    </p:spTree>
    <p:extLst>
      <p:ext uri="{BB962C8B-B14F-4D97-AF65-F5344CB8AC3E}">
        <p14:creationId xmlns:p14="http://schemas.microsoft.com/office/powerpoint/2010/main" val="233785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00" fill="hold"/>
                                        <p:tgtEl>
                                          <p:spTgt spid="9"/>
                                        </p:tgtEl>
                                        <p:attrNameLst>
                                          <p:attrName>ppt_x</p:attrName>
                                        </p:attrNameLst>
                                      </p:cBhvr>
                                      <p:tavLst>
                                        <p:tav tm="0">
                                          <p:val>
                                            <p:strVal val="1+#ppt_w/2"/>
                                          </p:val>
                                        </p:tav>
                                        <p:tav tm="100000">
                                          <p:val>
                                            <p:strVal val="#ppt_x"/>
                                          </p:val>
                                        </p:tav>
                                      </p:tavLst>
                                    </p:anim>
                                    <p:anim calcmode="lin" valueType="num">
                                      <p:cBhvr additive="base">
                                        <p:cTn id="12" dur="7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oofdstukdia met vaste foto (groen)">
    <p:bg>
      <p:bgPr>
        <a:solidFill>
          <a:schemeClr val="bg1"/>
        </a:solidFill>
        <a:effectLst/>
      </p:bgPr>
    </p:bg>
    <p:spTree>
      <p:nvGrpSpPr>
        <p:cNvPr id="1" name=""/>
        <p:cNvGrpSpPr/>
        <p:nvPr/>
      </p:nvGrpSpPr>
      <p:grpSpPr>
        <a:xfrm>
          <a:off x="0" y="0"/>
          <a:ext cx="0" cy="0"/>
          <a:chOff x="0" y="0"/>
          <a:chExt cx="0" cy="0"/>
        </a:xfrm>
      </p:grpSpPr>
      <p:pic>
        <p:nvPicPr>
          <p:cNvPr id="11" name="Afbeelding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2" y="2"/>
            <a:ext cx="7818964" cy="6857853"/>
          </a:xfrm>
          <a:custGeom>
            <a:avLst/>
            <a:gdLst>
              <a:gd name="connsiteX0" fmla="*/ 0 w 7821000"/>
              <a:gd name="connsiteY0" fmla="*/ 0 h 6857853"/>
              <a:gd name="connsiteX1" fmla="*/ 7821000 w 7821000"/>
              <a:gd name="connsiteY1" fmla="*/ 0 h 6857853"/>
              <a:gd name="connsiteX2" fmla="*/ 7821000 w 7821000"/>
              <a:gd name="connsiteY2" fmla="*/ 6857853 h 6857853"/>
              <a:gd name="connsiteX3" fmla="*/ 1384243 w 7821000"/>
              <a:gd name="connsiteY3" fmla="*/ 6857853 h 6857853"/>
              <a:gd name="connsiteX4" fmla="*/ 0 w 7821000"/>
              <a:gd name="connsiteY4" fmla="*/ 5473610 h 6857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000" h="6857853">
                <a:moveTo>
                  <a:pt x="0" y="0"/>
                </a:moveTo>
                <a:lnTo>
                  <a:pt x="7821000" y="0"/>
                </a:lnTo>
                <a:lnTo>
                  <a:pt x="7821000" y="6857853"/>
                </a:lnTo>
                <a:lnTo>
                  <a:pt x="1384243" y="6857853"/>
                </a:lnTo>
                <a:lnTo>
                  <a:pt x="0" y="5473610"/>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C0CF46"/>
              </a:gs>
              <a:gs pos="98000">
                <a:srgbClr val="99A638">
                  <a:alpha val="70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8" name="Bijschrift Tekstvak 3"/>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Hyde Park, Hoofddorp</a:t>
            </a:r>
            <a:endParaRPr lang="nl-NL" sz="1000" b="1" noProof="1"/>
          </a:p>
        </p:txBody>
      </p:sp>
    </p:spTree>
    <p:extLst>
      <p:ext uri="{BB962C8B-B14F-4D97-AF65-F5344CB8AC3E}">
        <p14:creationId xmlns:p14="http://schemas.microsoft.com/office/powerpoint/2010/main" val="72498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700" fill="hold"/>
                                        <p:tgtEl>
                                          <p:spTgt spid="11"/>
                                        </p:tgtEl>
                                        <p:attrNameLst>
                                          <p:attrName>ppt_x</p:attrName>
                                        </p:attrNameLst>
                                      </p:cBhvr>
                                      <p:tavLst>
                                        <p:tav tm="0">
                                          <p:val>
                                            <p:strVal val="1+#ppt_w/2"/>
                                          </p:val>
                                        </p:tav>
                                        <p:tav tm="100000">
                                          <p:val>
                                            <p:strVal val="#ppt_x"/>
                                          </p:val>
                                        </p:tav>
                                      </p:tavLst>
                                    </p:anim>
                                    <p:anim calcmode="lin" valueType="num">
                                      <p:cBhvr additive="base">
                                        <p:cTn id="12" dur="7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oofdstukdia met vaste foto (rood)">
    <p:bg>
      <p:bgPr>
        <a:solidFill>
          <a:schemeClr val="bg1"/>
        </a:solidFill>
        <a:effectLst/>
      </p:bgPr>
    </p:bg>
    <p:spTree>
      <p:nvGrpSpPr>
        <p:cNvPr id="1" name=""/>
        <p:cNvGrpSpPr/>
        <p:nvPr/>
      </p:nvGrpSpPr>
      <p:grpSpPr>
        <a:xfrm>
          <a:off x="0" y="0"/>
          <a:ext cx="0" cy="0"/>
          <a:chOff x="0" y="0"/>
          <a:chExt cx="0" cy="0"/>
        </a:xfrm>
      </p:grpSpPr>
      <p:pic>
        <p:nvPicPr>
          <p:cNvPr id="13" name="Afbeelding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1" y="1"/>
            <a:ext cx="7818964" cy="6857853"/>
          </a:xfrm>
          <a:custGeom>
            <a:avLst/>
            <a:gdLst>
              <a:gd name="connsiteX0" fmla="*/ 0 w 7821000"/>
              <a:gd name="connsiteY0" fmla="*/ 0 h 6857853"/>
              <a:gd name="connsiteX1" fmla="*/ 7821000 w 7821000"/>
              <a:gd name="connsiteY1" fmla="*/ 0 h 6857853"/>
              <a:gd name="connsiteX2" fmla="*/ 7821000 w 7821000"/>
              <a:gd name="connsiteY2" fmla="*/ 6857853 h 6857853"/>
              <a:gd name="connsiteX3" fmla="*/ 1384243 w 7821000"/>
              <a:gd name="connsiteY3" fmla="*/ 6857853 h 6857853"/>
              <a:gd name="connsiteX4" fmla="*/ 0 w 7821000"/>
              <a:gd name="connsiteY4" fmla="*/ 5473610 h 6857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000" h="6857853">
                <a:moveTo>
                  <a:pt x="0" y="0"/>
                </a:moveTo>
                <a:lnTo>
                  <a:pt x="7821000" y="0"/>
                </a:lnTo>
                <a:lnTo>
                  <a:pt x="7821000" y="6857853"/>
                </a:lnTo>
                <a:lnTo>
                  <a:pt x="1384243" y="6857853"/>
                </a:lnTo>
                <a:lnTo>
                  <a:pt x="0" y="5473610"/>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EC1E30"/>
              </a:gs>
              <a:gs pos="99000">
                <a:srgbClr val="C73736">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8" name="Bijschrift Tekstvak 3"/>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Holland Park West, Diemen</a:t>
            </a:r>
            <a:endParaRPr lang="nl-NL" sz="1000" b="1" noProof="1"/>
          </a:p>
        </p:txBody>
      </p:sp>
    </p:spTree>
    <p:extLst>
      <p:ext uri="{BB962C8B-B14F-4D97-AF65-F5344CB8AC3E}">
        <p14:creationId xmlns:p14="http://schemas.microsoft.com/office/powerpoint/2010/main" val="229913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00" fill="hold"/>
                                        <p:tgtEl>
                                          <p:spTgt spid="13"/>
                                        </p:tgtEl>
                                        <p:attrNameLst>
                                          <p:attrName>ppt_x</p:attrName>
                                        </p:attrNameLst>
                                      </p:cBhvr>
                                      <p:tavLst>
                                        <p:tav tm="0">
                                          <p:val>
                                            <p:strVal val="1+#ppt_w/2"/>
                                          </p:val>
                                        </p:tav>
                                        <p:tav tm="100000">
                                          <p:val>
                                            <p:strVal val="#ppt_x"/>
                                          </p:val>
                                        </p:tav>
                                      </p:tavLst>
                                    </p:anim>
                                    <p:anim calcmode="lin" valueType="num">
                                      <p:cBhvr additive="base">
                                        <p:cTn id="12" dur="7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oofdstukdia met vaste foto (paars)">
    <p:bg>
      <p:bgPr>
        <a:solidFill>
          <a:schemeClr val="bg1"/>
        </a:solidFill>
        <a:effectLst/>
      </p:bgPr>
    </p:bg>
    <p:spTree>
      <p:nvGrpSpPr>
        <p:cNvPr id="1" name=""/>
        <p:cNvGrpSpPr/>
        <p:nvPr/>
      </p:nvGrpSpPr>
      <p:grpSpPr>
        <a:xfrm>
          <a:off x="0" y="0"/>
          <a:ext cx="0" cy="0"/>
          <a:chOff x="0" y="0"/>
          <a:chExt cx="0" cy="0"/>
        </a:xfrm>
      </p:grpSpPr>
      <p:pic>
        <p:nvPicPr>
          <p:cNvPr id="13" name="Afbeelding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2" y="2"/>
            <a:ext cx="7818964" cy="6857853"/>
          </a:xfrm>
          <a:custGeom>
            <a:avLst/>
            <a:gdLst>
              <a:gd name="connsiteX0" fmla="*/ 0 w 7821000"/>
              <a:gd name="connsiteY0" fmla="*/ 0 h 6857853"/>
              <a:gd name="connsiteX1" fmla="*/ 7821000 w 7821000"/>
              <a:gd name="connsiteY1" fmla="*/ 0 h 6857853"/>
              <a:gd name="connsiteX2" fmla="*/ 7821000 w 7821000"/>
              <a:gd name="connsiteY2" fmla="*/ 6857853 h 6857853"/>
              <a:gd name="connsiteX3" fmla="*/ 1384243 w 7821000"/>
              <a:gd name="connsiteY3" fmla="*/ 6857853 h 6857853"/>
              <a:gd name="connsiteX4" fmla="*/ 0 w 7821000"/>
              <a:gd name="connsiteY4" fmla="*/ 5473610 h 6857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000" h="6857853">
                <a:moveTo>
                  <a:pt x="0" y="0"/>
                </a:moveTo>
                <a:lnTo>
                  <a:pt x="7821000" y="0"/>
                </a:lnTo>
                <a:lnTo>
                  <a:pt x="7821000" y="6857853"/>
                </a:lnTo>
                <a:lnTo>
                  <a:pt x="1384243" y="6857853"/>
                </a:lnTo>
                <a:lnTo>
                  <a:pt x="0" y="5473610"/>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AB7AA6"/>
              </a:gs>
              <a:gs pos="99000">
                <a:srgbClr val="8B536B">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8" name="Bijschrift Tekstvak 3"/>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Reeve, Kampen</a:t>
            </a:r>
            <a:endParaRPr lang="nl-NL" sz="1000" b="1" noProof="1"/>
          </a:p>
        </p:txBody>
      </p:sp>
    </p:spTree>
    <p:extLst>
      <p:ext uri="{BB962C8B-B14F-4D97-AF65-F5344CB8AC3E}">
        <p14:creationId xmlns:p14="http://schemas.microsoft.com/office/powerpoint/2010/main" val="1639185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00" fill="hold"/>
                                        <p:tgtEl>
                                          <p:spTgt spid="13"/>
                                        </p:tgtEl>
                                        <p:attrNameLst>
                                          <p:attrName>ppt_x</p:attrName>
                                        </p:attrNameLst>
                                      </p:cBhvr>
                                      <p:tavLst>
                                        <p:tav tm="0">
                                          <p:val>
                                            <p:strVal val="1+#ppt_w/2"/>
                                          </p:val>
                                        </p:tav>
                                        <p:tav tm="100000">
                                          <p:val>
                                            <p:strVal val="#ppt_x"/>
                                          </p:val>
                                        </p:tav>
                                      </p:tavLst>
                                    </p:anim>
                                    <p:anim calcmode="lin" valueType="num">
                                      <p:cBhvr additive="base">
                                        <p:cTn id="12" dur="7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oofdstukdia met vaste foto (oranje)">
    <p:bg>
      <p:bgPr>
        <a:solidFill>
          <a:schemeClr val="bg1"/>
        </a:solidFill>
        <a:effectLst/>
      </p:bgPr>
    </p:bg>
    <p:spTree>
      <p:nvGrpSpPr>
        <p:cNvPr id="1" name=""/>
        <p:cNvGrpSpPr/>
        <p:nvPr/>
      </p:nvGrpSpPr>
      <p:grpSpPr>
        <a:xfrm>
          <a:off x="0" y="0"/>
          <a:ext cx="0" cy="0"/>
          <a:chOff x="0" y="0"/>
          <a:chExt cx="0" cy="0"/>
        </a:xfrm>
      </p:grpSpPr>
      <p:pic>
        <p:nvPicPr>
          <p:cNvPr id="13" name="Afbeelding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8" y="0"/>
            <a:ext cx="7819132" cy="6858000"/>
          </a:xfrm>
          <a:custGeom>
            <a:avLst/>
            <a:gdLst>
              <a:gd name="connsiteX0" fmla="*/ 0 w 7821168"/>
              <a:gd name="connsiteY0" fmla="*/ 0 h 6858000"/>
              <a:gd name="connsiteX1" fmla="*/ 7821168 w 7821168"/>
              <a:gd name="connsiteY1" fmla="*/ 0 h 6858000"/>
              <a:gd name="connsiteX2" fmla="*/ 7821168 w 7821168"/>
              <a:gd name="connsiteY2" fmla="*/ 6858000 h 6858000"/>
              <a:gd name="connsiteX3" fmla="*/ 1384383 w 7821168"/>
              <a:gd name="connsiteY3" fmla="*/ 6858000 h 6858000"/>
              <a:gd name="connsiteX4" fmla="*/ 0 w 7821168"/>
              <a:gd name="connsiteY4" fmla="*/ 547361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168" h="6858000">
                <a:moveTo>
                  <a:pt x="0" y="0"/>
                </a:moveTo>
                <a:lnTo>
                  <a:pt x="7821168" y="0"/>
                </a:lnTo>
                <a:lnTo>
                  <a:pt x="7821168" y="6858000"/>
                </a:lnTo>
                <a:lnTo>
                  <a:pt x="1384383" y="6858000"/>
                </a:lnTo>
                <a:lnTo>
                  <a:pt x="0" y="5473617"/>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EB9801"/>
              </a:gs>
              <a:gs pos="99000">
                <a:srgbClr val="C06019">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8" name="Bijschrift Tekstvak 3"/>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Maasbode, Rotterdam</a:t>
            </a:r>
            <a:endParaRPr lang="nl-NL" sz="1000" b="1" noProof="1"/>
          </a:p>
        </p:txBody>
      </p:sp>
    </p:spTree>
    <p:extLst>
      <p:ext uri="{BB962C8B-B14F-4D97-AF65-F5344CB8AC3E}">
        <p14:creationId xmlns:p14="http://schemas.microsoft.com/office/powerpoint/2010/main" val="11762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00" fill="hold"/>
                                        <p:tgtEl>
                                          <p:spTgt spid="13"/>
                                        </p:tgtEl>
                                        <p:attrNameLst>
                                          <p:attrName>ppt_x</p:attrName>
                                        </p:attrNameLst>
                                      </p:cBhvr>
                                      <p:tavLst>
                                        <p:tav tm="0">
                                          <p:val>
                                            <p:strVal val="1+#ppt_w/2"/>
                                          </p:val>
                                        </p:tav>
                                        <p:tav tm="100000">
                                          <p:val>
                                            <p:strVal val="#ppt_x"/>
                                          </p:val>
                                        </p:tav>
                                      </p:tavLst>
                                    </p:anim>
                                    <p:anim calcmode="lin" valueType="num">
                                      <p:cBhvr additive="base">
                                        <p:cTn id="12" dur="7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oofdstukdia met vaste foto (blauw2)">
    <p:bg>
      <p:bgPr>
        <a:solidFill>
          <a:schemeClr val="bg1"/>
        </a:solidFill>
        <a:effectLst/>
      </p:bgPr>
    </p:bg>
    <p:spTree>
      <p:nvGrpSpPr>
        <p:cNvPr id="1" name=""/>
        <p:cNvGrpSpPr/>
        <p:nvPr/>
      </p:nvGrpSpPr>
      <p:grpSpPr>
        <a:xfrm>
          <a:off x="0" y="0"/>
          <a:ext cx="0" cy="0"/>
          <a:chOff x="0" y="0"/>
          <a:chExt cx="0" cy="0"/>
        </a:xfrm>
      </p:grpSpPr>
      <p:pic>
        <p:nvPicPr>
          <p:cNvPr id="16" name="Afbeelding 1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a:xfrm>
            <a:off x="4372862" y="2"/>
            <a:ext cx="7818964" cy="6857853"/>
          </a:xfrm>
          <a:custGeom>
            <a:avLst/>
            <a:gdLst>
              <a:gd name="connsiteX0" fmla="*/ 0 w 7821000"/>
              <a:gd name="connsiteY0" fmla="*/ 0 h 6857853"/>
              <a:gd name="connsiteX1" fmla="*/ 7821000 w 7821000"/>
              <a:gd name="connsiteY1" fmla="*/ 0 h 6857853"/>
              <a:gd name="connsiteX2" fmla="*/ 7821000 w 7821000"/>
              <a:gd name="connsiteY2" fmla="*/ 6857853 h 6857853"/>
              <a:gd name="connsiteX3" fmla="*/ 1384243 w 7821000"/>
              <a:gd name="connsiteY3" fmla="*/ 6857853 h 6857853"/>
              <a:gd name="connsiteX4" fmla="*/ 0 w 7821000"/>
              <a:gd name="connsiteY4" fmla="*/ 5473610 h 6857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1000" h="6857853">
                <a:moveTo>
                  <a:pt x="0" y="0"/>
                </a:moveTo>
                <a:lnTo>
                  <a:pt x="7821000" y="0"/>
                </a:lnTo>
                <a:lnTo>
                  <a:pt x="7821000" y="6857853"/>
                </a:lnTo>
                <a:lnTo>
                  <a:pt x="1384243" y="6857853"/>
                </a:lnTo>
                <a:lnTo>
                  <a:pt x="0" y="5473610"/>
                </a:lnTo>
                <a:close/>
              </a:path>
            </a:pathLst>
          </a:custGeom>
        </p:spPr>
      </p:pic>
      <p:sp>
        <p:nvSpPr>
          <p:cNvPr id="12" name="Rechthoek met één afgeschuinde hoek 8 (PHJU)">
            <a:extLst>
              <a:ext uri="{FF2B5EF4-FFF2-40B4-BE49-F238E27FC236}">
                <a16:creationId xmlns:a16="http://schemas.microsoft.com/office/drawing/2014/main" id="{2A5FEBF2-B057-4DF1-8D0D-190AA38C9DA7}"/>
              </a:ext>
            </a:extLst>
          </p:cNvPr>
          <p:cNvSpPr>
            <a:spLocks noGrp="1"/>
          </p:cNvSpPr>
          <p:nvPr>
            <p:ph type="body" idx="1000" hasCustomPrompt="1"/>
            <p:custDataLst>
              <p:custData r:id="rId1"/>
            </p:custDataLst>
          </p:nvPr>
        </p:nvSpPr>
        <p:spPr>
          <a:xfrm rot="10800000" flipH="1">
            <a:off x="0" y="-1"/>
            <a:ext cx="5777575" cy="6866734"/>
          </a:xfrm>
          <a:prstGeom prst="snip1Rect">
            <a:avLst>
              <a:gd name="adj" fmla="val 24705"/>
            </a:avLst>
          </a:prstGeom>
          <a:gradFill>
            <a:gsLst>
              <a:gs pos="0">
                <a:srgbClr val="396EB4"/>
              </a:gs>
              <a:gs pos="100000">
                <a:srgbClr val="254677">
                  <a:alpha val="7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287914" indent="-287914" algn="ctr" defTabSz="914126" rtl="0" eaLnBrk="1" latinLnBrk="0" hangingPunct="1">
              <a:lnSpc>
                <a:spcPct val="100000"/>
              </a:lnSpc>
              <a:spcBef>
                <a:spcPts val="0"/>
              </a:spcBef>
              <a:buFont typeface="Arial" panose="020B0604020202020204" pitchFamily="34" charset="0"/>
              <a:buNone/>
              <a:defRPr/>
            </a:lvl1pPr>
          </a:lstStyle>
          <a:p>
            <a:pPr algn="ctr"/>
            <a:r>
              <a:rPr lang="nl-NL"/>
              <a:t> </a:t>
            </a:r>
          </a:p>
        </p:txBody>
      </p:sp>
      <p:sp>
        <p:nvSpPr>
          <p:cNvPr id="14" name="Freeform 9 (PHJU)">
            <a:extLst>
              <a:ext uri="{FF2B5EF4-FFF2-40B4-BE49-F238E27FC236}">
                <a16:creationId xmlns:a16="http://schemas.microsoft.com/office/drawing/2014/main" id="{A50AF384-8B82-4677-9689-3B0F5E5DF63D}"/>
              </a:ext>
            </a:extLst>
          </p:cNvPr>
          <p:cNvSpPr>
            <a:spLocks noGrp="1"/>
          </p:cNvSpPr>
          <p:nvPr>
            <p:ph type="body" idx="1001" hasCustomPrompt="1"/>
            <p:custDataLst>
              <p:custData r:id="rId2"/>
            </p:custDataLst>
          </p:nvPr>
        </p:nvSpPr>
        <p:spPr bwMode="auto">
          <a:xfrm>
            <a:off x="655467" y="6029326"/>
            <a:ext cx="2293341" cy="504825"/>
          </a:xfrm>
          <a:custGeom>
            <a:avLst/>
            <a:gdLst>
              <a:gd name="T0" fmla="*/ 416 w 7227"/>
              <a:gd name="T1" fmla="*/ 35 h 1587"/>
              <a:gd name="T2" fmla="*/ 576 w 7227"/>
              <a:gd name="T3" fmla="*/ 973 h 1587"/>
              <a:gd name="T4" fmla="*/ 1675 w 7227"/>
              <a:gd name="T5" fmla="*/ 696 h 1587"/>
              <a:gd name="T6" fmla="*/ 1870 w 7227"/>
              <a:gd name="T7" fmla="*/ 721 h 1587"/>
              <a:gd name="T8" fmla="*/ 2340 w 7227"/>
              <a:gd name="T9" fmla="*/ 696 h 1587"/>
              <a:gd name="T10" fmla="*/ 2903 w 7227"/>
              <a:gd name="T11" fmla="*/ 519 h 1587"/>
              <a:gd name="T12" fmla="*/ 1615 w 7227"/>
              <a:gd name="T13" fmla="*/ 1187 h 1587"/>
              <a:gd name="T14" fmla="*/ 1732 w 7227"/>
              <a:gd name="T15" fmla="*/ 1448 h 1587"/>
              <a:gd name="T16" fmla="*/ 1751 w 7227"/>
              <a:gd name="T17" fmla="*/ 1398 h 1587"/>
              <a:gd name="T18" fmla="*/ 1990 w 7227"/>
              <a:gd name="T19" fmla="*/ 1470 h 1587"/>
              <a:gd name="T20" fmla="*/ 1867 w 7227"/>
              <a:gd name="T21" fmla="*/ 1347 h 1587"/>
              <a:gd name="T22" fmla="*/ 2185 w 7227"/>
              <a:gd name="T23" fmla="*/ 1477 h 1587"/>
              <a:gd name="T24" fmla="*/ 2179 w 7227"/>
              <a:gd name="T25" fmla="*/ 1448 h 1587"/>
              <a:gd name="T26" fmla="*/ 2532 w 7227"/>
              <a:gd name="T27" fmla="*/ 1332 h 1587"/>
              <a:gd name="T28" fmla="*/ 2541 w 7227"/>
              <a:gd name="T29" fmla="*/ 1303 h 1587"/>
              <a:gd name="T30" fmla="*/ 2607 w 7227"/>
              <a:gd name="T31" fmla="*/ 1269 h 1587"/>
              <a:gd name="T32" fmla="*/ 2862 w 7227"/>
              <a:gd name="T33" fmla="*/ 1439 h 1587"/>
              <a:gd name="T34" fmla="*/ 2743 w 7227"/>
              <a:gd name="T35" fmla="*/ 1335 h 1587"/>
              <a:gd name="T36" fmla="*/ 2976 w 7227"/>
              <a:gd name="T37" fmla="*/ 1332 h 1587"/>
              <a:gd name="T38" fmla="*/ 2982 w 7227"/>
              <a:gd name="T39" fmla="*/ 1300 h 1587"/>
              <a:gd name="T40" fmla="*/ 3146 w 7227"/>
              <a:gd name="T41" fmla="*/ 1470 h 1587"/>
              <a:gd name="T42" fmla="*/ 3193 w 7227"/>
              <a:gd name="T43" fmla="*/ 1464 h 1587"/>
              <a:gd name="T44" fmla="*/ 3502 w 7227"/>
              <a:gd name="T45" fmla="*/ 1436 h 1587"/>
              <a:gd name="T46" fmla="*/ 3464 w 7227"/>
              <a:gd name="T47" fmla="*/ 1426 h 1587"/>
              <a:gd name="T48" fmla="*/ 3470 w 7227"/>
              <a:gd name="T49" fmla="*/ 1351 h 1587"/>
              <a:gd name="T50" fmla="*/ 3807 w 7227"/>
              <a:gd name="T51" fmla="*/ 1332 h 1587"/>
              <a:gd name="T52" fmla="*/ 3807 w 7227"/>
              <a:gd name="T53" fmla="*/ 1458 h 1587"/>
              <a:gd name="T54" fmla="*/ 3807 w 7227"/>
              <a:gd name="T55" fmla="*/ 1300 h 1587"/>
              <a:gd name="T56" fmla="*/ 3766 w 7227"/>
              <a:gd name="T57" fmla="*/ 1329 h 1587"/>
              <a:gd name="T58" fmla="*/ 3936 w 7227"/>
              <a:gd name="T59" fmla="*/ 1486 h 1587"/>
              <a:gd name="T60" fmla="*/ 4040 w 7227"/>
              <a:gd name="T61" fmla="*/ 1322 h 1587"/>
              <a:gd name="T62" fmla="*/ 4109 w 7227"/>
              <a:gd name="T63" fmla="*/ 1489 h 1587"/>
              <a:gd name="T64" fmla="*/ 4207 w 7227"/>
              <a:gd name="T65" fmla="*/ 1464 h 1587"/>
              <a:gd name="T66" fmla="*/ 4352 w 7227"/>
              <a:gd name="T67" fmla="*/ 1300 h 1587"/>
              <a:gd name="T68" fmla="*/ 4588 w 7227"/>
              <a:gd name="T69" fmla="*/ 1322 h 1587"/>
              <a:gd name="T70" fmla="*/ 4556 w 7227"/>
              <a:gd name="T71" fmla="*/ 1458 h 1587"/>
              <a:gd name="T72" fmla="*/ 4578 w 7227"/>
              <a:gd name="T73" fmla="*/ 1379 h 1587"/>
              <a:gd name="T74" fmla="*/ 4812 w 7227"/>
              <a:gd name="T75" fmla="*/ 1455 h 1587"/>
              <a:gd name="T76" fmla="*/ 4682 w 7227"/>
              <a:gd name="T77" fmla="*/ 1366 h 1587"/>
              <a:gd name="T78" fmla="*/ 4950 w 7227"/>
              <a:gd name="T79" fmla="*/ 1492 h 1587"/>
              <a:gd name="T80" fmla="*/ 4928 w 7227"/>
              <a:gd name="T81" fmla="*/ 1398 h 1587"/>
              <a:gd name="T82" fmla="*/ 4928 w 7227"/>
              <a:gd name="T83" fmla="*/ 1329 h 1587"/>
              <a:gd name="T84" fmla="*/ 5082 w 7227"/>
              <a:gd name="T85" fmla="*/ 1322 h 1587"/>
              <a:gd name="T86" fmla="*/ 5202 w 7227"/>
              <a:gd name="T87" fmla="*/ 1445 h 1587"/>
              <a:gd name="T88" fmla="*/ 5221 w 7227"/>
              <a:gd name="T89" fmla="*/ 1395 h 1587"/>
              <a:gd name="T90" fmla="*/ 5296 w 7227"/>
              <a:gd name="T91" fmla="*/ 1489 h 1587"/>
              <a:gd name="T92" fmla="*/ 5457 w 7227"/>
              <a:gd name="T93" fmla="*/ 1341 h 1587"/>
              <a:gd name="T94" fmla="*/ 5561 w 7227"/>
              <a:gd name="T95" fmla="*/ 1247 h 1587"/>
              <a:gd name="T96" fmla="*/ 5863 w 7227"/>
              <a:gd name="T97" fmla="*/ 1489 h 1587"/>
              <a:gd name="T98" fmla="*/ 5989 w 7227"/>
              <a:gd name="T99" fmla="*/ 1244 h 1587"/>
              <a:gd name="T100" fmla="*/ 6169 w 7227"/>
              <a:gd name="T101" fmla="*/ 1489 h 1587"/>
              <a:gd name="T102" fmla="*/ 6276 w 7227"/>
              <a:gd name="T103" fmla="*/ 1489 h 1587"/>
              <a:gd name="T104" fmla="*/ 6417 w 7227"/>
              <a:gd name="T105" fmla="*/ 1395 h 1587"/>
              <a:gd name="T106" fmla="*/ 6603 w 7227"/>
              <a:gd name="T107" fmla="*/ 1404 h 1587"/>
              <a:gd name="T108" fmla="*/ 6647 w 7227"/>
              <a:gd name="T109" fmla="*/ 1184 h 1587"/>
              <a:gd name="T110" fmla="*/ 6773 w 7227"/>
              <a:gd name="T111" fmla="*/ 1228 h 1587"/>
              <a:gd name="T112" fmla="*/ 6821 w 7227"/>
              <a:gd name="T113" fmla="*/ 1344 h 1587"/>
              <a:gd name="T114" fmla="*/ 7195 w 7227"/>
              <a:gd name="T115" fmla="*/ 1332 h 1587"/>
              <a:gd name="T116" fmla="*/ 7195 w 7227"/>
              <a:gd name="T117" fmla="*/ 1458 h 1587"/>
              <a:gd name="T118" fmla="*/ 7195 w 7227"/>
              <a:gd name="T119" fmla="*/ 1300 h 1587"/>
              <a:gd name="T120" fmla="*/ 7176 w 7227"/>
              <a:gd name="T121" fmla="*/ 1344 h 1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27" h="1587">
                <a:moveTo>
                  <a:pt x="809" y="0"/>
                </a:moveTo>
                <a:cubicBezTo>
                  <a:pt x="400" y="0"/>
                  <a:pt x="400" y="0"/>
                  <a:pt x="400" y="0"/>
                </a:cubicBezTo>
                <a:cubicBezTo>
                  <a:pt x="0" y="400"/>
                  <a:pt x="0" y="400"/>
                  <a:pt x="0" y="400"/>
                </a:cubicBezTo>
                <a:cubicBezTo>
                  <a:pt x="192" y="592"/>
                  <a:pt x="192" y="592"/>
                  <a:pt x="192" y="592"/>
                </a:cubicBezTo>
                <a:cubicBezTo>
                  <a:pt x="0" y="784"/>
                  <a:pt x="0" y="784"/>
                  <a:pt x="0" y="784"/>
                </a:cubicBezTo>
                <a:cubicBezTo>
                  <a:pt x="409" y="1190"/>
                  <a:pt x="409" y="1190"/>
                  <a:pt x="409" y="1190"/>
                </a:cubicBezTo>
                <a:cubicBezTo>
                  <a:pt x="601" y="998"/>
                  <a:pt x="601" y="998"/>
                  <a:pt x="601" y="998"/>
                </a:cubicBezTo>
                <a:cubicBezTo>
                  <a:pt x="790" y="1190"/>
                  <a:pt x="790" y="1190"/>
                  <a:pt x="790" y="1190"/>
                </a:cubicBezTo>
                <a:cubicBezTo>
                  <a:pt x="1190" y="790"/>
                  <a:pt x="1190" y="790"/>
                  <a:pt x="1190" y="790"/>
                </a:cubicBezTo>
                <a:cubicBezTo>
                  <a:pt x="1190" y="384"/>
                  <a:pt x="1190" y="384"/>
                  <a:pt x="1190" y="384"/>
                </a:cubicBezTo>
                <a:cubicBezTo>
                  <a:pt x="809" y="384"/>
                  <a:pt x="809" y="384"/>
                  <a:pt x="809" y="384"/>
                </a:cubicBezTo>
                <a:lnTo>
                  <a:pt x="809" y="0"/>
                </a:lnTo>
                <a:close/>
                <a:moveTo>
                  <a:pt x="50" y="400"/>
                </a:moveTo>
                <a:cubicBezTo>
                  <a:pt x="416" y="35"/>
                  <a:pt x="416" y="35"/>
                  <a:pt x="416" y="35"/>
                </a:cubicBezTo>
                <a:cubicBezTo>
                  <a:pt x="775" y="35"/>
                  <a:pt x="775" y="35"/>
                  <a:pt x="775" y="35"/>
                </a:cubicBezTo>
                <a:cubicBezTo>
                  <a:pt x="775" y="384"/>
                  <a:pt x="775" y="384"/>
                  <a:pt x="775" y="384"/>
                </a:cubicBezTo>
                <a:cubicBezTo>
                  <a:pt x="400" y="384"/>
                  <a:pt x="400" y="384"/>
                  <a:pt x="400" y="384"/>
                </a:cubicBezTo>
                <a:cubicBezTo>
                  <a:pt x="217" y="567"/>
                  <a:pt x="217" y="567"/>
                  <a:pt x="217" y="567"/>
                </a:cubicBezTo>
                <a:lnTo>
                  <a:pt x="50" y="400"/>
                </a:lnTo>
                <a:close/>
                <a:moveTo>
                  <a:pt x="749" y="419"/>
                </a:moveTo>
                <a:cubicBezTo>
                  <a:pt x="409" y="759"/>
                  <a:pt x="409" y="759"/>
                  <a:pt x="409" y="759"/>
                </a:cubicBezTo>
                <a:cubicBezTo>
                  <a:pt x="242" y="592"/>
                  <a:pt x="242" y="592"/>
                  <a:pt x="242" y="592"/>
                </a:cubicBezTo>
                <a:cubicBezTo>
                  <a:pt x="416" y="419"/>
                  <a:pt x="416" y="419"/>
                  <a:pt x="416" y="419"/>
                </a:cubicBezTo>
                <a:lnTo>
                  <a:pt x="749" y="419"/>
                </a:lnTo>
                <a:close/>
                <a:moveTo>
                  <a:pt x="409" y="1140"/>
                </a:moveTo>
                <a:cubicBezTo>
                  <a:pt x="50" y="784"/>
                  <a:pt x="50" y="784"/>
                  <a:pt x="50" y="784"/>
                </a:cubicBezTo>
                <a:cubicBezTo>
                  <a:pt x="217" y="617"/>
                  <a:pt x="217" y="617"/>
                  <a:pt x="217" y="617"/>
                </a:cubicBezTo>
                <a:cubicBezTo>
                  <a:pt x="576" y="973"/>
                  <a:pt x="576" y="973"/>
                  <a:pt x="576" y="973"/>
                </a:cubicBezTo>
                <a:lnTo>
                  <a:pt x="409" y="1140"/>
                </a:lnTo>
                <a:close/>
                <a:moveTo>
                  <a:pt x="434" y="784"/>
                </a:moveTo>
                <a:cubicBezTo>
                  <a:pt x="775" y="441"/>
                  <a:pt x="775" y="441"/>
                  <a:pt x="775" y="441"/>
                </a:cubicBezTo>
                <a:cubicBezTo>
                  <a:pt x="775" y="774"/>
                  <a:pt x="775" y="774"/>
                  <a:pt x="775" y="774"/>
                </a:cubicBezTo>
                <a:cubicBezTo>
                  <a:pt x="601" y="951"/>
                  <a:pt x="601" y="951"/>
                  <a:pt x="601" y="951"/>
                </a:cubicBezTo>
                <a:lnTo>
                  <a:pt x="434" y="784"/>
                </a:lnTo>
                <a:close/>
                <a:moveTo>
                  <a:pt x="1156" y="419"/>
                </a:moveTo>
                <a:cubicBezTo>
                  <a:pt x="1156" y="774"/>
                  <a:pt x="1156" y="774"/>
                  <a:pt x="1156" y="774"/>
                </a:cubicBezTo>
                <a:cubicBezTo>
                  <a:pt x="790" y="1140"/>
                  <a:pt x="790" y="1140"/>
                  <a:pt x="790" y="1140"/>
                </a:cubicBezTo>
                <a:cubicBezTo>
                  <a:pt x="623" y="973"/>
                  <a:pt x="623" y="973"/>
                  <a:pt x="623" y="973"/>
                </a:cubicBezTo>
                <a:cubicBezTo>
                  <a:pt x="809" y="790"/>
                  <a:pt x="809" y="790"/>
                  <a:pt x="809" y="790"/>
                </a:cubicBezTo>
                <a:cubicBezTo>
                  <a:pt x="809" y="419"/>
                  <a:pt x="809" y="419"/>
                  <a:pt x="809" y="419"/>
                </a:cubicBezTo>
                <a:lnTo>
                  <a:pt x="1156" y="419"/>
                </a:lnTo>
                <a:close/>
                <a:moveTo>
                  <a:pt x="1675" y="696"/>
                </a:moveTo>
                <a:cubicBezTo>
                  <a:pt x="1678" y="696"/>
                  <a:pt x="1678" y="696"/>
                  <a:pt x="1678" y="696"/>
                </a:cubicBezTo>
                <a:cubicBezTo>
                  <a:pt x="1713" y="759"/>
                  <a:pt x="1792" y="806"/>
                  <a:pt x="1886" y="806"/>
                </a:cubicBezTo>
                <a:cubicBezTo>
                  <a:pt x="2040" y="806"/>
                  <a:pt x="2160" y="683"/>
                  <a:pt x="2160" y="519"/>
                </a:cubicBezTo>
                <a:cubicBezTo>
                  <a:pt x="2160" y="356"/>
                  <a:pt x="2044" y="233"/>
                  <a:pt x="1874" y="233"/>
                </a:cubicBezTo>
                <a:cubicBezTo>
                  <a:pt x="1795" y="233"/>
                  <a:pt x="1729" y="271"/>
                  <a:pt x="1678" y="327"/>
                </a:cubicBezTo>
                <a:cubicBezTo>
                  <a:pt x="1675" y="327"/>
                  <a:pt x="1675" y="327"/>
                  <a:pt x="1675" y="327"/>
                </a:cubicBezTo>
                <a:cubicBezTo>
                  <a:pt x="1675" y="0"/>
                  <a:pt x="1675" y="0"/>
                  <a:pt x="1675" y="0"/>
                </a:cubicBezTo>
                <a:cubicBezTo>
                  <a:pt x="1584" y="0"/>
                  <a:pt x="1584" y="0"/>
                  <a:pt x="1584" y="0"/>
                </a:cubicBezTo>
                <a:cubicBezTo>
                  <a:pt x="1584" y="793"/>
                  <a:pt x="1584" y="793"/>
                  <a:pt x="1584" y="793"/>
                </a:cubicBezTo>
                <a:cubicBezTo>
                  <a:pt x="1675" y="793"/>
                  <a:pt x="1675" y="793"/>
                  <a:pt x="1675" y="793"/>
                </a:cubicBezTo>
                <a:lnTo>
                  <a:pt x="1675" y="696"/>
                </a:lnTo>
                <a:close/>
                <a:moveTo>
                  <a:pt x="1870" y="318"/>
                </a:moveTo>
                <a:cubicBezTo>
                  <a:pt x="1987" y="318"/>
                  <a:pt x="2063" y="406"/>
                  <a:pt x="2063" y="519"/>
                </a:cubicBezTo>
                <a:cubicBezTo>
                  <a:pt x="2063" y="636"/>
                  <a:pt x="1987" y="721"/>
                  <a:pt x="1870" y="721"/>
                </a:cubicBezTo>
                <a:cubicBezTo>
                  <a:pt x="1751" y="721"/>
                  <a:pt x="1675" y="633"/>
                  <a:pt x="1675" y="519"/>
                </a:cubicBezTo>
                <a:cubicBezTo>
                  <a:pt x="1675" y="406"/>
                  <a:pt x="1751" y="318"/>
                  <a:pt x="1870" y="318"/>
                </a:cubicBezTo>
                <a:close/>
                <a:moveTo>
                  <a:pt x="2340" y="696"/>
                </a:moveTo>
                <a:cubicBezTo>
                  <a:pt x="2343" y="696"/>
                  <a:pt x="2343" y="696"/>
                  <a:pt x="2343" y="696"/>
                </a:cubicBezTo>
                <a:cubicBezTo>
                  <a:pt x="2377" y="756"/>
                  <a:pt x="2453" y="806"/>
                  <a:pt x="2550" y="806"/>
                </a:cubicBezTo>
                <a:cubicBezTo>
                  <a:pt x="2705" y="806"/>
                  <a:pt x="2824" y="683"/>
                  <a:pt x="2824" y="519"/>
                </a:cubicBezTo>
                <a:cubicBezTo>
                  <a:pt x="2824" y="356"/>
                  <a:pt x="2708" y="233"/>
                  <a:pt x="2538" y="233"/>
                </a:cubicBezTo>
                <a:cubicBezTo>
                  <a:pt x="2459" y="233"/>
                  <a:pt x="2393" y="268"/>
                  <a:pt x="2343" y="327"/>
                </a:cubicBezTo>
                <a:cubicBezTo>
                  <a:pt x="2340" y="327"/>
                  <a:pt x="2340" y="327"/>
                  <a:pt x="2340" y="327"/>
                </a:cubicBezTo>
                <a:cubicBezTo>
                  <a:pt x="2340" y="249"/>
                  <a:pt x="2340" y="249"/>
                  <a:pt x="2340" y="249"/>
                </a:cubicBezTo>
                <a:cubicBezTo>
                  <a:pt x="2248" y="249"/>
                  <a:pt x="2248" y="249"/>
                  <a:pt x="2248" y="249"/>
                </a:cubicBezTo>
                <a:cubicBezTo>
                  <a:pt x="2248" y="1045"/>
                  <a:pt x="2248" y="1045"/>
                  <a:pt x="2248" y="1045"/>
                </a:cubicBezTo>
                <a:cubicBezTo>
                  <a:pt x="2340" y="1045"/>
                  <a:pt x="2340" y="1045"/>
                  <a:pt x="2340" y="1045"/>
                </a:cubicBezTo>
                <a:lnTo>
                  <a:pt x="2340" y="696"/>
                </a:lnTo>
                <a:close/>
                <a:moveTo>
                  <a:pt x="2531" y="318"/>
                </a:moveTo>
                <a:cubicBezTo>
                  <a:pt x="2652" y="318"/>
                  <a:pt x="2727" y="406"/>
                  <a:pt x="2727" y="519"/>
                </a:cubicBezTo>
                <a:cubicBezTo>
                  <a:pt x="2727" y="636"/>
                  <a:pt x="2652" y="721"/>
                  <a:pt x="2531" y="721"/>
                </a:cubicBezTo>
                <a:cubicBezTo>
                  <a:pt x="2415" y="721"/>
                  <a:pt x="2340" y="633"/>
                  <a:pt x="2340" y="519"/>
                </a:cubicBezTo>
                <a:cubicBezTo>
                  <a:pt x="2340" y="406"/>
                  <a:pt x="2415" y="318"/>
                  <a:pt x="2531" y="318"/>
                </a:cubicBezTo>
                <a:close/>
                <a:moveTo>
                  <a:pt x="3388" y="696"/>
                </a:moveTo>
                <a:cubicBezTo>
                  <a:pt x="3388" y="793"/>
                  <a:pt x="3388" y="793"/>
                  <a:pt x="3388" y="793"/>
                </a:cubicBezTo>
                <a:cubicBezTo>
                  <a:pt x="3479" y="793"/>
                  <a:pt x="3479" y="793"/>
                  <a:pt x="3479" y="793"/>
                </a:cubicBezTo>
                <a:cubicBezTo>
                  <a:pt x="3479" y="0"/>
                  <a:pt x="3479" y="0"/>
                  <a:pt x="3479" y="0"/>
                </a:cubicBezTo>
                <a:cubicBezTo>
                  <a:pt x="3388" y="0"/>
                  <a:pt x="3388" y="0"/>
                  <a:pt x="3388" y="0"/>
                </a:cubicBezTo>
                <a:cubicBezTo>
                  <a:pt x="3388" y="327"/>
                  <a:pt x="3388" y="327"/>
                  <a:pt x="3388" y="327"/>
                </a:cubicBezTo>
                <a:cubicBezTo>
                  <a:pt x="3385" y="327"/>
                  <a:pt x="3385" y="327"/>
                  <a:pt x="3385" y="327"/>
                </a:cubicBezTo>
                <a:cubicBezTo>
                  <a:pt x="3334" y="268"/>
                  <a:pt x="3269" y="233"/>
                  <a:pt x="3190" y="233"/>
                </a:cubicBezTo>
                <a:cubicBezTo>
                  <a:pt x="3020" y="233"/>
                  <a:pt x="2903" y="356"/>
                  <a:pt x="2903" y="519"/>
                </a:cubicBezTo>
                <a:cubicBezTo>
                  <a:pt x="2903" y="683"/>
                  <a:pt x="3023" y="806"/>
                  <a:pt x="3177" y="806"/>
                </a:cubicBezTo>
                <a:cubicBezTo>
                  <a:pt x="3275" y="806"/>
                  <a:pt x="3353" y="759"/>
                  <a:pt x="3385" y="696"/>
                </a:cubicBezTo>
                <a:lnTo>
                  <a:pt x="3388" y="696"/>
                </a:lnTo>
                <a:close/>
                <a:moveTo>
                  <a:pt x="3196" y="721"/>
                </a:moveTo>
                <a:cubicBezTo>
                  <a:pt x="3076" y="721"/>
                  <a:pt x="3001" y="633"/>
                  <a:pt x="3001" y="519"/>
                </a:cubicBezTo>
                <a:cubicBezTo>
                  <a:pt x="3001" y="406"/>
                  <a:pt x="3076" y="318"/>
                  <a:pt x="3196" y="318"/>
                </a:cubicBezTo>
                <a:cubicBezTo>
                  <a:pt x="3313" y="318"/>
                  <a:pt x="3388" y="406"/>
                  <a:pt x="3388" y="519"/>
                </a:cubicBezTo>
                <a:cubicBezTo>
                  <a:pt x="3388" y="636"/>
                  <a:pt x="3313" y="721"/>
                  <a:pt x="3196" y="721"/>
                </a:cubicBezTo>
                <a:close/>
                <a:moveTo>
                  <a:pt x="1757" y="1329"/>
                </a:moveTo>
                <a:cubicBezTo>
                  <a:pt x="1748" y="1319"/>
                  <a:pt x="1738" y="1313"/>
                  <a:pt x="1725" y="1307"/>
                </a:cubicBezTo>
                <a:cubicBezTo>
                  <a:pt x="1713" y="1300"/>
                  <a:pt x="1700" y="1300"/>
                  <a:pt x="1685" y="1300"/>
                </a:cubicBezTo>
                <a:cubicBezTo>
                  <a:pt x="1672" y="1300"/>
                  <a:pt x="1660" y="1303"/>
                  <a:pt x="1647" y="1307"/>
                </a:cubicBezTo>
                <a:cubicBezTo>
                  <a:pt x="1634" y="1313"/>
                  <a:pt x="1625" y="1322"/>
                  <a:pt x="1615" y="1332"/>
                </a:cubicBezTo>
                <a:cubicBezTo>
                  <a:pt x="1615" y="1187"/>
                  <a:pt x="1615" y="1187"/>
                  <a:pt x="1615" y="1187"/>
                </a:cubicBezTo>
                <a:cubicBezTo>
                  <a:pt x="1584" y="1187"/>
                  <a:pt x="1584" y="1187"/>
                  <a:pt x="1584" y="1187"/>
                </a:cubicBezTo>
                <a:cubicBezTo>
                  <a:pt x="1584" y="1492"/>
                  <a:pt x="1584" y="1492"/>
                  <a:pt x="1584" y="1492"/>
                </a:cubicBezTo>
                <a:cubicBezTo>
                  <a:pt x="1615" y="1492"/>
                  <a:pt x="1615" y="1492"/>
                  <a:pt x="1615" y="1492"/>
                </a:cubicBezTo>
                <a:cubicBezTo>
                  <a:pt x="1615" y="1458"/>
                  <a:pt x="1615" y="1458"/>
                  <a:pt x="1615" y="1458"/>
                </a:cubicBezTo>
                <a:cubicBezTo>
                  <a:pt x="1622" y="1470"/>
                  <a:pt x="1631" y="1480"/>
                  <a:pt x="1644" y="1486"/>
                </a:cubicBezTo>
                <a:cubicBezTo>
                  <a:pt x="1656" y="1492"/>
                  <a:pt x="1672" y="1499"/>
                  <a:pt x="1688" y="1499"/>
                </a:cubicBezTo>
                <a:cubicBezTo>
                  <a:pt x="1704" y="1499"/>
                  <a:pt x="1713" y="1495"/>
                  <a:pt x="1725" y="1489"/>
                </a:cubicBezTo>
                <a:cubicBezTo>
                  <a:pt x="1738" y="1486"/>
                  <a:pt x="1748" y="1477"/>
                  <a:pt x="1757" y="1470"/>
                </a:cubicBezTo>
                <a:cubicBezTo>
                  <a:pt x="1763" y="1461"/>
                  <a:pt x="1773" y="1451"/>
                  <a:pt x="1776" y="1439"/>
                </a:cubicBezTo>
                <a:cubicBezTo>
                  <a:pt x="1779" y="1426"/>
                  <a:pt x="1782" y="1414"/>
                  <a:pt x="1782" y="1398"/>
                </a:cubicBezTo>
                <a:cubicBezTo>
                  <a:pt x="1782" y="1385"/>
                  <a:pt x="1782" y="1370"/>
                  <a:pt x="1776" y="1360"/>
                </a:cubicBezTo>
                <a:cubicBezTo>
                  <a:pt x="1770" y="1347"/>
                  <a:pt x="1763" y="1335"/>
                  <a:pt x="1757" y="1329"/>
                </a:cubicBezTo>
                <a:close/>
                <a:moveTo>
                  <a:pt x="1744" y="1426"/>
                </a:moveTo>
                <a:cubicBezTo>
                  <a:pt x="1741" y="1436"/>
                  <a:pt x="1738" y="1442"/>
                  <a:pt x="1732" y="1448"/>
                </a:cubicBezTo>
                <a:cubicBezTo>
                  <a:pt x="1725" y="1455"/>
                  <a:pt x="1719" y="1458"/>
                  <a:pt x="1710" y="1464"/>
                </a:cubicBezTo>
                <a:cubicBezTo>
                  <a:pt x="1704" y="1467"/>
                  <a:pt x="1694" y="1467"/>
                  <a:pt x="1681" y="1467"/>
                </a:cubicBezTo>
                <a:cubicBezTo>
                  <a:pt x="1672" y="1467"/>
                  <a:pt x="1663" y="1467"/>
                  <a:pt x="1656" y="1464"/>
                </a:cubicBezTo>
                <a:cubicBezTo>
                  <a:pt x="1647" y="1461"/>
                  <a:pt x="1641" y="1455"/>
                  <a:pt x="1634" y="1448"/>
                </a:cubicBezTo>
                <a:cubicBezTo>
                  <a:pt x="1628" y="1442"/>
                  <a:pt x="1625" y="1436"/>
                  <a:pt x="1622" y="1426"/>
                </a:cubicBezTo>
                <a:cubicBezTo>
                  <a:pt x="1618" y="1417"/>
                  <a:pt x="1615" y="1407"/>
                  <a:pt x="1615" y="1398"/>
                </a:cubicBezTo>
                <a:cubicBezTo>
                  <a:pt x="1615" y="1388"/>
                  <a:pt x="1618" y="1379"/>
                  <a:pt x="1622" y="1370"/>
                </a:cubicBezTo>
                <a:cubicBezTo>
                  <a:pt x="1625" y="1363"/>
                  <a:pt x="1628" y="1354"/>
                  <a:pt x="1634" y="1347"/>
                </a:cubicBezTo>
                <a:cubicBezTo>
                  <a:pt x="1641" y="1341"/>
                  <a:pt x="1647" y="1338"/>
                  <a:pt x="1656" y="1335"/>
                </a:cubicBezTo>
                <a:cubicBezTo>
                  <a:pt x="1663" y="1329"/>
                  <a:pt x="1672" y="1329"/>
                  <a:pt x="1681" y="1329"/>
                </a:cubicBezTo>
                <a:cubicBezTo>
                  <a:pt x="1694" y="1329"/>
                  <a:pt x="1704" y="1329"/>
                  <a:pt x="1710" y="1335"/>
                </a:cubicBezTo>
                <a:cubicBezTo>
                  <a:pt x="1719" y="1338"/>
                  <a:pt x="1725" y="1341"/>
                  <a:pt x="1732" y="1347"/>
                </a:cubicBezTo>
                <a:cubicBezTo>
                  <a:pt x="1738" y="1354"/>
                  <a:pt x="1741" y="1363"/>
                  <a:pt x="1744" y="1370"/>
                </a:cubicBezTo>
                <a:cubicBezTo>
                  <a:pt x="1748" y="1379"/>
                  <a:pt x="1751" y="1388"/>
                  <a:pt x="1751" y="1398"/>
                </a:cubicBezTo>
                <a:cubicBezTo>
                  <a:pt x="1751" y="1407"/>
                  <a:pt x="1748" y="1417"/>
                  <a:pt x="1744" y="1426"/>
                </a:cubicBezTo>
                <a:close/>
                <a:moveTo>
                  <a:pt x="1990" y="1329"/>
                </a:moveTo>
                <a:cubicBezTo>
                  <a:pt x="1981" y="1319"/>
                  <a:pt x="1968" y="1313"/>
                  <a:pt x="1958" y="1307"/>
                </a:cubicBezTo>
                <a:cubicBezTo>
                  <a:pt x="1946" y="1303"/>
                  <a:pt x="1930" y="1300"/>
                  <a:pt x="1918" y="1300"/>
                </a:cubicBezTo>
                <a:cubicBezTo>
                  <a:pt x="1902" y="1300"/>
                  <a:pt x="1889" y="1300"/>
                  <a:pt x="1877" y="1307"/>
                </a:cubicBezTo>
                <a:cubicBezTo>
                  <a:pt x="1864" y="1313"/>
                  <a:pt x="1855" y="1319"/>
                  <a:pt x="1845" y="1329"/>
                </a:cubicBezTo>
                <a:cubicBezTo>
                  <a:pt x="1836" y="1335"/>
                  <a:pt x="1830" y="1347"/>
                  <a:pt x="1823" y="1357"/>
                </a:cubicBezTo>
                <a:cubicBezTo>
                  <a:pt x="1820" y="1370"/>
                  <a:pt x="1817" y="1382"/>
                  <a:pt x="1817" y="1398"/>
                </a:cubicBezTo>
                <a:cubicBezTo>
                  <a:pt x="1817" y="1414"/>
                  <a:pt x="1820" y="1426"/>
                  <a:pt x="1823" y="1439"/>
                </a:cubicBezTo>
                <a:cubicBezTo>
                  <a:pt x="1830" y="1451"/>
                  <a:pt x="1836" y="1461"/>
                  <a:pt x="1845" y="1470"/>
                </a:cubicBezTo>
                <a:cubicBezTo>
                  <a:pt x="1855" y="1477"/>
                  <a:pt x="1864" y="1486"/>
                  <a:pt x="1877" y="1489"/>
                </a:cubicBezTo>
                <a:cubicBezTo>
                  <a:pt x="1889" y="1495"/>
                  <a:pt x="1902" y="1495"/>
                  <a:pt x="1918" y="1495"/>
                </a:cubicBezTo>
                <a:cubicBezTo>
                  <a:pt x="1930" y="1495"/>
                  <a:pt x="1946" y="1495"/>
                  <a:pt x="1958" y="1489"/>
                </a:cubicBezTo>
                <a:cubicBezTo>
                  <a:pt x="1971" y="1486"/>
                  <a:pt x="1981" y="1480"/>
                  <a:pt x="1990" y="1470"/>
                </a:cubicBezTo>
                <a:cubicBezTo>
                  <a:pt x="2000" y="1461"/>
                  <a:pt x="2006" y="1451"/>
                  <a:pt x="2009" y="1439"/>
                </a:cubicBezTo>
                <a:cubicBezTo>
                  <a:pt x="2015" y="1426"/>
                  <a:pt x="2018" y="1414"/>
                  <a:pt x="2018" y="1398"/>
                </a:cubicBezTo>
                <a:cubicBezTo>
                  <a:pt x="2018" y="1382"/>
                  <a:pt x="2015" y="1370"/>
                  <a:pt x="2009" y="1357"/>
                </a:cubicBezTo>
                <a:cubicBezTo>
                  <a:pt x="2006" y="1347"/>
                  <a:pt x="2000" y="1335"/>
                  <a:pt x="1990" y="1329"/>
                </a:cubicBezTo>
                <a:close/>
                <a:moveTo>
                  <a:pt x="1981" y="1426"/>
                </a:moveTo>
                <a:cubicBezTo>
                  <a:pt x="1977" y="1436"/>
                  <a:pt x="1971" y="1442"/>
                  <a:pt x="1965" y="1448"/>
                </a:cubicBezTo>
                <a:cubicBezTo>
                  <a:pt x="1958" y="1455"/>
                  <a:pt x="1952" y="1458"/>
                  <a:pt x="1946" y="1464"/>
                </a:cubicBezTo>
                <a:cubicBezTo>
                  <a:pt x="1937" y="1467"/>
                  <a:pt x="1927" y="1467"/>
                  <a:pt x="1918" y="1467"/>
                </a:cubicBezTo>
                <a:cubicBezTo>
                  <a:pt x="1905" y="1467"/>
                  <a:pt x="1899" y="1467"/>
                  <a:pt x="1889" y="1464"/>
                </a:cubicBezTo>
                <a:cubicBezTo>
                  <a:pt x="1880" y="1461"/>
                  <a:pt x="1874" y="1455"/>
                  <a:pt x="1867" y="1448"/>
                </a:cubicBezTo>
                <a:cubicBezTo>
                  <a:pt x="1861" y="1442"/>
                  <a:pt x="1858" y="1436"/>
                  <a:pt x="1855" y="1426"/>
                </a:cubicBezTo>
                <a:cubicBezTo>
                  <a:pt x="1851" y="1417"/>
                  <a:pt x="1851" y="1407"/>
                  <a:pt x="1851" y="1398"/>
                </a:cubicBezTo>
                <a:cubicBezTo>
                  <a:pt x="1851" y="1388"/>
                  <a:pt x="1851" y="1379"/>
                  <a:pt x="1855" y="1370"/>
                </a:cubicBezTo>
                <a:cubicBezTo>
                  <a:pt x="1858" y="1363"/>
                  <a:pt x="1861" y="1354"/>
                  <a:pt x="1867" y="1347"/>
                </a:cubicBezTo>
                <a:cubicBezTo>
                  <a:pt x="1874" y="1341"/>
                  <a:pt x="1880" y="1338"/>
                  <a:pt x="1889" y="1335"/>
                </a:cubicBezTo>
                <a:cubicBezTo>
                  <a:pt x="1899" y="1329"/>
                  <a:pt x="1908" y="1329"/>
                  <a:pt x="1918" y="1329"/>
                </a:cubicBezTo>
                <a:cubicBezTo>
                  <a:pt x="1927" y="1329"/>
                  <a:pt x="1937" y="1329"/>
                  <a:pt x="1946" y="1335"/>
                </a:cubicBezTo>
                <a:cubicBezTo>
                  <a:pt x="1952" y="1338"/>
                  <a:pt x="1958" y="1341"/>
                  <a:pt x="1965" y="1347"/>
                </a:cubicBezTo>
                <a:cubicBezTo>
                  <a:pt x="1971" y="1354"/>
                  <a:pt x="1977" y="1363"/>
                  <a:pt x="1981" y="1370"/>
                </a:cubicBezTo>
                <a:cubicBezTo>
                  <a:pt x="1981" y="1379"/>
                  <a:pt x="1984" y="1388"/>
                  <a:pt x="1984" y="1398"/>
                </a:cubicBezTo>
                <a:cubicBezTo>
                  <a:pt x="1984" y="1407"/>
                  <a:pt x="1981" y="1417"/>
                  <a:pt x="1981" y="1426"/>
                </a:cubicBezTo>
                <a:close/>
                <a:moveTo>
                  <a:pt x="2223" y="1448"/>
                </a:moveTo>
                <a:cubicBezTo>
                  <a:pt x="2223" y="1458"/>
                  <a:pt x="2223" y="1464"/>
                  <a:pt x="2226" y="1473"/>
                </a:cubicBezTo>
                <a:cubicBezTo>
                  <a:pt x="2226" y="1480"/>
                  <a:pt x="2226" y="1486"/>
                  <a:pt x="2226" y="1492"/>
                </a:cubicBezTo>
                <a:cubicBezTo>
                  <a:pt x="2195" y="1492"/>
                  <a:pt x="2195" y="1492"/>
                  <a:pt x="2195" y="1492"/>
                </a:cubicBezTo>
                <a:cubicBezTo>
                  <a:pt x="2195" y="1489"/>
                  <a:pt x="2195" y="1483"/>
                  <a:pt x="2195" y="1477"/>
                </a:cubicBezTo>
                <a:cubicBezTo>
                  <a:pt x="2195" y="1473"/>
                  <a:pt x="2195" y="1467"/>
                  <a:pt x="2195" y="1461"/>
                </a:cubicBezTo>
                <a:cubicBezTo>
                  <a:pt x="2191" y="1467"/>
                  <a:pt x="2189" y="1470"/>
                  <a:pt x="2185" y="1477"/>
                </a:cubicBezTo>
                <a:cubicBezTo>
                  <a:pt x="2182" y="1480"/>
                  <a:pt x="2176" y="1483"/>
                  <a:pt x="2170" y="1486"/>
                </a:cubicBezTo>
                <a:cubicBezTo>
                  <a:pt x="2166" y="1489"/>
                  <a:pt x="2160" y="1492"/>
                  <a:pt x="2154" y="1495"/>
                </a:cubicBezTo>
                <a:cubicBezTo>
                  <a:pt x="2147" y="1495"/>
                  <a:pt x="2138" y="1499"/>
                  <a:pt x="2132" y="1499"/>
                </a:cubicBezTo>
                <a:cubicBezTo>
                  <a:pt x="2119" y="1499"/>
                  <a:pt x="2107" y="1495"/>
                  <a:pt x="2100" y="1492"/>
                </a:cubicBezTo>
                <a:cubicBezTo>
                  <a:pt x="2091" y="1489"/>
                  <a:pt x="2081" y="1483"/>
                  <a:pt x="2078" y="1477"/>
                </a:cubicBezTo>
                <a:cubicBezTo>
                  <a:pt x="2072" y="1470"/>
                  <a:pt x="2066" y="1461"/>
                  <a:pt x="2063" y="1451"/>
                </a:cubicBezTo>
                <a:cubicBezTo>
                  <a:pt x="2063" y="1442"/>
                  <a:pt x="2059" y="1432"/>
                  <a:pt x="2059" y="1423"/>
                </a:cubicBezTo>
                <a:cubicBezTo>
                  <a:pt x="2059" y="1303"/>
                  <a:pt x="2059" y="1303"/>
                  <a:pt x="2059" y="1303"/>
                </a:cubicBezTo>
                <a:cubicBezTo>
                  <a:pt x="2091" y="1303"/>
                  <a:pt x="2091" y="1303"/>
                  <a:pt x="2091" y="1303"/>
                </a:cubicBezTo>
                <a:cubicBezTo>
                  <a:pt x="2091" y="1417"/>
                  <a:pt x="2091" y="1417"/>
                  <a:pt x="2091" y="1417"/>
                </a:cubicBezTo>
                <a:cubicBezTo>
                  <a:pt x="2091" y="1432"/>
                  <a:pt x="2094" y="1445"/>
                  <a:pt x="2100" y="1455"/>
                </a:cubicBezTo>
                <a:cubicBezTo>
                  <a:pt x="2110" y="1464"/>
                  <a:pt x="2119" y="1470"/>
                  <a:pt x="2135" y="1470"/>
                </a:cubicBezTo>
                <a:cubicBezTo>
                  <a:pt x="2144" y="1470"/>
                  <a:pt x="2154" y="1467"/>
                  <a:pt x="2160" y="1464"/>
                </a:cubicBezTo>
                <a:cubicBezTo>
                  <a:pt x="2170" y="1461"/>
                  <a:pt x="2176" y="1455"/>
                  <a:pt x="2179" y="1448"/>
                </a:cubicBezTo>
                <a:cubicBezTo>
                  <a:pt x="2182" y="1442"/>
                  <a:pt x="2189" y="1436"/>
                  <a:pt x="2189" y="1426"/>
                </a:cubicBezTo>
                <a:cubicBezTo>
                  <a:pt x="2191" y="1417"/>
                  <a:pt x="2191" y="1407"/>
                  <a:pt x="2191" y="1398"/>
                </a:cubicBezTo>
                <a:cubicBezTo>
                  <a:pt x="2191" y="1303"/>
                  <a:pt x="2191" y="1303"/>
                  <a:pt x="2191" y="1303"/>
                </a:cubicBezTo>
                <a:cubicBezTo>
                  <a:pt x="2223" y="1303"/>
                  <a:pt x="2223" y="1303"/>
                  <a:pt x="2223" y="1303"/>
                </a:cubicBezTo>
                <a:lnTo>
                  <a:pt x="2223" y="1448"/>
                </a:lnTo>
                <a:close/>
                <a:moveTo>
                  <a:pt x="2607" y="1269"/>
                </a:moveTo>
                <a:cubicBezTo>
                  <a:pt x="2607" y="1303"/>
                  <a:pt x="2607" y="1303"/>
                  <a:pt x="2607" y="1303"/>
                </a:cubicBezTo>
                <a:cubicBezTo>
                  <a:pt x="2654" y="1303"/>
                  <a:pt x="2654" y="1303"/>
                  <a:pt x="2654" y="1303"/>
                </a:cubicBezTo>
                <a:cubicBezTo>
                  <a:pt x="2654" y="1332"/>
                  <a:pt x="2654" y="1332"/>
                  <a:pt x="2654" y="1332"/>
                </a:cubicBezTo>
                <a:cubicBezTo>
                  <a:pt x="2607" y="1332"/>
                  <a:pt x="2607" y="1332"/>
                  <a:pt x="2607" y="1332"/>
                </a:cubicBezTo>
                <a:cubicBezTo>
                  <a:pt x="2607" y="1492"/>
                  <a:pt x="2607" y="1492"/>
                  <a:pt x="2607" y="1492"/>
                </a:cubicBezTo>
                <a:cubicBezTo>
                  <a:pt x="2576" y="1492"/>
                  <a:pt x="2576" y="1492"/>
                  <a:pt x="2576" y="1492"/>
                </a:cubicBezTo>
                <a:cubicBezTo>
                  <a:pt x="2576" y="1332"/>
                  <a:pt x="2576" y="1332"/>
                  <a:pt x="2576" y="1332"/>
                </a:cubicBezTo>
                <a:cubicBezTo>
                  <a:pt x="2532" y="1332"/>
                  <a:pt x="2532" y="1332"/>
                  <a:pt x="2532" y="1332"/>
                </a:cubicBezTo>
                <a:cubicBezTo>
                  <a:pt x="2481" y="1492"/>
                  <a:pt x="2481" y="1492"/>
                  <a:pt x="2481" y="1492"/>
                </a:cubicBezTo>
                <a:cubicBezTo>
                  <a:pt x="2450" y="1492"/>
                  <a:pt x="2450" y="1492"/>
                  <a:pt x="2450" y="1492"/>
                </a:cubicBezTo>
                <a:cubicBezTo>
                  <a:pt x="2396" y="1347"/>
                  <a:pt x="2396" y="1347"/>
                  <a:pt x="2396" y="1347"/>
                </a:cubicBezTo>
                <a:cubicBezTo>
                  <a:pt x="2349" y="1492"/>
                  <a:pt x="2349" y="1492"/>
                  <a:pt x="2349" y="1492"/>
                </a:cubicBezTo>
                <a:cubicBezTo>
                  <a:pt x="2314" y="1492"/>
                  <a:pt x="2314" y="1492"/>
                  <a:pt x="2314" y="1492"/>
                </a:cubicBezTo>
                <a:cubicBezTo>
                  <a:pt x="2254" y="1303"/>
                  <a:pt x="2254" y="1303"/>
                  <a:pt x="2254" y="1303"/>
                </a:cubicBezTo>
                <a:cubicBezTo>
                  <a:pt x="2289" y="1303"/>
                  <a:pt x="2289" y="1303"/>
                  <a:pt x="2289" y="1303"/>
                </a:cubicBezTo>
                <a:cubicBezTo>
                  <a:pt x="2333" y="1448"/>
                  <a:pt x="2333" y="1448"/>
                  <a:pt x="2333" y="1448"/>
                </a:cubicBezTo>
                <a:cubicBezTo>
                  <a:pt x="2384" y="1303"/>
                  <a:pt x="2384" y="1303"/>
                  <a:pt x="2384" y="1303"/>
                </a:cubicBezTo>
                <a:cubicBezTo>
                  <a:pt x="2415" y="1303"/>
                  <a:pt x="2415" y="1303"/>
                  <a:pt x="2415" y="1303"/>
                </a:cubicBezTo>
                <a:cubicBezTo>
                  <a:pt x="2466" y="1448"/>
                  <a:pt x="2466" y="1448"/>
                  <a:pt x="2466" y="1448"/>
                </a:cubicBezTo>
                <a:cubicBezTo>
                  <a:pt x="2510" y="1303"/>
                  <a:pt x="2510" y="1303"/>
                  <a:pt x="2510" y="1303"/>
                </a:cubicBezTo>
                <a:cubicBezTo>
                  <a:pt x="2519" y="1303"/>
                  <a:pt x="2519" y="1303"/>
                  <a:pt x="2519" y="1303"/>
                </a:cubicBezTo>
                <a:cubicBezTo>
                  <a:pt x="2541" y="1303"/>
                  <a:pt x="2541" y="1303"/>
                  <a:pt x="2541" y="1303"/>
                </a:cubicBezTo>
                <a:cubicBezTo>
                  <a:pt x="2576" y="1303"/>
                  <a:pt x="2576" y="1303"/>
                  <a:pt x="2576" y="1303"/>
                </a:cubicBezTo>
                <a:cubicBezTo>
                  <a:pt x="2576" y="1262"/>
                  <a:pt x="2576" y="1262"/>
                  <a:pt x="2576" y="1262"/>
                </a:cubicBezTo>
                <a:cubicBezTo>
                  <a:pt x="2576" y="1250"/>
                  <a:pt x="2579" y="1240"/>
                  <a:pt x="2579" y="1231"/>
                </a:cubicBezTo>
                <a:cubicBezTo>
                  <a:pt x="2582" y="1222"/>
                  <a:pt x="2585" y="1212"/>
                  <a:pt x="2591" y="1206"/>
                </a:cubicBezTo>
                <a:cubicBezTo>
                  <a:pt x="2598" y="1200"/>
                  <a:pt x="2604" y="1193"/>
                  <a:pt x="2610" y="1190"/>
                </a:cubicBezTo>
                <a:cubicBezTo>
                  <a:pt x="2620" y="1187"/>
                  <a:pt x="2633" y="1184"/>
                  <a:pt x="2645" y="1184"/>
                </a:cubicBezTo>
                <a:cubicBezTo>
                  <a:pt x="2648" y="1184"/>
                  <a:pt x="2652" y="1184"/>
                  <a:pt x="2658" y="1184"/>
                </a:cubicBezTo>
                <a:cubicBezTo>
                  <a:pt x="2661" y="1187"/>
                  <a:pt x="2664" y="1187"/>
                  <a:pt x="2667" y="1190"/>
                </a:cubicBezTo>
                <a:cubicBezTo>
                  <a:pt x="2664" y="1215"/>
                  <a:pt x="2664" y="1215"/>
                  <a:pt x="2664" y="1215"/>
                </a:cubicBezTo>
                <a:cubicBezTo>
                  <a:pt x="2654" y="1215"/>
                  <a:pt x="2648" y="1212"/>
                  <a:pt x="2642" y="1212"/>
                </a:cubicBezTo>
                <a:cubicBezTo>
                  <a:pt x="2636" y="1212"/>
                  <a:pt x="2629" y="1212"/>
                  <a:pt x="2623" y="1215"/>
                </a:cubicBezTo>
                <a:cubicBezTo>
                  <a:pt x="2620" y="1218"/>
                  <a:pt x="2617" y="1225"/>
                  <a:pt x="2613" y="1228"/>
                </a:cubicBezTo>
                <a:cubicBezTo>
                  <a:pt x="2610" y="1234"/>
                  <a:pt x="2610" y="1240"/>
                  <a:pt x="2610" y="1247"/>
                </a:cubicBezTo>
                <a:cubicBezTo>
                  <a:pt x="2607" y="1253"/>
                  <a:pt x="2607" y="1262"/>
                  <a:pt x="2607" y="1269"/>
                </a:cubicBezTo>
                <a:close/>
                <a:moveTo>
                  <a:pt x="2840" y="1329"/>
                </a:moveTo>
                <a:cubicBezTo>
                  <a:pt x="2834" y="1319"/>
                  <a:pt x="2822" y="1313"/>
                  <a:pt x="2809" y="1307"/>
                </a:cubicBezTo>
                <a:cubicBezTo>
                  <a:pt x="2796" y="1303"/>
                  <a:pt x="2784" y="1300"/>
                  <a:pt x="2768" y="1300"/>
                </a:cubicBezTo>
                <a:cubicBezTo>
                  <a:pt x="2755" y="1300"/>
                  <a:pt x="2743" y="1300"/>
                  <a:pt x="2730" y="1307"/>
                </a:cubicBezTo>
                <a:cubicBezTo>
                  <a:pt x="2717" y="1313"/>
                  <a:pt x="2705" y="1319"/>
                  <a:pt x="2699" y="1329"/>
                </a:cubicBezTo>
                <a:cubicBezTo>
                  <a:pt x="2689" y="1335"/>
                  <a:pt x="2680" y="1347"/>
                  <a:pt x="2677" y="1357"/>
                </a:cubicBezTo>
                <a:cubicBezTo>
                  <a:pt x="2670" y="1370"/>
                  <a:pt x="2667" y="1382"/>
                  <a:pt x="2667" y="1398"/>
                </a:cubicBezTo>
                <a:cubicBezTo>
                  <a:pt x="2667" y="1414"/>
                  <a:pt x="2670" y="1426"/>
                  <a:pt x="2677" y="1439"/>
                </a:cubicBezTo>
                <a:cubicBezTo>
                  <a:pt x="2680" y="1451"/>
                  <a:pt x="2689" y="1461"/>
                  <a:pt x="2699" y="1470"/>
                </a:cubicBezTo>
                <a:cubicBezTo>
                  <a:pt x="2705" y="1477"/>
                  <a:pt x="2717" y="1486"/>
                  <a:pt x="2730" y="1489"/>
                </a:cubicBezTo>
                <a:cubicBezTo>
                  <a:pt x="2743" y="1495"/>
                  <a:pt x="2755" y="1495"/>
                  <a:pt x="2768" y="1495"/>
                </a:cubicBezTo>
                <a:cubicBezTo>
                  <a:pt x="2784" y="1495"/>
                  <a:pt x="2796" y="1495"/>
                  <a:pt x="2809" y="1489"/>
                </a:cubicBezTo>
                <a:cubicBezTo>
                  <a:pt x="2822" y="1486"/>
                  <a:pt x="2834" y="1480"/>
                  <a:pt x="2840" y="1470"/>
                </a:cubicBezTo>
                <a:cubicBezTo>
                  <a:pt x="2850" y="1461"/>
                  <a:pt x="2856" y="1451"/>
                  <a:pt x="2862" y="1439"/>
                </a:cubicBezTo>
                <a:cubicBezTo>
                  <a:pt x="2869" y="1426"/>
                  <a:pt x="2869" y="1414"/>
                  <a:pt x="2869" y="1398"/>
                </a:cubicBezTo>
                <a:cubicBezTo>
                  <a:pt x="2869" y="1382"/>
                  <a:pt x="2869" y="1370"/>
                  <a:pt x="2862" y="1357"/>
                </a:cubicBezTo>
                <a:cubicBezTo>
                  <a:pt x="2856" y="1347"/>
                  <a:pt x="2850" y="1335"/>
                  <a:pt x="2840" y="1329"/>
                </a:cubicBezTo>
                <a:close/>
                <a:moveTo>
                  <a:pt x="2831" y="1426"/>
                </a:moveTo>
                <a:cubicBezTo>
                  <a:pt x="2828" y="1436"/>
                  <a:pt x="2824" y="1442"/>
                  <a:pt x="2818" y="1448"/>
                </a:cubicBezTo>
                <a:cubicBezTo>
                  <a:pt x="2812" y="1455"/>
                  <a:pt x="2806" y="1458"/>
                  <a:pt x="2796" y="1464"/>
                </a:cubicBezTo>
                <a:cubicBezTo>
                  <a:pt x="2790" y="1467"/>
                  <a:pt x="2780" y="1467"/>
                  <a:pt x="2768" y="1467"/>
                </a:cubicBezTo>
                <a:cubicBezTo>
                  <a:pt x="2759" y="1467"/>
                  <a:pt x="2749" y="1467"/>
                  <a:pt x="2743" y="1464"/>
                </a:cubicBezTo>
                <a:cubicBezTo>
                  <a:pt x="2733" y="1461"/>
                  <a:pt x="2727" y="1455"/>
                  <a:pt x="2721" y="1448"/>
                </a:cubicBezTo>
                <a:cubicBezTo>
                  <a:pt x="2714" y="1442"/>
                  <a:pt x="2711" y="1436"/>
                  <a:pt x="2708" y="1426"/>
                </a:cubicBezTo>
                <a:cubicBezTo>
                  <a:pt x="2705" y="1417"/>
                  <a:pt x="2702" y="1407"/>
                  <a:pt x="2702" y="1398"/>
                </a:cubicBezTo>
                <a:cubicBezTo>
                  <a:pt x="2702" y="1388"/>
                  <a:pt x="2705" y="1379"/>
                  <a:pt x="2708" y="1370"/>
                </a:cubicBezTo>
                <a:cubicBezTo>
                  <a:pt x="2711" y="1363"/>
                  <a:pt x="2714" y="1354"/>
                  <a:pt x="2721" y="1347"/>
                </a:cubicBezTo>
                <a:cubicBezTo>
                  <a:pt x="2727" y="1341"/>
                  <a:pt x="2733" y="1338"/>
                  <a:pt x="2743" y="1335"/>
                </a:cubicBezTo>
                <a:cubicBezTo>
                  <a:pt x="2749" y="1329"/>
                  <a:pt x="2759" y="1329"/>
                  <a:pt x="2768" y="1329"/>
                </a:cubicBezTo>
                <a:cubicBezTo>
                  <a:pt x="2780" y="1329"/>
                  <a:pt x="2790" y="1329"/>
                  <a:pt x="2796" y="1335"/>
                </a:cubicBezTo>
                <a:cubicBezTo>
                  <a:pt x="2806" y="1338"/>
                  <a:pt x="2812" y="1341"/>
                  <a:pt x="2818" y="1347"/>
                </a:cubicBezTo>
                <a:cubicBezTo>
                  <a:pt x="2824" y="1354"/>
                  <a:pt x="2828" y="1363"/>
                  <a:pt x="2831" y="1370"/>
                </a:cubicBezTo>
                <a:cubicBezTo>
                  <a:pt x="2834" y="1379"/>
                  <a:pt x="2837" y="1388"/>
                  <a:pt x="2837" y="1398"/>
                </a:cubicBezTo>
                <a:cubicBezTo>
                  <a:pt x="2837" y="1407"/>
                  <a:pt x="2834" y="1417"/>
                  <a:pt x="2831" y="1426"/>
                </a:cubicBezTo>
                <a:close/>
                <a:moveTo>
                  <a:pt x="3073" y="1344"/>
                </a:moveTo>
                <a:cubicBezTo>
                  <a:pt x="3076" y="1354"/>
                  <a:pt x="3076" y="1363"/>
                  <a:pt x="3076" y="1376"/>
                </a:cubicBezTo>
                <a:cubicBezTo>
                  <a:pt x="3076" y="1492"/>
                  <a:pt x="3076" y="1492"/>
                  <a:pt x="3076" y="1492"/>
                </a:cubicBezTo>
                <a:cubicBezTo>
                  <a:pt x="3045" y="1492"/>
                  <a:pt x="3045" y="1492"/>
                  <a:pt x="3045" y="1492"/>
                </a:cubicBezTo>
                <a:cubicBezTo>
                  <a:pt x="3045" y="1379"/>
                  <a:pt x="3045" y="1379"/>
                  <a:pt x="3045" y="1379"/>
                </a:cubicBezTo>
                <a:cubicBezTo>
                  <a:pt x="3045" y="1363"/>
                  <a:pt x="3042" y="1351"/>
                  <a:pt x="3036" y="1341"/>
                </a:cubicBezTo>
                <a:cubicBezTo>
                  <a:pt x="3026" y="1332"/>
                  <a:pt x="3017" y="1329"/>
                  <a:pt x="3001" y="1329"/>
                </a:cubicBezTo>
                <a:cubicBezTo>
                  <a:pt x="2992" y="1329"/>
                  <a:pt x="2982" y="1329"/>
                  <a:pt x="2976" y="1332"/>
                </a:cubicBezTo>
                <a:cubicBezTo>
                  <a:pt x="2969" y="1335"/>
                  <a:pt x="2963" y="1341"/>
                  <a:pt x="2957" y="1347"/>
                </a:cubicBezTo>
                <a:cubicBezTo>
                  <a:pt x="2954" y="1354"/>
                  <a:pt x="2950" y="1360"/>
                  <a:pt x="2947" y="1370"/>
                </a:cubicBezTo>
                <a:cubicBezTo>
                  <a:pt x="2944" y="1379"/>
                  <a:pt x="2944" y="1388"/>
                  <a:pt x="2944" y="1401"/>
                </a:cubicBezTo>
                <a:cubicBezTo>
                  <a:pt x="2944" y="1492"/>
                  <a:pt x="2944" y="1492"/>
                  <a:pt x="2944" y="1492"/>
                </a:cubicBezTo>
                <a:cubicBezTo>
                  <a:pt x="2913" y="1492"/>
                  <a:pt x="2913" y="1492"/>
                  <a:pt x="2913" y="1492"/>
                </a:cubicBezTo>
                <a:cubicBezTo>
                  <a:pt x="2913" y="1347"/>
                  <a:pt x="2913" y="1347"/>
                  <a:pt x="2913" y="1347"/>
                </a:cubicBezTo>
                <a:cubicBezTo>
                  <a:pt x="2913" y="1341"/>
                  <a:pt x="2913" y="1332"/>
                  <a:pt x="2913" y="1325"/>
                </a:cubicBezTo>
                <a:cubicBezTo>
                  <a:pt x="2913" y="1316"/>
                  <a:pt x="2910" y="1310"/>
                  <a:pt x="2910" y="1303"/>
                </a:cubicBezTo>
                <a:cubicBezTo>
                  <a:pt x="2941" y="1303"/>
                  <a:pt x="2941" y="1303"/>
                  <a:pt x="2941" y="1303"/>
                </a:cubicBezTo>
                <a:cubicBezTo>
                  <a:pt x="2941" y="1310"/>
                  <a:pt x="2941" y="1313"/>
                  <a:pt x="2941" y="1319"/>
                </a:cubicBezTo>
                <a:cubicBezTo>
                  <a:pt x="2941" y="1325"/>
                  <a:pt x="2941" y="1329"/>
                  <a:pt x="2941" y="1335"/>
                </a:cubicBezTo>
                <a:cubicBezTo>
                  <a:pt x="2944" y="1329"/>
                  <a:pt x="2947" y="1325"/>
                  <a:pt x="2950" y="1322"/>
                </a:cubicBezTo>
                <a:cubicBezTo>
                  <a:pt x="2957" y="1316"/>
                  <a:pt x="2960" y="1313"/>
                  <a:pt x="2966" y="1310"/>
                </a:cubicBezTo>
                <a:cubicBezTo>
                  <a:pt x="2969" y="1307"/>
                  <a:pt x="2976" y="1303"/>
                  <a:pt x="2982" y="1300"/>
                </a:cubicBezTo>
                <a:cubicBezTo>
                  <a:pt x="2992" y="1300"/>
                  <a:pt x="2998" y="1300"/>
                  <a:pt x="3004" y="1300"/>
                </a:cubicBezTo>
                <a:cubicBezTo>
                  <a:pt x="3017" y="1300"/>
                  <a:pt x="3029" y="1300"/>
                  <a:pt x="3039" y="1303"/>
                </a:cubicBezTo>
                <a:cubicBezTo>
                  <a:pt x="3045" y="1307"/>
                  <a:pt x="3054" y="1313"/>
                  <a:pt x="3061" y="1319"/>
                </a:cubicBezTo>
                <a:cubicBezTo>
                  <a:pt x="3064" y="1325"/>
                  <a:pt x="3070" y="1335"/>
                  <a:pt x="3073" y="1344"/>
                </a:cubicBezTo>
                <a:close/>
                <a:moveTo>
                  <a:pt x="3287" y="1332"/>
                </a:moveTo>
                <a:cubicBezTo>
                  <a:pt x="3284" y="1332"/>
                  <a:pt x="3284" y="1332"/>
                  <a:pt x="3284" y="1332"/>
                </a:cubicBezTo>
                <a:cubicBezTo>
                  <a:pt x="3278" y="1322"/>
                  <a:pt x="3269" y="1313"/>
                  <a:pt x="3256" y="1307"/>
                </a:cubicBezTo>
                <a:cubicBezTo>
                  <a:pt x="3243" y="1303"/>
                  <a:pt x="3231" y="1300"/>
                  <a:pt x="3218" y="1300"/>
                </a:cubicBezTo>
                <a:cubicBezTo>
                  <a:pt x="3202" y="1300"/>
                  <a:pt x="3190" y="1300"/>
                  <a:pt x="3177" y="1307"/>
                </a:cubicBezTo>
                <a:cubicBezTo>
                  <a:pt x="3164" y="1313"/>
                  <a:pt x="3155" y="1319"/>
                  <a:pt x="3146" y="1329"/>
                </a:cubicBezTo>
                <a:cubicBezTo>
                  <a:pt x="3139" y="1335"/>
                  <a:pt x="3133" y="1347"/>
                  <a:pt x="3127" y="1360"/>
                </a:cubicBezTo>
                <a:cubicBezTo>
                  <a:pt x="3120" y="1370"/>
                  <a:pt x="3120" y="1385"/>
                  <a:pt x="3120" y="1398"/>
                </a:cubicBezTo>
                <a:cubicBezTo>
                  <a:pt x="3120" y="1414"/>
                  <a:pt x="3120" y="1426"/>
                  <a:pt x="3127" y="1439"/>
                </a:cubicBezTo>
                <a:cubicBezTo>
                  <a:pt x="3133" y="1451"/>
                  <a:pt x="3139" y="1461"/>
                  <a:pt x="3146" y="1470"/>
                </a:cubicBezTo>
                <a:cubicBezTo>
                  <a:pt x="3155" y="1477"/>
                  <a:pt x="3164" y="1486"/>
                  <a:pt x="3177" y="1489"/>
                </a:cubicBezTo>
                <a:cubicBezTo>
                  <a:pt x="3187" y="1495"/>
                  <a:pt x="3199" y="1499"/>
                  <a:pt x="3215" y="1499"/>
                </a:cubicBezTo>
                <a:cubicBezTo>
                  <a:pt x="3231" y="1499"/>
                  <a:pt x="3246" y="1495"/>
                  <a:pt x="3259" y="1486"/>
                </a:cubicBezTo>
                <a:cubicBezTo>
                  <a:pt x="3272" y="1480"/>
                  <a:pt x="3281" y="1470"/>
                  <a:pt x="3287" y="1458"/>
                </a:cubicBezTo>
                <a:cubicBezTo>
                  <a:pt x="3287" y="1492"/>
                  <a:pt x="3287" y="1492"/>
                  <a:pt x="3287" y="1492"/>
                </a:cubicBezTo>
                <a:cubicBezTo>
                  <a:pt x="3319" y="1492"/>
                  <a:pt x="3319" y="1492"/>
                  <a:pt x="3319" y="1492"/>
                </a:cubicBezTo>
                <a:cubicBezTo>
                  <a:pt x="3319" y="1187"/>
                  <a:pt x="3319" y="1187"/>
                  <a:pt x="3319" y="1187"/>
                </a:cubicBezTo>
                <a:cubicBezTo>
                  <a:pt x="3287" y="1187"/>
                  <a:pt x="3287" y="1187"/>
                  <a:pt x="3287" y="1187"/>
                </a:cubicBezTo>
                <a:lnTo>
                  <a:pt x="3287" y="1332"/>
                </a:lnTo>
                <a:close/>
                <a:moveTo>
                  <a:pt x="3281" y="1426"/>
                </a:moveTo>
                <a:cubicBezTo>
                  <a:pt x="3278" y="1436"/>
                  <a:pt x="3275" y="1442"/>
                  <a:pt x="3269" y="1448"/>
                </a:cubicBezTo>
                <a:cubicBezTo>
                  <a:pt x="3262" y="1455"/>
                  <a:pt x="3256" y="1458"/>
                  <a:pt x="3246" y="1464"/>
                </a:cubicBezTo>
                <a:cubicBezTo>
                  <a:pt x="3240" y="1467"/>
                  <a:pt x="3231" y="1467"/>
                  <a:pt x="3221" y="1467"/>
                </a:cubicBezTo>
                <a:cubicBezTo>
                  <a:pt x="3209" y="1467"/>
                  <a:pt x="3202" y="1467"/>
                  <a:pt x="3193" y="1464"/>
                </a:cubicBezTo>
                <a:cubicBezTo>
                  <a:pt x="3183" y="1461"/>
                  <a:pt x="3177" y="1455"/>
                  <a:pt x="3171" y="1448"/>
                </a:cubicBezTo>
                <a:cubicBezTo>
                  <a:pt x="3164" y="1442"/>
                  <a:pt x="3162" y="1436"/>
                  <a:pt x="3158" y="1426"/>
                </a:cubicBezTo>
                <a:cubicBezTo>
                  <a:pt x="3155" y="1417"/>
                  <a:pt x="3152" y="1407"/>
                  <a:pt x="3152" y="1398"/>
                </a:cubicBezTo>
                <a:cubicBezTo>
                  <a:pt x="3152" y="1388"/>
                  <a:pt x="3155" y="1379"/>
                  <a:pt x="3158" y="1370"/>
                </a:cubicBezTo>
                <a:cubicBezTo>
                  <a:pt x="3162" y="1363"/>
                  <a:pt x="3164" y="1354"/>
                  <a:pt x="3171" y="1347"/>
                </a:cubicBezTo>
                <a:cubicBezTo>
                  <a:pt x="3177" y="1341"/>
                  <a:pt x="3183" y="1338"/>
                  <a:pt x="3193" y="1335"/>
                </a:cubicBezTo>
                <a:cubicBezTo>
                  <a:pt x="3202" y="1329"/>
                  <a:pt x="3209" y="1329"/>
                  <a:pt x="3221" y="1329"/>
                </a:cubicBezTo>
                <a:cubicBezTo>
                  <a:pt x="3231" y="1329"/>
                  <a:pt x="3240" y="1329"/>
                  <a:pt x="3246" y="1335"/>
                </a:cubicBezTo>
                <a:cubicBezTo>
                  <a:pt x="3256" y="1338"/>
                  <a:pt x="3262" y="1341"/>
                  <a:pt x="3269" y="1347"/>
                </a:cubicBezTo>
                <a:cubicBezTo>
                  <a:pt x="3275" y="1354"/>
                  <a:pt x="3278" y="1363"/>
                  <a:pt x="3281" y="1370"/>
                </a:cubicBezTo>
                <a:cubicBezTo>
                  <a:pt x="3284" y="1379"/>
                  <a:pt x="3287" y="1388"/>
                  <a:pt x="3287" y="1398"/>
                </a:cubicBezTo>
                <a:cubicBezTo>
                  <a:pt x="3287" y="1407"/>
                  <a:pt x="3284" y="1417"/>
                  <a:pt x="3281" y="1426"/>
                </a:cubicBezTo>
                <a:close/>
                <a:moveTo>
                  <a:pt x="3498" y="1414"/>
                </a:moveTo>
                <a:cubicBezTo>
                  <a:pt x="3502" y="1420"/>
                  <a:pt x="3502" y="1426"/>
                  <a:pt x="3502" y="1436"/>
                </a:cubicBezTo>
                <a:cubicBezTo>
                  <a:pt x="3502" y="1448"/>
                  <a:pt x="3498" y="1458"/>
                  <a:pt x="3495" y="1464"/>
                </a:cubicBezTo>
                <a:cubicBezTo>
                  <a:pt x="3492" y="1473"/>
                  <a:pt x="3486" y="1477"/>
                  <a:pt x="3479" y="1483"/>
                </a:cubicBezTo>
                <a:cubicBezTo>
                  <a:pt x="3470" y="1486"/>
                  <a:pt x="3464" y="1489"/>
                  <a:pt x="3454" y="1492"/>
                </a:cubicBezTo>
                <a:cubicBezTo>
                  <a:pt x="3445" y="1495"/>
                  <a:pt x="3435" y="1495"/>
                  <a:pt x="3426" y="1495"/>
                </a:cubicBezTo>
                <a:cubicBezTo>
                  <a:pt x="3410" y="1495"/>
                  <a:pt x="3397" y="1492"/>
                  <a:pt x="3385" y="1489"/>
                </a:cubicBezTo>
                <a:cubicBezTo>
                  <a:pt x="3372" y="1483"/>
                  <a:pt x="3363" y="1473"/>
                  <a:pt x="3353" y="1461"/>
                </a:cubicBezTo>
                <a:cubicBezTo>
                  <a:pt x="3379" y="1442"/>
                  <a:pt x="3379" y="1442"/>
                  <a:pt x="3379" y="1442"/>
                </a:cubicBezTo>
                <a:cubicBezTo>
                  <a:pt x="3385" y="1451"/>
                  <a:pt x="3391" y="1458"/>
                  <a:pt x="3397" y="1461"/>
                </a:cubicBezTo>
                <a:cubicBezTo>
                  <a:pt x="3404" y="1467"/>
                  <a:pt x="3413" y="1467"/>
                  <a:pt x="3426" y="1467"/>
                </a:cubicBezTo>
                <a:cubicBezTo>
                  <a:pt x="3432" y="1467"/>
                  <a:pt x="3435" y="1467"/>
                  <a:pt x="3442" y="1467"/>
                </a:cubicBezTo>
                <a:cubicBezTo>
                  <a:pt x="3445" y="1464"/>
                  <a:pt x="3451" y="1464"/>
                  <a:pt x="3454" y="1461"/>
                </a:cubicBezTo>
                <a:cubicBezTo>
                  <a:pt x="3457" y="1458"/>
                  <a:pt x="3460" y="1458"/>
                  <a:pt x="3464" y="1451"/>
                </a:cubicBezTo>
                <a:cubicBezTo>
                  <a:pt x="3467" y="1448"/>
                  <a:pt x="3467" y="1445"/>
                  <a:pt x="3467" y="1439"/>
                </a:cubicBezTo>
                <a:cubicBezTo>
                  <a:pt x="3467" y="1436"/>
                  <a:pt x="3467" y="1429"/>
                  <a:pt x="3464" y="1426"/>
                </a:cubicBezTo>
                <a:cubicBezTo>
                  <a:pt x="3460" y="1423"/>
                  <a:pt x="3457" y="1420"/>
                  <a:pt x="3454" y="1420"/>
                </a:cubicBezTo>
                <a:cubicBezTo>
                  <a:pt x="3451" y="1417"/>
                  <a:pt x="3448" y="1414"/>
                  <a:pt x="3442" y="1414"/>
                </a:cubicBezTo>
                <a:cubicBezTo>
                  <a:pt x="3435" y="1410"/>
                  <a:pt x="3432" y="1410"/>
                  <a:pt x="3426" y="1410"/>
                </a:cubicBezTo>
                <a:cubicBezTo>
                  <a:pt x="3420" y="1407"/>
                  <a:pt x="3410" y="1404"/>
                  <a:pt x="3401" y="1404"/>
                </a:cubicBezTo>
                <a:cubicBezTo>
                  <a:pt x="3395" y="1401"/>
                  <a:pt x="3388" y="1398"/>
                  <a:pt x="3382" y="1395"/>
                </a:cubicBezTo>
                <a:cubicBezTo>
                  <a:pt x="3376" y="1388"/>
                  <a:pt x="3369" y="1385"/>
                  <a:pt x="3366" y="1379"/>
                </a:cubicBezTo>
                <a:cubicBezTo>
                  <a:pt x="3363" y="1373"/>
                  <a:pt x="3360" y="1363"/>
                  <a:pt x="3360" y="1354"/>
                </a:cubicBezTo>
                <a:cubicBezTo>
                  <a:pt x="3360" y="1344"/>
                  <a:pt x="3363" y="1338"/>
                  <a:pt x="3366" y="1329"/>
                </a:cubicBezTo>
                <a:cubicBezTo>
                  <a:pt x="3372" y="1322"/>
                  <a:pt x="3376" y="1316"/>
                  <a:pt x="3382" y="1313"/>
                </a:cubicBezTo>
                <a:cubicBezTo>
                  <a:pt x="3388" y="1307"/>
                  <a:pt x="3397" y="1303"/>
                  <a:pt x="3404" y="1303"/>
                </a:cubicBezTo>
                <a:cubicBezTo>
                  <a:pt x="3413" y="1300"/>
                  <a:pt x="3423" y="1297"/>
                  <a:pt x="3432" y="1297"/>
                </a:cubicBezTo>
                <a:cubicBezTo>
                  <a:pt x="3445" y="1297"/>
                  <a:pt x="3457" y="1300"/>
                  <a:pt x="3467" y="1307"/>
                </a:cubicBezTo>
                <a:cubicBezTo>
                  <a:pt x="3479" y="1313"/>
                  <a:pt x="3489" y="1319"/>
                  <a:pt x="3495" y="1332"/>
                </a:cubicBezTo>
                <a:cubicBezTo>
                  <a:pt x="3470" y="1351"/>
                  <a:pt x="3470" y="1351"/>
                  <a:pt x="3470" y="1351"/>
                </a:cubicBezTo>
                <a:cubicBezTo>
                  <a:pt x="3464" y="1344"/>
                  <a:pt x="3460" y="1338"/>
                  <a:pt x="3454" y="1332"/>
                </a:cubicBezTo>
                <a:cubicBezTo>
                  <a:pt x="3448" y="1329"/>
                  <a:pt x="3439" y="1329"/>
                  <a:pt x="3429" y="1329"/>
                </a:cubicBezTo>
                <a:cubicBezTo>
                  <a:pt x="3426" y="1329"/>
                  <a:pt x="3420" y="1329"/>
                  <a:pt x="3416" y="1329"/>
                </a:cubicBezTo>
                <a:cubicBezTo>
                  <a:pt x="3410" y="1329"/>
                  <a:pt x="3407" y="1332"/>
                  <a:pt x="3404" y="1335"/>
                </a:cubicBezTo>
                <a:cubicBezTo>
                  <a:pt x="3401" y="1335"/>
                  <a:pt x="3397" y="1338"/>
                  <a:pt x="3395" y="1341"/>
                </a:cubicBezTo>
                <a:cubicBezTo>
                  <a:pt x="3395" y="1344"/>
                  <a:pt x="3391" y="1351"/>
                  <a:pt x="3391" y="1354"/>
                </a:cubicBezTo>
                <a:cubicBezTo>
                  <a:pt x="3391" y="1357"/>
                  <a:pt x="3395" y="1360"/>
                  <a:pt x="3397" y="1363"/>
                </a:cubicBezTo>
                <a:cubicBezTo>
                  <a:pt x="3397" y="1366"/>
                  <a:pt x="3401" y="1370"/>
                  <a:pt x="3407" y="1370"/>
                </a:cubicBezTo>
                <a:cubicBezTo>
                  <a:pt x="3410" y="1373"/>
                  <a:pt x="3416" y="1376"/>
                  <a:pt x="3423" y="1376"/>
                </a:cubicBezTo>
                <a:cubicBezTo>
                  <a:pt x="3429" y="1379"/>
                  <a:pt x="3432" y="1379"/>
                  <a:pt x="3439" y="1382"/>
                </a:cubicBezTo>
                <a:cubicBezTo>
                  <a:pt x="3448" y="1382"/>
                  <a:pt x="3457" y="1385"/>
                  <a:pt x="3464" y="1388"/>
                </a:cubicBezTo>
                <a:cubicBezTo>
                  <a:pt x="3470" y="1388"/>
                  <a:pt x="3479" y="1392"/>
                  <a:pt x="3483" y="1398"/>
                </a:cubicBezTo>
                <a:cubicBezTo>
                  <a:pt x="3489" y="1401"/>
                  <a:pt x="3492" y="1407"/>
                  <a:pt x="3498" y="1414"/>
                </a:cubicBezTo>
                <a:close/>
                <a:moveTo>
                  <a:pt x="3807" y="1332"/>
                </a:moveTo>
                <a:cubicBezTo>
                  <a:pt x="3801" y="1329"/>
                  <a:pt x="3797" y="1322"/>
                  <a:pt x="3795" y="1316"/>
                </a:cubicBezTo>
                <a:cubicBezTo>
                  <a:pt x="3788" y="1313"/>
                  <a:pt x="3782" y="1307"/>
                  <a:pt x="3776" y="1307"/>
                </a:cubicBezTo>
                <a:cubicBezTo>
                  <a:pt x="3769" y="1303"/>
                  <a:pt x="3763" y="1300"/>
                  <a:pt x="3757" y="1297"/>
                </a:cubicBezTo>
                <a:cubicBezTo>
                  <a:pt x="3750" y="1297"/>
                  <a:pt x="3744" y="1297"/>
                  <a:pt x="3738" y="1297"/>
                </a:cubicBezTo>
                <a:cubicBezTo>
                  <a:pt x="3725" y="1297"/>
                  <a:pt x="3709" y="1297"/>
                  <a:pt x="3697" y="1303"/>
                </a:cubicBezTo>
                <a:cubicBezTo>
                  <a:pt x="3684" y="1307"/>
                  <a:pt x="3675" y="1316"/>
                  <a:pt x="3665" y="1322"/>
                </a:cubicBezTo>
                <a:cubicBezTo>
                  <a:pt x="3659" y="1332"/>
                  <a:pt x="3649" y="1341"/>
                  <a:pt x="3646" y="1354"/>
                </a:cubicBezTo>
                <a:cubicBezTo>
                  <a:pt x="3640" y="1366"/>
                  <a:pt x="3640" y="1379"/>
                  <a:pt x="3640" y="1395"/>
                </a:cubicBezTo>
                <a:cubicBezTo>
                  <a:pt x="3640" y="1410"/>
                  <a:pt x="3640" y="1423"/>
                  <a:pt x="3646" y="1432"/>
                </a:cubicBezTo>
                <a:cubicBezTo>
                  <a:pt x="3649" y="1445"/>
                  <a:pt x="3659" y="1458"/>
                  <a:pt x="3665" y="1464"/>
                </a:cubicBezTo>
                <a:cubicBezTo>
                  <a:pt x="3675" y="1473"/>
                  <a:pt x="3688" y="1480"/>
                  <a:pt x="3700" y="1486"/>
                </a:cubicBezTo>
                <a:cubicBezTo>
                  <a:pt x="3713" y="1489"/>
                  <a:pt x="3725" y="1492"/>
                  <a:pt x="3738" y="1492"/>
                </a:cubicBezTo>
                <a:cubicBezTo>
                  <a:pt x="3750" y="1492"/>
                  <a:pt x="3763" y="1489"/>
                  <a:pt x="3776" y="1483"/>
                </a:cubicBezTo>
                <a:cubicBezTo>
                  <a:pt x="3788" y="1477"/>
                  <a:pt x="3797" y="1470"/>
                  <a:pt x="3807" y="1458"/>
                </a:cubicBezTo>
                <a:cubicBezTo>
                  <a:pt x="3807" y="1483"/>
                  <a:pt x="3807" y="1483"/>
                  <a:pt x="3807" y="1483"/>
                </a:cubicBezTo>
                <a:cubicBezTo>
                  <a:pt x="3807" y="1492"/>
                  <a:pt x="3804" y="1502"/>
                  <a:pt x="3804" y="1511"/>
                </a:cubicBezTo>
                <a:cubicBezTo>
                  <a:pt x="3801" y="1521"/>
                  <a:pt x="3797" y="1527"/>
                  <a:pt x="3791" y="1533"/>
                </a:cubicBezTo>
                <a:cubicBezTo>
                  <a:pt x="3785" y="1543"/>
                  <a:pt x="3779" y="1546"/>
                  <a:pt x="3769" y="1552"/>
                </a:cubicBezTo>
                <a:cubicBezTo>
                  <a:pt x="3760" y="1555"/>
                  <a:pt x="3750" y="1558"/>
                  <a:pt x="3735" y="1558"/>
                </a:cubicBezTo>
                <a:cubicBezTo>
                  <a:pt x="3719" y="1558"/>
                  <a:pt x="3706" y="1555"/>
                  <a:pt x="3697" y="1549"/>
                </a:cubicBezTo>
                <a:cubicBezTo>
                  <a:pt x="3684" y="1543"/>
                  <a:pt x="3675" y="1536"/>
                  <a:pt x="3665" y="1524"/>
                </a:cubicBezTo>
                <a:cubicBezTo>
                  <a:pt x="3643" y="1549"/>
                  <a:pt x="3643" y="1549"/>
                  <a:pt x="3643" y="1549"/>
                </a:cubicBezTo>
                <a:cubicBezTo>
                  <a:pt x="3656" y="1565"/>
                  <a:pt x="3668" y="1571"/>
                  <a:pt x="3684" y="1577"/>
                </a:cubicBezTo>
                <a:cubicBezTo>
                  <a:pt x="3700" y="1584"/>
                  <a:pt x="3716" y="1587"/>
                  <a:pt x="3735" y="1587"/>
                </a:cubicBezTo>
                <a:cubicBezTo>
                  <a:pt x="3769" y="1587"/>
                  <a:pt x="3795" y="1577"/>
                  <a:pt x="3810" y="1558"/>
                </a:cubicBezTo>
                <a:cubicBezTo>
                  <a:pt x="3829" y="1540"/>
                  <a:pt x="3839" y="1514"/>
                  <a:pt x="3839" y="1480"/>
                </a:cubicBezTo>
                <a:cubicBezTo>
                  <a:pt x="3839" y="1300"/>
                  <a:pt x="3839" y="1300"/>
                  <a:pt x="3839" y="1300"/>
                </a:cubicBezTo>
                <a:cubicBezTo>
                  <a:pt x="3807" y="1300"/>
                  <a:pt x="3807" y="1300"/>
                  <a:pt x="3807" y="1300"/>
                </a:cubicBezTo>
                <a:lnTo>
                  <a:pt x="3807" y="1332"/>
                </a:lnTo>
                <a:close/>
                <a:moveTo>
                  <a:pt x="3801" y="1420"/>
                </a:moveTo>
                <a:cubicBezTo>
                  <a:pt x="3797" y="1429"/>
                  <a:pt x="3795" y="1436"/>
                  <a:pt x="3788" y="1442"/>
                </a:cubicBezTo>
                <a:cubicBezTo>
                  <a:pt x="3782" y="1448"/>
                  <a:pt x="3776" y="1455"/>
                  <a:pt x="3766" y="1458"/>
                </a:cubicBezTo>
                <a:cubicBezTo>
                  <a:pt x="3757" y="1461"/>
                  <a:pt x="3750" y="1464"/>
                  <a:pt x="3738" y="1464"/>
                </a:cubicBezTo>
                <a:cubicBezTo>
                  <a:pt x="3728" y="1464"/>
                  <a:pt x="3719" y="1461"/>
                  <a:pt x="3713" y="1458"/>
                </a:cubicBezTo>
                <a:cubicBezTo>
                  <a:pt x="3703" y="1455"/>
                  <a:pt x="3697" y="1448"/>
                  <a:pt x="3690" y="1442"/>
                </a:cubicBezTo>
                <a:cubicBezTo>
                  <a:pt x="3684" y="1436"/>
                  <a:pt x="3681" y="1429"/>
                  <a:pt x="3678" y="1423"/>
                </a:cubicBezTo>
                <a:cubicBezTo>
                  <a:pt x="3675" y="1414"/>
                  <a:pt x="3672" y="1404"/>
                  <a:pt x="3672" y="1395"/>
                </a:cubicBezTo>
                <a:cubicBezTo>
                  <a:pt x="3672" y="1385"/>
                  <a:pt x="3675" y="1376"/>
                  <a:pt x="3675" y="1366"/>
                </a:cubicBezTo>
                <a:cubicBezTo>
                  <a:pt x="3678" y="1360"/>
                  <a:pt x="3684" y="1351"/>
                  <a:pt x="3690" y="1344"/>
                </a:cubicBezTo>
                <a:cubicBezTo>
                  <a:pt x="3694" y="1338"/>
                  <a:pt x="3703" y="1335"/>
                  <a:pt x="3709" y="1332"/>
                </a:cubicBezTo>
                <a:cubicBezTo>
                  <a:pt x="3719" y="1325"/>
                  <a:pt x="3728" y="1325"/>
                  <a:pt x="3738" y="1325"/>
                </a:cubicBezTo>
                <a:cubicBezTo>
                  <a:pt x="3747" y="1325"/>
                  <a:pt x="3757" y="1325"/>
                  <a:pt x="3766" y="1329"/>
                </a:cubicBezTo>
                <a:cubicBezTo>
                  <a:pt x="3772" y="1332"/>
                  <a:pt x="3782" y="1338"/>
                  <a:pt x="3785" y="1344"/>
                </a:cubicBezTo>
                <a:cubicBezTo>
                  <a:pt x="3791" y="1351"/>
                  <a:pt x="3797" y="1357"/>
                  <a:pt x="3801" y="1366"/>
                </a:cubicBezTo>
                <a:cubicBezTo>
                  <a:pt x="3804" y="1376"/>
                  <a:pt x="3804" y="1385"/>
                  <a:pt x="3804" y="1395"/>
                </a:cubicBezTo>
                <a:cubicBezTo>
                  <a:pt x="3804" y="1404"/>
                  <a:pt x="3804" y="1410"/>
                  <a:pt x="3801" y="1420"/>
                </a:cubicBezTo>
                <a:close/>
                <a:moveTo>
                  <a:pt x="4040" y="1322"/>
                </a:moveTo>
                <a:cubicBezTo>
                  <a:pt x="4034" y="1313"/>
                  <a:pt x="4024" y="1307"/>
                  <a:pt x="4012" y="1303"/>
                </a:cubicBezTo>
                <a:cubicBezTo>
                  <a:pt x="4002" y="1297"/>
                  <a:pt x="3990" y="1297"/>
                  <a:pt x="3977" y="1297"/>
                </a:cubicBezTo>
                <a:cubicBezTo>
                  <a:pt x="3961" y="1297"/>
                  <a:pt x="3949" y="1297"/>
                  <a:pt x="3939" y="1303"/>
                </a:cubicBezTo>
                <a:cubicBezTo>
                  <a:pt x="3927" y="1307"/>
                  <a:pt x="3914" y="1316"/>
                  <a:pt x="3908" y="1322"/>
                </a:cubicBezTo>
                <a:cubicBezTo>
                  <a:pt x="3898" y="1332"/>
                  <a:pt x="3892" y="1344"/>
                  <a:pt x="3886" y="1354"/>
                </a:cubicBezTo>
                <a:cubicBezTo>
                  <a:pt x="3883" y="1366"/>
                  <a:pt x="3879" y="1379"/>
                  <a:pt x="3879" y="1395"/>
                </a:cubicBezTo>
                <a:cubicBezTo>
                  <a:pt x="3879" y="1407"/>
                  <a:pt x="3883" y="1423"/>
                  <a:pt x="3886" y="1432"/>
                </a:cubicBezTo>
                <a:cubicBezTo>
                  <a:pt x="3892" y="1445"/>
                  <a:pt x="3898" y="1458"/>
                  <a:pt x="3905" y="1464"/>
                </a:cubicBezTo>
                <a:cubicBezTo>
                  <a:pt x="3914" y="1473"/>
                  <a:pt x="3923" y="1480"/>
                  <a:pt x="3936" y="1486"/>
                </a:cubicBezTo>
                <a:cubicBezTo>
                  <a:pt x="3949" y="1492"/>
                  <a:pt x="3961" y="1495"/>
                  <a:pt x="3977" y="1495"/>
                </a:cubicBezTo>
                <a:cubicBezTo>
                  <a:pt x="3993" y="1495"/>
                  <a:pt x="4009" y="1492"/>
                  <a:pt x="4021" y="1486"/>
                </a:cubicBezTo>
                <a:cubicBezTo>
                  <a:pt x="4037" y="1480"/>
                  <a:pt x="4046" y="1470"/>
                  <a:pt x="4059" y="1455"/>
                </a:cubicBezTo>
                <a:cubicBezTo>
                  <a:pt x="4034" y="1436"/>
                  <a:pt x="4034" y="1436"/>
                  <a:pt x="4034" y="1436"/>
                </a:cubicBezTo>
                <a:cubicBezTo>
                  <a:pt x="4028" y="1445"/>
                  <a:pt x="4021" y="1455"/>
                  <a:pt x="4009" y="1458"/>
                </a:cubicBezTo>
                <a:cubicBezTo>
                  <a:pt x="3999" y="1464"/>
                  <a:pt x="3990" y="1464"/>
                  <a:pt x="3974" y="1464"/>
                </a:cubicBezTo>
                <a:cubicBezTo>
                  <a:pt x="3967" y="1464"/>
                  <a:pt x="3958" y="1464"/>
                  <a:pt x="3952" y="1461"/>
                </a:cubicBezTo>
                <a:cubicBezTo>
                  <a:pt x="3946" y="1458"/>
                  <a:pt x="3939" y="1455"/>
                  <a:pt x="3933" y="1448"/>
                </a:cubicBezTo>
                <a:cubicBezTo>
                  <a:pt x="3927" y="1442"/>
                  <a:pt x="3923" y="1436"/>
                  <a:pt x="3920" y="1429"/>
                </a:cubicBezTo>
                <a:cubicBezTo>
                  <a:pt x="3917" y="1420"/>
                  <a:pt x="3914" y="1414"/>
                  <a:pt x="3914" y="1404"/>
                </a:cubicBezTo>
                <a:cubicBezTo>
                  <a:pt x="4065" y="1404"/>
                  <a:pt x="4065" y="1404"/>
                  <a:pt x="4065" y="1404"/>
                </a:cubicBezTo>
                <a:cubicBezTo>
                  <a:pt x="4065" y="1395"/>
                  <a:pt x="4065" y="1395"/>
                  <a:pt x="4065" y="1395"/>
                </a:cubicBezTo>
                <a:cubicBezTo>
                  <a:pt x="4065" y="1379"/>
                  <a:pt x="4065" y="1366"/>
                  <a:pt x="4059" y="1354"/>
                </a:cubicBezTo>
                <a:cubicBezTo>
                  <a:pt x="4056" y="1341"/>
                  <a:pt x="4049" y="1332"/>
                  <a:pt x="4040" y="1322"/>
                </a:cubicBezTo>
                <a:close/>
                <a:moveTo>
                  <a:pt x="3914" y="1379"/>
                </a:moveTo>
                <a:cubicBezTo>
                  <a:pt x="3917" y="1363"/>
                  <a:pt x="3923" y="1347"/>
                  <a:pt x="3933" y="1338"/>
                </a:cubicBezTo>
                <a:cubicBezTo>
                  <a:pt x="3946" y="1329"/>
                  <a:pt x="3958" y="1325"/>
                  <a:pt x="3977" y="1325"/>
                </a:cubicBezTo>
                <a:cubicBezTo>
                  <a:pt x="3993" y="1325"/>
                  <a:pt x="4005" y="1329"/>
                  <a:pt x="4018" y="1338"/>
                </a:cubicBezTo>
                <a:cubicBezTo>
                  <a:pt x="4028" y="1347"/>
                  <a:pt x="4030" y="1363"/>
                  <a:pt x="4034" y="1379"/>
                </a:cubicBezTo>
                <a:lnTo>
                  <a:pt x="3914" y="1379"/>
                </a:lnTo>
                <a:close/>
                <a:moveTo>
                  <a:pt x="4279" y="1325"/>
                </a:moveTo>
                <a:cubicBezTo>
                  <a:pt x="4273" y="1316"/>
                  <a:pt x="4260" y="1310"/>
                  <a:pt x="4248" y="1303"/>
                </a:cubicBezTo>
                <a:cubicBezTo>
                  <a:pt x="4235" y="1297"/>
                  <a:pt x="4223" y="1297"/>
                  <a:pt x="4210" y="1297"/>
                </a:cubicBezTo>
                <a:cubicBezTo>
                  <a:pt x="4194" y="1297"/>
                  <a:pt x="4182" y="1300"/>
                  <a:pt x="4172" y="1303"/>
                </a:cubicBezTo>
                <a:cubicBezTo>
                  <a:pt x="4160" y="1310"/>
                  <a:pt x="4150" y="1319"/>
                  <a:pt x="4141" y="1329"/>
                </a:cubicBezTo>
                <a:cubicBezTo>
                  <a:pt x="4141" y="1184"/>
                  <a:pt x="4141" y="1184"/>
                  <a:pt x="4141" y="1184"/>
                </a:cubicBezTo>
                <a:cubicBezTo>
                  <a:pt x="4109" y="1184"/>
                  <a:pt x="4109" y="1184"/>
                  <a:pt x="4109" y="1184"/>
                </a:cubicBezTo>
                <a:cubicBezTo>
                  <a:pt x="4109" y="1489"/>
                  <a:pt x="4109" y="1489"/>
                  <a:pt x="4109" y="1489"/>
                </a:cubicBezTo>
                <a:cubicBezTo>
                  <a:pt x="4141" y="1489"/>
                  <a:pt x="4141" y="1489"/>
                  <a:pt x="4141" y="1489"/>
                </a:cubicBezTo>
                <a:cubicBezTo>
                  <a:pt x="4141" y="1455"/>
                  <a:pt x="4141" y="1455"/>
                  <a:pt x="4141" y="1455"/>
                </a:cubicBezTo>
                <a:cubicBezTo>
                  <a:pt x="4147" y="1467"/>
                  <a:pt x="4156" y="1477"/>
                  <a:pt x="4169" y="1483"/>
                </a:cubicBezTo>
                <a:cubicBezTo>
                  <a:pt x="4182" y="1489"/>
                  <a:pt x="4198" y="1495"/>
                  <a:pt x="4213" y="1495"/>
                </a:cubicBezTo>
                <a:cubicBezTo>
                  <a:pt x="4226" y="1495"/>
                  <a:pt x="4238" y="1492"/>
                  <a:pt x="4251" y="1486"/>
                </a:cubicBezTo>
                <a:cubicBezTo>
                  <a:pt x="4260" y="1483"/>
                  <a:pt x="4273" y="1473"/>
                  <a:pt x="4279" y="1467"/>
                </a:cubicBezTo>
                <a:cubicBezTo>
                  <a:pt x="4289" y="1458"/>
                  <a:pt x="4295" y="1445"/>
                  <a:pt x="4301" y="1436"/>
                </a:cubicBezTo>
                <a:cubicBezTo>
                  <a:pt x="4305" y="1423"/>
                  <a:pt x="4308" y="1410"/>
                  <a:pt x="4308" y="1395"/>
                </a:cubicBezTo>
                <a:cubicBezTo>
                  <a:pt x="4308" y="1382"/>
                  <a:pt x="4305" y="1366"/>
                  <a:pt x="4301" y="1357"/>
                </a:cubicBezTo>
                <a:cubicBezTo>
                  <a:pt x="4295" y="1344"/>
                  <a:pt x="4289" y="1332"/>
                  <a:pt x="4279" y="1325"/>
                </a:cubicBezTo>
                <a:close/>
                <a:moveTo>
                  <a:pt x="4270" y="1423"/>
                </a:moveTo>
                <a:cubicBezTo>
                  <a:pt x="4267" y="1432"/>
                  <a:pt x="4260" y="1439"/>
                  <a:pt x="4254" y="1445"/>
                </a:cubicBezTo>
                <a:cubicBezTo>
                  <a:pt x="4248" y="1451"/>
                  <a:pt x="4242" y="1455"/>
                  <a:pt x="4235" y="1461"/>
                </a:cubicBezTo>
                <a:cubicBezTo>
                  <a:pt x="4226" y="1464"/>
                  <a:pt x="4216" y="1464"/>
                  <a:pt x="4207" y="1464"/>
                </a:cubicBezTo>
                <a:cubicBezTo>
                  <a:pt x="4198" y="1464"/>
                  <a:pt x="4188" y="1464"/>
                  <a:pt x="4179" y="1461"/>
                </a:cubicBezTo>
                <a:cubicBezTo>
                  <a:pt x="4172" y="1458"/>
                  <a:pt x="4163" y="1451"/>
                  <a:pt x="4156" y="1445"/>
                </a:cubicBezTo>
                <a:cubicBezTo>
                  <a:pt x="4153" y="1439"/>
                  <a:pt x="4147" y="1432"/>
                  <a:pt x="4144" y="1423"/>
                </a:cubicBezTo>
                <a:cubicBezTo>
                  <a:pt x="4141" y="1414"/>
                  <a:pt x="4141" y="1404"/>
                  <a:pt x="4141" y="1395"/>
                </a:cubicBezTo>
                <a:cubicBezTo>
                  <a:pt x="4141" y="1385"/>
                  <a:pt x="4141" y="1376"/>
                  <a:pt x="4144" y="1366"/>
                </a:cubicBezTo>
                <a:cubicBezTo>
                  <a:pt x="4147" y="1360"/>
                  <a:pt x="4153" y="1351"/>
                  <a:pt x="4156" y="1344"/>
                </a:cubicBezTo>
                <a:cubicBezTo>
                  <a:pt x="4163" y="1338"/>
                  <a:pt x="4169" y="1335"/>
                  <a:pt x="4179" y="1332"/>
                </a:cubicBezTo>
                <a:cubicBezTo>
                  <a:pt x="4188" y="1325"/>
                  <a:pt x="4198" y="1325"/>
                  <a:pt x="4207" y="1325"/>
                </a:cubicBezTo>
                <a:cubicBezTo>
                  <a:pt x="4216" y="1325"/>
                  <a:pt x="4226" y="1325"/>
                  <a:pt x="4235" y="1332"/>
                </a:cubicBezTo>
                <a:cubicBezTo>
                  <a:pt x="4242" y="1335"/>
                  <a:pt x="4248" y="1338"/>
                  <a:pt x="4254" y="1344"/>
                </a:cubicBezTo>
                <a:cubicBezTo>
                  <a:pt x="4260" y="1351"/>
                  <a:pt x="4267" y="1360"/>
                  <a:pt x="4270" y="1366"/>
                </a:cubicBezTo>
                <a:cubicBezTo>
                  <a:pt x="4273" y="1376"/>
                  <a:pt x="4273" y="1385"/>
                  <a:pt x="4273" y="1395"/>
                </a:cubicBezTo>
                <a:cubicBezTo>
                  <a:pt x="4273" y="1404"/>
                  <a:pt x="4273" y="1414"/>
                  <a:pt x="4270" y="1423"/>
                </a:cubicBezTo>
                <a:close/>
                <a:moveTo>
                  <a:pt x="4352" y="1300"/>
                </a:moveTo>
                <a:cubicBezTo>
                  <a:pt x="4383" y="1300"/>
                  <a:pt x="4383" y="1300"/>
                  <a:pt x="4383" y="1300"/>
                </a:cubicBezTo>
                <a:cubicBezTo>
                  <a:pt x="4383" y="1489"/>
                  <a:pt x="4383" y="1489"/>
                  <a:pt x="4383" y="1489"/>
                </a:cubicBezTo>
                <a:cubicBezTo>
                  <a:pt x="4352" y="1489"/>
                  <a:pt x="4352" y="1489"/>
                  <a:pt x="4352" y="1489"/>
                </a:cubicBezTo>
                <a:lnTo>
                  <a:pt x="4352" y="1300"/>
                </a:lnTo>
                <a:close/>
                <a:moveTo>
                  <a:pt x="4383" y="1212"/>
                </a:moveTo>
                <a:cubicBezTo>
                  <a:pt x="4386" y="1215"/>
                  <a:pt x="4389" y="1222"/>
                  <a:pt x="4389" y="1228"/>
                </a:cubicBezTo>
                <a:cubicBezTo>
                  <a:pt x="4389" y="1234"/>
                  <a:pt x="4386" y="1237"/>
                  <a:pt x="4383" y="1244"/>
                </a:cubicBezTo>
                <a:cubicBezTo>
                  <a:pt x="4380" y="1247"/>
                  <a:pt x="4374" y="1250"/>
                  <a:pt x="4368" y="1250"/>
                </a:cubicBezTo>
                <a:cubicBezTo>
                  <a:pt x="4361" y="1250"/>
                  <a:pt x="4355" y="1247"/>
                  <a:pt x="4349" y="1244"/>
                </a:cubicBezTo>
                <a:cubicBezTo>
                  <a:pt x="4345" y="1240"/>
                  <a:pt x="4342" y="1234"/>
                  <a:pt x="4342" y="1228"/>
                </a:cubicBezTo>
                <a:cubicBezTo>
                  <a:pt x="4342" y="1222"/>
                  <a:pt x="4345" y="1215"/>
                  <a:pt x="4349" y="1212"/>
                </a:cubicBezTo>
                <a:cubicBezTo>
                  <a:pt x="4355" y="1206"/>
                  <a:pt x="4361" y="1203"/>
                  <a:pt x="4368" y="1203"/>
                </a:cubicBezTo>
                <a:cubicBezTo>
                  <a:pt x="4374" y="1203"/>
                  <a:pt x="4377" y="1206"/>
                  <a:pt x="4383" y="1212"/>
                </a:cubicBezTo>
                <a:close/>
                <a:moveTo>
                  <a:pt x="4588" y="1322"/>
                </a:moveTo>
                <a:cubicBezTo>
                  <a:pt x="4578" y="1313"/>
                  <a:pt x="4569" y="1307"/>
                  <a:pt x="4559" y="1303"/>
                </a:cubicBezTo>
                <a:cubicBezTo>
                  <a:pt x="4547" y="1297"/>
                  <a:pt x="4538" y="1297"/>
                  <a:pt x="4522" y="1297"/>
                </a:cubicBezTo>
                <a:cubicBezTo>
                  <a:pt x="4509" y="1297"/>
                  <a:pt x="4496" y="1297"/>
                  <a:pt x="4484" y="1303"/>
                </a:cubicBezTo>
                <a:cubicBezTo>
                  <a:pt x="4471" y="1307"/>
                  <a:pt x="4462" y="1316"/>
                  <a:pt x="4452" y="1322"/>
                </a:cubicBezTo>
                <a:cubicBezTo>
                  <a:pt x="4446" y="1332"/>
                  <a:pt x="4440" y="1344"/>
                  <a:pt x="4433" y="1354"/>
                </a:cubicBezTo>
                <a:cubicBezTo>
                  <a:pt x="4431" y="1366"/>
                  <a:pt x="4427" y="1379"/>
                  <a:pt x="4427" y="1395"/>
                </a:cubicBezTo>
                <a:cubicBezTo>
                  <a:pt x="4427" y="1407"/>
                  <a:pt x="4427" y="1423"/>
                  <a:pt x="4433" y="1432"/>
                </a:cubicBezTo>
                <a:cubicBezTo>
                  <a:pt x="4437" y="1445"/>
                  <a:pt x="4443" y="1458"/>
                  <a:pt x="4452" y="1464"/>
                </a:cubicBezTo>
                <a:cubicBezTo>
                  <a:pt x="4459" y="1473"/>
                  <a:pt x="4471" y="1480"/>
                  <a:pt x="4481" y="1486"/>
                </a:cubicBezTo>
                <a:cubicBezTo>
                  <a:pt x="4493" y="1492"/>
                  <a:pt x="4506" y="1495"/>
                  <a:pt x="4522" y="1495"/>
                </a:cubicBezTo>
                <a:cubicBezTo>
                  <a:pt x="4540" y="1495"/>
                  <a:pt x="4556" y="1492"/>
                  <a:pt x="4569" y="1486"/>
                </a:cubicBezTo>
                <a:cubicBezTo>
                  <a:pt x="4582" y="1480"/>
                  <a:pt x="4594" y="1470"/>
                  <a:pt x="4607" y="1455"/>
                </a:cubicBezTo>
                <a:cubicBezTo>
                  <a:pt x="4582" y="1436"/>
                  <a:pt x="4582" y="1436"/>
                  <a:pt x="4582" y="1436"/>
                </a:cubicBezTo>
                <a:cubicBezTo>
                  <a:pt x="4575" y="1445"/>
                  <a:pt x="4566" y="1455"/>
                  <a:pt x="4556" y="1458"/>
                </a:cubicBezTo>
                <a:cubicBezTo>
                  <a:pt x="4547" y="1464"/>
                  <a:pt x="4534" y="1464"/>
                  <a:pt x="4522" y="1464"/>
                </a:cubicBezTo>
                <a:cubicBezTo>
                  <a:pt x="4512" y="1464"/>
                  <a:pt x="4506" y="1464"/>
                  <a:pt x="4496" y="1461"/>
                </a:cubicBezTo>
                <a:cubicBezTo>
                  <a:pt x="4490" y="1458"/>
                  <a:pt x="4484" y="1455"/>
                  <a:pt x="4478" y="1448"/>
                </a:cubicBezTo>
                <a:cubicBezTo>
                  <a:pt x="4475" y="1442"/>
                  <a:pt x="4468" y="1436"/>
                  <a:pt x="4465" y="1429"/>
                </a:cubicBezTo>
                <a:cubicBezTo>
                  <a:pt x="4462" y="1420"/>
                  <a:pt x="4462" y="1414"/>
                  <a:pt x="4459" y="1404"/>
                </a:cubicBezTo>
                <a:cubicBezTo>
                  <a:pt x="4613" y="1404"/>
                  <a:pt x="4613" y="1404"/>
                  <a:pt x="4613" y="1404"/>
                </a:cubicBezTo>
                <a:cubicBezTo>
                  <a:pt x="4613" y="1395"/>
                  <a:pt x="4613" y="1395"/>
                  <a:pt x="4613" y="1395"/>
                </a:cubicBezTo>
                <a:cubicBezTo>
                  <a:pt x="4613" y="1379"/>
                  <a:pt x="4610" y="1366"/>
                  <a:pt x="4607" y="1354"/>
                </a:cubicBezTo>
                <a:cubicBezTo>
                  <a:pt x="4601" y="1341"/>
                  <a:pt x="4594" y="1332"/>
                  <a:pt x="4588" y="1322"/>
                </a:cubicBezTo>
                <a:close/>
                <a:moveTo>
                  <a:pt x="4459" y="1379"/>
                </a:moveTo>
                <a:cubicBezTo>
                  <a:pt x="4462" y="1363"/>
                  <a:pt x="4468" y="1347"/>
                  <a:pt x="4478" y="1338"/>
                </a:cubicBezTo>
                <a:cubicBezTo>
                  <a:pt x="4490" y="1329"/>
                  <a:pt x="4503" y="1325"/>
                  <a:pt x="4522" y="1325"/>
                </a:cubicBezTo>
                <a:cubicBezTo>
                  <a:pt x="4538" y="1325"/>
                  <a:pt x="4553" y="1329"/>
                  <a:pt x="4563" y="1338"/>
                </a:cubicBezTo>
                <a:cubicBezTo>
                  <a:pt x="4572" y="1347"/>
                  <a:pt x="4578" y="1363"/>
                  <a:pt x="4578" y="1379"/>
                </a:cubicBezTo>
                <a:lnTo>
                  <a:pt x="4459" y="1379"/>
                </a:lnTo>
                <a:close/>
                <a:moveTo>
                  <a:pt x="4812" y="1329"/>
                </a:moveTo>
                <a:cubicBezTo>
                  <a:pt x="4802" y="1319"/>
                  <a:pt x="4793" y="1310"/>
                  <a:pt x="4780" y="1303"/>
                </a:cubicBezTo>
                <a:cubicBezTo>
                  <a:pt x="4771" y="1300"/>
                  <a:pt x="4758" y="1297"/>
                  <a:pt x="4742" y="1297"/>
                </a:cubicBezTo>
                <a:cubicBezTo>
                  <a:pt x="4726" y="1297"/>
                  <a:pt x="4714" y="1297"/>
                  <a:pt x="4701" y="1303"/>
                </a:cubicBezTo>
                <a:cubicBezTo>
                  <a:pt x="4689" y="1307"/>
                  <a:pt x="4679" y="1316"/>
                  <a:pt x="4670" y="1325"/>
                </a:cubicBezTo>
                <a:cubicBezTo>
                  <a:pt x="4663" y="1332"/>
                  <a:pt x="4657" y="1344"/>
                  <a:pt x="4651" y="1357"/>
                </a:cubicBezTo>
                <a:cubicBezTo>
                  <a:pt x="4648" y="1366"/>
                  <a:pt x="4645" y="1382"/>
                  <a:pt x="4645" y="1395"/>
                </a:cubicBezTo>
                <a:cubicBezTo>
                  <a:pt x="4645" y="1410"/>
                  <a:pt x="4645" y="1423"/>
                  <a:pt x="4651" y="1436"/>
                </a:cubicBezTo>
                <a:cubicBezTo>
                  <a:pt x="4657" y="1445"/>
                  <a:pt x="4663" y="1458"/>
                  <a:pt x="4670" y="1467"/>
                </a:cubicBezTo>
                <a:cubicBezTo>
                  <a:pt x="4679" y="1473"/>
                  <a:pt x="4689" y="1483"/>
                  <a:pt x="4701" y="1486"/>
                </a:cubicBezTo>
                <a:cubicBezTo>
                  <a:pt x="4714" y="1492"/>
                  <a:pt x="4726" y="1495"/>
                  <a:pt x="4739" y="1495"/>
                </a:cubicBezTo>
                <a:cubicBezTo>
                  <a:pt x="4755" y="1495"/>
                  <a:pt x="4771" y="1489"/>
                  <a:pt x="4783" y="1483"/>
                </a:cubicBezTo>
                <a:cubicBezTo>
                  <a:pt x="4796" y="1477"/>
                  <a:pt x="4805" y="1467"/>
                  <a:pt x="4812" y="1455"/>
                </a:cubicBezTo>
                <a:cubicBezTo>
                  <a:pt x="4812" y="1489"/>
                  <a:pt x="4812" y="1489"/>
                  <a:pt x="4812" y="1489"/>
                </a:cubicBezTo>
                <a:cubicBezTo>
                  <a:pt x="4843" y="1489"/>
                  <a:pt x="4843" y="1489"/>
                  <a:pt x="4843" y="1489"/>
                </a:cubicBezTo>
                <a:cubicBezTo>
                  <a:pt x="4843" y="1184"/>
                  <a:pt x="4843" y="1184"/>
                  <a:pt x="4843" y="1184"/>
                </a:cubicBezTo>
                <a:cubicBezTo>
                  <a:pt x="4812" y="1184"/>
                  <a:pt x="4812" y="1184"/>
                  <a:pt x="4812" y="1184"/>
                </a:cubicBezTo>
                <a:lnTo>
                  <a:pt x="4812" y="1329"/>
                </a:lnTo>
                <a:close/>
                <a:moveTo>
                  <a:pt x="4808" y="1423"/>
                </a:moveTo>
                <a:cubicBezTo>
                  <a:pt x="4805" y="1432"/>
                  <a:pt x="4799" y="1439"/>
                  <a:pt x="4793" y="1445"/>
                </a:cubicBezTo>
                <a:cubicBezTo>
                  <a:pt x="4786" y="1451"/>
                  <a:pt x="4780" y="1455"/>
                  <a:pt x="4774" y="1461"/>
                </a:cubicBezTo>
                <a:cubicBezTo>
                  <a:pt x="4764" y="1464"/>
                  <a:pt x="4755" y="1464"/>
                  <a:pt x="4745" y="1464"/>
                </a:cubicBezTo>
                <a:cubicBezTo>
                  <a:pt x="4733" y="1464"/>
                  <a:pt x="4726" y="1464"/>
                  <a:pt x="4717" y="1461"/>
                </a:cubicBezTo>
                <a:cubicBezTo>
                  <a:pt x="4708" y="1458"/>
                  <a:pt x="4701" y="1451"/>
                  <a:pt x="4695" y="1445"/>
                </a:cubicBezTo>
                <a:cubicBezTo>
                  <a:pt x="4689" y="1439"/>
                  <a:pt x="4685" y="1432"/>
                  <a:pt x="4682" y="1423"/>
                </a:cubicBezTo>
                <a:cubicBezTo>
                  <a:pt x="4679" y="1414"/>
                  <a:pt x="4679" y="1404"/>
                  <a:pt x="4679" y="1395"/>
                </a:cubicBezTo>
                <a:cubicBezTo>
                  <a:pt x="4679" y="1385"/>
                  <a:pt x="4679" y="1376"/>
                  <a:pt x="4682" y="1366"/>
                </a:cubicBezTo>
                <a:cubicBezTo>
                  <a:pt x="4685" y="1360"/>
                  <a:pt x="4689" y="1351"/>
                  <a:pt x="4695" y="1344"/>
                </a:cubicBezTo>
                <a:cubicBezTo>
                  <a:pt x="4701" y="1338"/>
                  <a:pt x="4708" y="1335"/>
                  <a:pt x="4717" y="1332"/>
                </a:cubicBezTo>
                <a:cubicBezTo>
                  <a:pt x="4726" y="1325"/>
                  <a:pt x="4736" y="1325"/>
                  <a:pt x="4745" y="1325"/>
                </a:cubicBezTo>
                <a:cubicBezTo>
                  <a:pt x="4755" y="1325"/>
                  <a:pt x="4764" y="1325"/>
                  <a:pt x="4774" y="1332"/>
                </a:cubicBezTo>
                <a:cubicBezTo>
                  <a:pt x="4780" y="1335"/>
                  <a:pt x="4786" y="1338"/>
                  <a:pt x="4793" y="1344"/>
                </a:cubicBezTo>
                <a:cubicBezTo>
                  <a:pt x="4799" y="1351"/>
                  <a:pt x="4805" y="1360"/>
                  <a:pt x="4808" y="1366"/>
                </a:cubicBezTo>
                <a:cubicBezTo>
                  <a:pt x="4808" y="1376"/>
                  <a:pt x="4812" y="1385"/>
                  <a:pt x="4812" y="1395"/>
                </a:cubicBezTo>
                <a:cubicBezTo>
                  <a:pt x="4812" y="1404"/>
                  <a:pt x="4812" y="1414"/>
                  <a:pt x="4808" y="1423"/>
                </a:cubicBezTo>
                <a:close/>
                <a:moveTo>
                  <a:pt x="5022" y="1410"/>
                </a:moveTo>
                <a:cubicBezTo>
                  <a:pt x="5026" y="1417"/>
                  <a:pt x="5026" y="1423"/>
                  <a:pt x="5026" y="1432"/>
                </a:cubicBezTo>
                <a:cubicBezTo>
                  <a:pt x="5026" y="1445"/>
                  <a:pt x="5026" y="1455"/>
                  <a:pt x="5019" y="1461"/>
                </a:cubicBezTo>
                <a:cubicBezTo>
                  <a:pt x="5016" y="1467"/>
                  <a:pt x="5010" y="1473"/>
                  <a:pt x="5003" y="1480"/>
                </a:cubicBezTo>
                <a:cubicBezTo>
                  <a:pt x="4997" y="1483"/>
                  <a:pt x="4988" y="1486"/>
                  <a:pt x="4978" y="1489"/>
                </a:cubicBezTo>
                <a:cubicBezTo>
                  <a:pt x="4969" y="1492"/>
                  <a:pt x="4959" y="1492"/>
                  <a:pt x="4950" y="1492"/>
                </a:cubicBezTo>
                <a:cubicBezTo>
                  <a:pt x="4934" y="1492"/>
                  <a:pt x="4922" y="1489"/>
                  <a:pt x="4909" y="1486"/>
                </a:cubicBezTo>
                <a:cubicBezTo>
                  <a:pt x="4896" y="1480"/>
                  <a:pt x="4887" y="1470"/>
                  <a:pt x="4878" y="1458"/>
                </a:cubicBezTo>
                <a:cubicBezTo>
                  <a:pt x="4903" y="1439"/>
                  <a:pt x="4903" y="1439"/>
                  <a:pt x="4903" y="1439"/>
                </a:cubicBezTo>
                <a:cubicBezTo>
                  <a:pt x="4909" y="1448"/>
                  <a:pt x="4915" y="1455"/>
                  <a:pt x="4922" y="1458"/>
                </a:cubicBezTo>
                <a:cubicBezTo>
                  <a:pt x="4931" y="1464"/>
                  <a:pt x="4941" y="1464"/>
                  <a:pt x="4950" y="1464"/>
                </a:cubicBezTo>
                <a:cubicBezTo>
                  <a:pt x="4956" y="1464"/>
                  <a:pt x="4959" y="1464"/>
                  <a:pt x="4966" y="1464"/>
                </a:cubicBezTo>
                <a:cubicBezTo>
                  <a:pt x="4969" y="1461"/>
                  <a:pt x="4975" y="1461"/>
                  <a:pt x="4978" y="1458"/>
                </a:cubicBezTo>
                <a:cubicBezTo>
                  <a:pt x="4982" y="1455"/>
                  <a:pt x="4985" y="1451"/>
                  <a:pt x="4988" y="1448"/>
                </a:cubicBezTo>
                <a:cubicBezTo>
                  <a:pt x="4991" y="1445"/>
                  <a:pt x="4991" y="1442"/>
                  <a:pt x="4991" y="1436"/>
                </a:cubicBezTo>
                <a:cubicBezTo>
                  <a:pt x="4991" y="1429"/>
                  <a:pt x="4991" y="1426"/>
                  <a:pt x="4988" y="1423"/>
                </a:cubicBezTo>
                <a:cubicBezTo>
                  <a:pt x="4988" y="1420"/>
                  <a:pt x="4985" y="1417"/>
                  <a:pt x="4978" y="1414"/>
                </a:cubicBezTo>
                <a:cubicBezTo>
                  <a:pt x="4975" y="1414"/>
                  <a:pt x="4972" y="1410"/>
                  <a:pt x="4966" y="1410"/>
                </a:cubicBezTo>
                <a:cubicBezTo>
                  <a:pt x="4963" y="1407"/>
                  <a:pt x="4956" y="1407"/>
                  <a:pt x="4953" y="1404"/>
                </a:cubicBezTo>
                <a:cubicBezTo>
                  <a:pt x="4944" y="1404"/>
                  <a:pt x="4934" y="1401"/>
                  <a:pt x="4928" y="1398"/>
                </a:cubicBezTo>
                <a:cubicBezTo>
                  <a:pt x="4919" y="1398"/>
                  <a:pt x="4912" y="1395"/>
                  <a:pt x="4906" y="1388"/>
                </a:cubicBezTo>
                <a:cubicBezTo>
                  <a:pt x="4900" y="1385"/>
                  <a:pt x="4894" y="1382"/>
                  <a:pt x="4890" y="1376"/>
                </a:cubicBezTo>
                <a:cubicBezTo>
                  <a:pt x="4887" y="1370"/>
                  <a:pt x="4884" y="1360"/>
                  <a:pt x="4884" y="1351"/>
                </a:cubicBezTo>
                <a:cubicBezTo>
                  <a:pt x="4884" y="1341"/>
                  <a:pt x="4887" y="1332"/>
                  <a:pt x="4890" y="1325"/>
                </a:cubicBezTo>
                <a:cubicBezTo>
                  <a:pt x="4896" y="1319"/>
                  <a:pt x="4900" y="1313"/>
                  <a:pt x="4906" y="1310"/>
                </a:cubicBezTo>
                <a:cubicBezTo>
                  <a:pt x="4915" y="1303"/>
                  <a:pt x="4922" y="1300"/>
                  <a:pt x="4931" y="1297"/>
                </a:cubicBezTo>
                <a:cubicBezTo>
                  <a:pt x="4938" y="1297"/>
                  <a:pt x="4947" y="1294"/>
                  <a:pt x="4956" y="1294"/>
                </a:cubicBezTo>
                <a:cubicBezTo>
                  <a:pt x="4969" y="1294"/>
                  <a:pt x="4982" y="1297"/>
                  <a:pt x="4994" y="1303"/>
                </a:cubicBezTo>
                <a:cubicBezTo>
                  <a:pt x="5003" y="1307"/>
                  <a:pt x="5013" y="1316"/>
                  <a:pt x="5019" y="1329"/>
                </a:cubicBezTo>
                <a:cubicBezTo>
                  <a:pt x="4994" y="1347"/>
                  <a:pt x="4994" y="1347"/>
                  <a:pt x="4994" y="1347"/>
                </a:cubicBezTo>
                <a:cubicBezTo>
                  <a:pt x="4991" y="1338"/>
                  <a:pt x="4985" y="1335"/>
                  <a:pt x="4978" y="1329"/>
                </a:cubicBezTo>
                <a:cubicBezTo>
                  <a:pt x="4972" y="1325"/>
                  <a:pt x="4963" y="1322"/>
                  <a:pt x="4953" y="1322"/>
                </a:cubicBezTo>
                <a:cubicBezTo>
                  <a:pt x="4950" y="1322"/>
                  <a:pt x="4944" y="1322"/>
                  <a:pt x="4941" y="1325"/>
                </a:cubicBezTo>
                <a:cubicBezTo>
                  <a:pt x="4938" y="1325"/>
                  <a:pt x="4931" y="1329"/>
                  <a:pt x="4928" y="1329"/>
                </a:cubicBezTo>
                <a:cubicBezTo>
                  <a:pt x="4925" y="1332"/>
                  <a:pt x="4922" y="1335"/>
                  <a:pt x="4922" y="1338"/>
                </a:cubicBezTo>
                <a:cubicBezTo>
                  <a:pt x="4919" y="1341"/>
                  <a:pt x="4915" y="1344"/>
                  <a:pt x="4915" y="1351"/>
                </a:cubicBezTo>
                <a:cubicBezTo>
                  <a:pt x="4915" y="1354"/>
                  <a:pt x="4919" y="1357"/>
                  <a:pt x="4922" y="1360"/>
                </a:cubicBezTo>
                <a:cubicBezTo>
                  <a:pt x="4922" y="1363"/>
                  <a:pt x="4928" y="1366"/>
                  <a:pt x="4931" y="1366"/>
                </a:cubicBezTo>
                <a:cubicBezTo>
                  <a:pt x="4934" y="1370"/>
                  <a:pt x="4941" y="1373"/>
                  <a:pt x="4947" y="1373"/>
                </a:cubicBezTo>
                <a:cubicBezTo>
                  <a:pt x="4953" y="1376"/>
                  <a:pt x="4959" y="1376"/>
                  <a:pt x="4966" y="1376"/>
                </a:cubicBezTo>
                <a:cubicBezTo>
                  <a:pt x="4972" y="1379"/>
                  <a:pt x="4982" y="1382"/>
                  <a:pt x="4988" y="1382"/>
                </a:cubicBezTo>
                <a:cubicBezTo>
                  <a:pt x="4997" y="1385"/>
                  <a:pt x="5003" y="1388"/>
                  <a:pt x="5007" y="1395"/>
                </a:cubicBezTo>
                <a:cubicBezTo>
                  <a:pt x="5013" y="1398"/>
                  <a:pt x="5019" y="1404"/>
                  <a:pt x="5022" y="1410"/>
                </a:cubicBezTo>
                <a:close/>
                <a:moveTo>
                  <a:pt x="5227" y="1322"/>
                </a:moveTo>
                <a:cubicBezTo>
                  <a:pt x="5218" y="1316"/>
                  <a:pt x="5208" y="1310"/>
                  <a:pt x="5196" y="1303"/>
                </a:cubicBezTo>
                <a:cubicBezTo>
                  <a:pt x="5183" y="1300"/>
                  <a:pt x="5171" y="1297"/>
                  <a:pt x="5155" y="1297"/>
                </a:cubicBezTo>
                <a:cubicBezTo>
                  <a:pt x="5139" y="1297"/>
                  <a:pt x="5126" y="1297"/>
                  <a:pt x="5114" y="1303"/>
                </a:cubicBezTo>
                <a:cubicBezTo>
                  <a:pt x="5101" y="1307"/>
                  <a:pt x="5092" y="1316"/>
                  <a:pt x="5082" y="1322"/>
                </a:cubicBezTo>
                <a:cubicBezTo>
                  <a:pt x="5073" y="1332"/>
                  <a:pt x="5066" y="1341"/>
                  <a:pt x="5060" y="1354"/>
                </a:cubicBezTo>
                <a:cubicBezTo>
                  <a:pt x="5057" y="1366"/>
                  <a:pt x="5054" y="1379"/>
                  <a:pt x="5054" y="1395"/>
                </a:cubicBezTo>
                <a:cubicBezTo>
                  <a:pt x="5054" y="1410"/>
                  <a:pt x="5057" y="1423"/>
                  <a:pt x="5060" y="1436"/>
                </a:cubicBezTo>
                <a:cubicBezTo>
                  <a:pt x="5066" y="1448"/>
                  <a:pt x="5073" y="1458"/>
                  <a:pt x="5082" y="1467"/>
                </a:cubicBezTo>
                <a:cubicBezTo>
                  <a:pt x="5092" y="1473"/>
                  <a:pt x="5101" y="1483"/>
                  <a:pt x="5114" y="1486"/>
                </a:cubicBezTo>
                <a:cubicBezTo>
                  <a:pt x="5126" y="1492"/>
                  <a:pt x="5139" y="1492"/>
                  <a:pt x="5155" y="1492"/>
                </a:cubicBezTo>
                <a:cubicBezTo>
                  <a:pt x="5171" y="1492"/>
                  <a:pt x="5183" y="1492"/>
                  <a:pt x="5196" y="1486"/>
                </a:cubicBezTo>
                <a:cubicBezTo>
                  <a:pt x="5208" y="1483"/>
                  <a:pt x="5218" y="1477"/>
                  <a:pt x="5227" y="1467"/>
                </a:cubicBezTo>
                <a:cubicBezTo>
                  <a:pt x="5236" y="1458"/>
                  <a:pt x="5243" y="1448"/>
                  <a:pt x="5249" y="1436"/>
                </a:cubicBezTo>
                <a:cubicBezTo>
                  <a:pt x="5252" y="1423"/>
                  <a:pt x="5255" y="1410"/>
                  <a:pt x="5255" y="1395"/>
                </a:cubicBezTo>
                <a:cubicBezTo>
                  <a:pt x="5255" y="1379"/>
                  <a:pt x="5252" y="1366"/>
                  <a:pt x="5249" y="1354"/>
                </a:cubicBezTo>
                <a:cubicBezTo>
                  <a:pt x="5243" y="1344"/>
                  <a:pt x="5236" y="1332"/>
                  <a:pt x="5227" y="1322"/>
                </a:cubicBezTo>
                <a:close/>
                <a:moveTo>
                  <a:pt x="5218" y="1423"/>
                </a:moveTo>
                <a:cubicBezTo>
                  <a:pt x="5215" y="1432"/>
                  <a:pt x="5208" y="1439"/>
                  <a:pt x="5202" y="1445"/>
                </a:cubicBezTo>
                <a:cubicBezTo>
                  <a:pt x="5199" y="1451"/>
                  <a:pt x="5189" y="1455"/>
                  <a:pt x="5183" y="1461"/>
                </a:cubicBezTo>
                <a:cubicBezTo>
                  <a:pt x="5173" y="1464"/>
                  <a:pt x="5164" y="1464"/>
                  <a:pt x="5155" y="1464"/>
                </a:cubicBezTo>
                <a:cubicBezTo>
                  <a:pt x="5145" y="1464"/>
                  <a:pt x="5136" y="1464"/>
                  <a:pt x="5126" y="1461"/>
                </a:cubicBezTo>
                <a:cubicBezTo>
                  <a:pt x="5120" y="1458"/>
                  <a:pt x="5111" y="1451"/>
                  <a:pt x="5104" y="1445"/>
                </a:cubicBezTo>
                <a:cubicBezTo>
                  <a:pt x="5101" y="1439"/>
                  <a:pt x="5095" y="1432"/>
                  <a:pt x="5092" y="1423"/>
                </a:cubicBezTo>
                <a:cubicBezTo>
                  <a:pt x="5089" y="1414"/>
                  <a:pt x="5089" y="1404"/>
                  <a:pt x="5089" y="1395"/>
                </a:cubicBezTo>
                <a:cubicBezTo>
                  <a:pt x="5089" y="1385"/>
                  <a:pt x="5089" y="1376"/>
                  <a:pt x="5092" y="1366"/>
                </a:cubicBezTo>
                <a:cubicBezTo>
                  <a:pt x="5095" y="1360"/>
                  <a:pt x="5101" y="1351"/>
                  <a:pt x="5104" y="1344"/>
                </a:cubicBezTo>
                <a:cubicBezTo>
                  <a:pt x="5111" y="1338"/>
                  <a:pt x="5117" y="1335"/>
                  <a:pt x="5126" y="1332"/>
                </a:cubicBezTo>
                <a:cubicBezTo>
                  <a:pt x="5136" y="1325"/>
                  <a:pt x="5145" y="1325"/>
                  <a:pt x="5155" y="1325"/>
                </a:cubicBezTo>
                <a:cubicBezTo>
                  <a:pt x="5164" y="1325"/>
                  <a:pt x="5173" y="1325"/>
                  <a:pt x="5183" y="1332"/>
                </a:cubicBezTo>
                <a:cubicBezTo>
                  <a:pt x="5189" y="1335"/>
                  <a:pt x="5199" y="1338"/>
                  <a:pt x="5202" y="1344"/>
                </a:cubicBezTo>
                <a:cubicBezTo>
                  <a:pt x="5208" y="1351"/>
                  <a:pt x="5215" y="1360"/>
                  <a:pt x="5218" y="1366"/>
                </a:cubicBezTo>
                <a:cubicBezTo>
                  <a:pt x="5221" y="1376"/>
                  <a:pt x="5221" y="1385"/>
                  <a:pt x="5221" y="1395"/>
                </a:cubicBezTo>
                <a:cubicBezTo>
                  <a:pt x="5221" y="1404"/>
                  <a:pt x="5221" y="1414"/>
                  <a:pt x="5218" y="1423"/>
                </a:cubicBezTo>
                <a:close/>
                <a:moveTo>
                  <a:pt x="5457" y="1341"/>
                </a:moveTo>
                <a:cubicBezTo>
                  <a:pt x="5460" y="1351"/>
                  <a:pt x="5463" y="1360"/>
                  <a:pt x="5463" y="1373"/>
                </a:cubicBezTo>
                <a:cubicBezTo>
                  <a:pt x="5463" y="1489"/>
                  <a:pt x="5463" y="1489"/>
                  <a:pt x="5463" y="1489"/>
                </a:cubicBezTo>
                <a:cubicBezTo>
                  <a:pt x="5432" y="1489"/>
                  <a:pt x="5432" y="1489"/>
                  <a:pt x="5432" y="1489"/>
                </a:cubicBezTo>
                <a:cubicBezTo>
                  <a:pt x="5432" y="1376"/>
                  <a:pt x="5432" y="1376"/>
                  <a:pt x="5432" y="1376"/>
                </a:cubicBezTo>
                <a:cubicBezTo>
                  <a:pt x="5432" y="1360"/>
                  <a:pt x="5429" y="1347"/>
                  <a:pt x="5419" y="1338"/>
                </a:cubicBezTo>
                <a:cubicBezTo>
                  <a:pt x="5413" y="1329"/>
                  <a:pt x="5404" y="1322"/>
                  <a:pt x="5388" y="1322"/>
                </a:cubicBezTo>
                <a:cubicBezTo>
                  <a:pt x="5378" y="1322"/>
                  <a:pt x="5369" y="1325"/>
                  <a:pt x="5362" y="1329"/>
                </a:cubicBezTo>
                <a:cubicBezTo>
                  <a:pt x="5353" y="1332"/>
                  <a:pt x="5347" y="1338"/>
                  <a:pt x="5344" y="1344"/>
                </a:cubicBezTo>
                <a:cubicBezTo>
                  <a:pt x="5337" y="1351"/>
                  <a:pt x="5334" y="1357"/>
                  <a:pt x="5331" y="1366"/>
                </a:cubicBezTo>
                <a:cubicBezTo>
                  <a:pt x="5331" y="1376"/>
                  <a:pt x="5328" y="1385"/>
                  <a:pt x="5328" y="1395"/>
                </a:cubicBezTo>
                <a:cubicBezTo>
                  <a:pt x="5328" y="1489"/>
                  <a:pt x="5328" y="1489"/>
                  <a:pt x="5328" y="1489"/>
                </a:cubicBezTo>
                <a:cubicBezTo>
                  <a:pt x="5296" y="1489"/>
                  <a:pt x="5296" y="1489"/>
                  <a:pt x="5296" y="1489"/>
                </a:cubicBezTo>
                <a:cubicBezTo>
                  <a:pt x="5296" y="1344"/>
                  <a:pt x="5296" y="1344"/>
                  <a:pt x="5296" y="1344"/>
                </a:cubicBezTo>
                <a:cubicBezTo>
                  <a:pt x="5299" y="1344"/>
                  <a:pt x="5299" y="1344"/>
                  <a:pt x="5299" y="1344"/>
                </a:cubicBezTo>
                <a:cubicBezTo>
                  <a:pt x="5299" y="1338"/>
                  <a:pt x="5296" y="1329"/>
                  <a:pt x="5296" y="1322"/>
                </a:cubicBezTo>
                <a:cubicBezTo>
                  <a:pt x="5296" y="1313"/>
                  <a:pt x="5296" y="1307"/>
                  <a:pt x="5296" y="1300"/>
                </a:cubicBezTo>
                <a:cubicBezTo>
                  <a:pt x="5325" y="1300"/>
                  <a:pt x="5325" y="1300"/>
                  <a:pt x="5325" y="1300"/>
                </a:cubicBezTo>
                <a:cubicBezTo>
                  <a:pt x="5325" y="1307"/>
                  <a:pt x="5325" y="1310"/>
                  <a:pt x="5328" y="1316"/>
                </a:cubicBezTo>
                <a:cubicBezTo>
                  <a:pt x="5328" y="1319"/>
                  <a:pt x="5328" y="1325"/>
                  <a:pt x="5328" y="1332"/>
                </a:cubicBezTo>
                <a:cubicBezTo>
                  <a:pt x="5331" y="1325"/>
                  <a:pt x="5334" y="1322"/>
                  <a:pt x="5337" y="1319"/>
                </a:cubicBezTo>
                <a:cubicBezTo>
                  <a:pt x="5341" y="1313"/>
                  <a:pt x="5347" y="1310"/>
                  <a:pt x="5350" y="1307"/>
                </a:cubicBezTo>
                <a:cubicBezTo>
                  <a:pt x="5356" y="1303"/>
                  <a:pt x="5362" y="1300"/>
                  <a:pt x="5369" y="1297"/>
                </a:cubicBezTo>
                <a:cubicBezTo>
                  <a:pt x="5375" y="1297"/>
                  <a:pt x="5381" y="1297"/>
                  <a:pt x="5391" y="1297"/>
                </a:cubicBezTo>
                <a:cubicBezTo>
                  <a:pt x="5404" y="1297"/>
                  <a:pt x="5413" y="1297"/>
                  <a:pt x="5422" y="1300"/>
                </a:cubicBezTo>
                <a:cubicBezTo>
                  <a:pt x="5432" y="1303"/>
                  <a:pt x="5438" y="1310"/>
                  <a:pt x="5444" y="1316"/>
                </a:cubicBezTo>
                <a:cubicBezTo>
                  <a:pt x="5451" y="1322"/>
                  <a:pt x="5454" y="1332"/>
                  <a:pt x="5457" y="1341"/>
                </a:cubicBezTo>
                <a:close/>
                <a:moveTo>
                  <a:pt x="5618" y="1458"/>
                </a:moveTo>
                <a:cubicBezTo>
                  <a:pt x="5621" y="1486"/>
                  <a:pt x="5621" y="1486"/>
                  <a:pt x="5621" y="1486"/>
                </a:cubicBezTo>
                <a:cubicBezTo>
                  <a:pt x="5614" y="1489"/>
                  <a:pt x="5608" y="1492"/>
                  <a:pt x="5602" y="1492"/>
                </a:cubicBezTo>
                <a:cubicBezTo>
                  <a:pt x="5595" y="1492"/>
                  <a:pt x="5589" y="1492"/>
                  <a:pt x="5583" y="1492"/>
                </a:cubicBezTo>
                <a:cubicBezTo>
                  <a:pt x="5570" y="1492"/>
                  <a:pt x="5561" y="1492"/>
                  <a:pt x="5555" y="1489"/>
                </a:cubicBezTo>
                <a:cubicBezTo>
                  <a:pt x="5548" y="1486"/>
                  <a:pt x="5545" y="1483"/>
                  <a:pt x="5539" y="1477"/>
                </a:cubicBezTo>
                <a:cubicBezTo>
                  <a:pt x="5536" y="1470"/>
                  <a:pt x="5532" y="1464"/>
                  <a:pt x="5532" y="1458"/>
                </a:cubicBezTo>
                <a:cubicBezTo>
                  <a:pt x="5532" y="1448"/>
                  <a:pt x="5529" y="1439"/>
                  <a:pt x="5529" y="1429"/>
                </a:cubicBezTo>
                <a:cubicBezTo>
                  <a:pt x="5529" y="1325"/>
                  <a:pt x="5529" y="1325"/>
                  <a:pt x="5529" y="1325"/>
                </a:cubicBezTo>
                <a:cubicBezTo>
                  <a:pt x="5488" y="1325"/>
                  <a:pt x="5488" y="1325"/>
                  <a:pt x="5488" y="1325"/>
                </a:cubicBezTo>
                <a:cubicBezTo>
                  <a:pt x="5488" y="1300"/>
                  <a:pt x="5488" y="1300"/>
                  <a:pt x="5488" y="1300"/>
                </a:cubicBezTo>
                <a:cubicBezTo>
                  <a:pt x="5529" y="1300"/>
                  <a:pt x="5529" y="1300"/>
                  <a:pt x="5529" y="1300"/>
                </a:cubicBezTo>
                <a:cubicBezTo>
                  <a:pt x="5529" y="1247"/>
                  <a:pt x="5529" y="1247"/>
                  <a:pt x="5529" y="1247"/>
                </a:cubicBezTo>
                <a:cubicBezTo>
                  <a:pt x="5561" y="1247"/>
                  <a:pt x="5561" y="1247"/>
                  <a:pt x="5561" y="1247"/>
                </a:cubicBezTo>
                <a:cubicBezTo>
                  <a:pt x="5561" y="1300"/>
                  <a:pt x="5561" y="1300"/>
                  <a:pt x="5561" y="1300"/>
                </a:cubicBezTo>
                <a:cubicBezTo>
                  <a:pt x="5618" y="1300"/>
                  <a:pt x="5618" y="1300"/>
                  <a:pt x="5618" y="1300"/>
                </a:cubicBezTo>
                <a:cubicBezTo>
                  <a:pt x="5618" y="1329"/>
                  <a:pt x="5618" y="1329"/>
                  <a:pt x="5618" y="1329"/>
                </a:cubicBezTo>
                <a:cubicBezTo>
                  <a:pt x="5561" y="1329"/>
                  <a:pt x="5561" y="1329"/>
                  <a:pt x="5561" y="1329"/>
                </a:cubicBezTo>
                <a:cubicBezTo>
                  <a:pt x="5561" y="1423"/>
                  <a:pt x="5561" y="1423"/>
                  <a:pt x="5561" y="1423"/>
                </a:cubicBezTo>
                <a:cubicBezTo>
                  <a:pt x="5561" y="1426"/>
                  <a:pt x="5561" y="1432"/>
                  <a:pt x="5561" y="1439"/>
                </a:cubicBezTo>
                <a:cubicBezTo>
                  <a:pt x="5564" y="1445"/>
                  <a:pt x="5564" y="1448"/>
                  <a:pt x="5564" y="1451"/>
                </a:cubicBezTo>
                <a:cubicBezTo>
                  <a:pt x="5567" y="1458"/>
                  <a:pt x="5570" y="1461"/>
                  <a:pt x="5574" y="1461"/>
                </a:cubicBezTo>
                <a:cubicBezTo>
                  <a:pt x="5576" y="1464"/>
                  <a:pt x="5583" y="1464"/>
                  <a:pt x="5589" y="1464"/>
                </a:cubicBezTo>
                <a:cubicBezTo>
                  <a:pt x="5595" y="1464"/>
                  <a:pt x="5599" y="1464"/>
                  <a:pt x="5605" y="1464"/>
                </a:cubicBezTo>
                <a:cubicBezTo>
                  <a:pt x="5608" y="1461"/>
                  <a:pt x="5614" y="1461"/>
                  <a:pt x="5618" y="1458"/>
                </a:cubicBezTo>
                <a:close/>
                <a:moveTo>
                  <a:pt x="5892" y="1300"/>
                </a:moveTo>
                <a:cubicBezTo>
                  <a:pt x="5926" y="1300"/>
                  <a:pt x="5926" y="1300"/>
                  <a:pt x="5926" y="1300"/>
                </a:cubicBezTo>
                <a:cubicBezTo>
                  <a:pt x="5863" y="1489"/>
                  <a:pt x="5863" y="1489"/>
                  <a:pt x="5863" y="1489"/>
                </a:cubicBezTo>
                <a:cubicBezTo>
                  <a:pt x="5832" y="1489"/>
                  <a:pt x="5832" y="1489"/>
                  <a:pt x="5832" y="1489"/>
                </a:cubicBezTo>
                <a:cubicBezTo>
                  <a:pt x="5778" y="1344"/>
                  <a:pt x="5778" y="1344"/>
                  <a:pt x="5778" y="1344"/>
                </a:cubicBezTo>
                <a:cubicBezTo>
                  <a:pt x="5731" y="1489"/>
                  <a:pt x="5731" y="1489"/>
                  <a:pt x="5731" y="1489"/>
                </a:cubicBezTo>
                <a:cubicBezTo>
                  <a:pt x="5699" y="1489"/>
                  <a:pt x="5699" y="1489"/>
                  <a:pt x="5699" y="1489"/>
                </a:cubicBezTo>
                <a:cubicBezTo>
                  <a:pt x="5637" y="1300"/>
                  <a:pt x="5637" y="1300"/>
                  <a:pt x="5637" y="1300"/>
                </a:cubicBezTo>
                <a:cubicBezTo>
                  <a:pt x="5671" y="1300"/>
                  <a:pt x="5671" y="1300"/>
                  <a:pt x="5671" y="1300"/>
                </a:cubicBezTo>
                <a:cubicBezTo>
                  <a:pt x="5715" y="1445"/>
                  <a:pt x="5715" y="1445"/>
                  <a:pt x="5715" y="1445"/>
                </a:cubicBezTo>
                <a:cubicBezTo>
                  <a:pt x="5766" y="1300"/>
                  <a:pt x="5766" y="1300"/>
                  <a:pt x="5766" y="1300"/>
                </a:cubicBezTo>
                <a:cubicBezTo>
                  <a:pt x="5797" y="1300"/>
                  <a:pt x="5797" y="1300"/>
                  <a:pt x="5797" y="1300"/>
                </a:cubicBezTo>
                <a:cubicBezTo>
                  <a:pt x="5848" y="1445"/>
                  <a:pt x="5848" y="1445"/>
                  <a:pt x="5848" y="1445"/>
                </a:cubicBezTo>
                <a:lnTo>
                  <a:pt x="5892" y="1300"/>
                </a:lnTo>
                <a:close/>
                <a:moveTo>
                  <a:pt x="5989" y="1212"/>
                </a:moveTo>
                <a:cubicBezTo>
                  <a:pt x="5992" y="1215"/>
                  <a:pt x="5995" y="1222"/>
                  <a:pt x="5995" y="1228"/>
                </a:cubicBezTo>
                <a:cubicBezTo>
                  <a:pt x="5995" y="1234"/>
                  <a:pt x="5992" y="1237"/>
                  <a:pt x="5989" y="1244"/>
                </a:cubicBezTo>
                <a:cubicBezTo>
                  <a:pt x="5986" y="1247"/>
                  <a:pt x="5980" y="1250"/>
                  <a:pt x="5974" y="1250"/>
                </a:cubicBezTo>
                <a:cubicBezTo>
                  <a:pt x="5967" y="1250"/>
                  <a:pt x="5961" y="1247"/>
                  <a:pt x="5958" y="1244"/>
                </a:cubicBezTo>
                <a:cubicBezTo>
                  <a:pt x="5951" y="1240"/>
                  <a:pt x="5948" y="1234"/>
                  <a:pt x="5948" y="1228"/>
                </a:cubicBezTo>
                <a:cubicBezTo>
                  <a:pt x="5948" y="1222"/>
                  <a:pt x="5951" y="1215"/>
                  <a:pt x="5958" y="1212"/>
                </a:cubicBezTo>
                <a:cubicBezTo>
                  <a:pt x="5961" y="1206"/>
                  <a:pt x="5967" y="1203"/>
                  <a:pt x="5974" y="1203"/>
                </a:cubicBezTo>
                <a:cubicBezTo>
                  <a:pt x="5980" y="1203"/>
                  <a:pt x="5986" y="1206"/>
                  <a:pt x="5989" y="1212"/>
                </a:cubicBezTo>
                <a:close/>
                <a:moveTo>
                  <a:pt x="5958" y="1300"/>
                </a:moveTo>
                <a:cubicBezTo>
                  <a:pt x="5989" y="1300"/>
                  <a:pt x="5989" y="1300"/>
                  <a:pt x="5989" y="1300"/>
                </a:cubicBezTo>
                <a:cubicBezTo>
                  <a:pt x="5989" y="1489"/>
                  <a:pt x="5989" y="1489"/>
                  <a:pt x="5989" y="1489"/>
                </a:cubicBezTo>
                <a:cubicBezTo>
                  <a:pt x="5958" y="1489"/>
                  <a:pt x="5958" y="1489"/>
                  <a:pt x="5958" y="1489"/>
                </a:cubicBezTo>
                <a:lnTo>
                  <a:pt x="5958" y="1300"/>
                </a:lnTo>
                <a:close/>
                <a:moveTo>
                  <a:pt x="6115" y="1385"/>
                </a:moveTo>
                <a:cubicBezTo>
                  <a:pt x="6216" y="1489"/>
                  <a:pt x="6216" y="1489"/>
                  <a:pt x="6216" y="1489"/>
                </a:cubicBezTo>
                <a:cubicBezTo>
                  <a:pt x="6169" y="1489"/>
                  <a:pt x="6169" y="1489"/>
                  <a:pt x="6169" y="1489"/>
                </a:cubicBezTo>
                <a:cubicBezTo>
                  <a:pt x="6074" y="1392"/>
                  <a:pt x="6074" y="1392"/>
                  <a:pt x="6074" y="1392"/>
                </a:cubicBezTo>
                <a:cubicBezTo>
                  <a:pt x="6074" y="1489"/>
                  <a:pt x="6074" y="1489"/>
                  <a:pt x="6074" y="1489"/>
                </a:cubicBezTo>
                <a:cubicBezTo>
                  <a:pt x="6043" y="1489"/>
                  <a:pt x="6043" y="1489"/>
                  <a:pt x="6043" y="1489"/>
                </a:cubicBezTo>
                <a:cubicBezTo>
                  <a:pt x="6043" y="1184"/>
                  <a:pt x="6043" y="1184"/>
                  <a:pt x="6043" y="1184"/>
                </a:cubicBezTo>
                <a:cubicBezTo>
                  <a:pt x="6074" y="1184"/>
                  <a:pt x="6074" y="1184"/>
                  <a:pt x="6074" y="1184"/>
                </a:cubicBezTo>
                <a:cubicBezTo>
                  <a:pt x="6074" y="1382"/>
                  <a:pt x="6074" y="1382"/>
                  <a:pt x="6074" y="1382"/>
                </a:cubicBezTo>
                <a:cubicBezTo>
                  <a:pt x="6159" y="1300"/>
                  <a:pt x="6159" y="1300"/>
                  <a:pt x="6159" y="1300"/>
                </a:cubicBezTo>
                <a:cubicBezTo>
                  <a:pt x="6207" y="1300"/>
                  <a:pt x="6207" y="1300"/>
                  <a:pt x="6207" y="1300"/>
                </a:cubicBezTo>
                <a:lnTo>
                  <a:pt x="6115" y="1385"/>
                </a:lnTo>
                <a:close/>
                <a:moveTo>
                  <a:pt x="6314" y="1385"/>
                </a:moveTo>
                <a:cubicBezTo>
                  <a:pt x="6414" y="1489"/>
                  <a:pt x="6414" y="1489"/>
                  <a:pt x="6414" y="1489"/>
                </a:cubicBezTo>
                <a:cubicBezTo>
                  <a:pt x="6367" y="1489"/>
                  <a:pt x="6367" y="1489"/>
                  <a:pt x="6367" y="1489"/>
                </a:cubicBezTo>
                <a:cubicBezTo>
                  <a:pt x="6276" y="1392"/>
                  <a:pt x="6276" y="1392"/>
                  <a:pt x="6276" y="1392"/>
                </a:cubicBezTo>
                <a:cubicBezTo>
                  <a:pt x="6276" y="1489"/>
                  <a:pt x="6276" y="1489"/>
                  <a:pt x="6276" y="1489"/>
                </a:cubicBezTo>
                <a:cubicBezTo>
                  <a:pt x="6244" y="1489"/>
                  <a:pt x="6244" y="1489"/>
                  <a:pt x="6244" y="1489"/>
                </a:cubicBezTo>
                <a:cubicBezTo>
                  <a:pt x="6244" y="1184"/>
                  <a:pt x="6244" y="1184"/>
                  <a:pt x="6244" y="1184"/>
                </a:cubicBezTo>
                <a:cubicBezTo>
                  <a:pt x="6276" y="1184"/>
                  <a:pt x="6276" y="1184"/>
                  <a:pt x="6276" y="1184"/>
                </a:cubicBezTo>
                <a:cubicBezTo>
                  <a:pt x="6276" y="1382"/>
                  <a:pt x="6276" y="1382"/>
                  <a:pt x="6276" y="1382"/>
                </a:cubicBezTo>
                <a:cubicBezTo>
                  <a:pt x="6361" y="1300"/>
                  <a:pt x="6361" y="1300"/>
                  <a:pt x="6361" y="1300"/>
                </a:cubicBezTo>
                <a:cubicBezTo>
                  <a:pt x="6405" y="1300"/>
                  <a:pt x="6405" y="1300"/>
                  <a:pt x="6405" y="1300"/>
                </a:cubicBezTo>
                <a:lnTo>
                  <a:pt x="6314" y="1385"/>
                </a:lnTo>
                <a:close/>
                <a:moveTo>
                  <a:pt x="6578" y="1322"/>
                </a:moveTo>
                <a:cubicBezTo>
                  <a:pt x="6568" y="1313"/>
                  <a:pt x="6559" y="1307"/>
                  <a:pt x="6550" y="1303"/>
                </a:cubicBezTo>
                <a:cubicBezTo>
                  <a:pt x="6537" y="1297"/>
                  <a:pt x="6528" y="1297"/>
                  <a:pt x="6512" y="1297"/>
                </a:cubicBezTo>
                <a:cubicBezTo>
                  <a:pt x="6499" y="1297"/>
                  <a:pt x="6487" y="1297"/>
                  <a:pt x="6474" y="1303"/>
                </a:cubicBezTo>
                <a:cubicBezTo>
                  <a:pt x="6461" y="1307"/>
                  <a:pt x="6452" y="1316"/>
                  <a:pt x="6442" y="1322"/>
                </a:cubicBezTo>
                <a:cubicBezTo>
                  <a:pt x="6436" y="1332"/>
                  <a:pt x="6430" y="1344"/>
                  <a:pt x="6424" y="1354"/>
                </a:cubicBezTo>
                <a:cubicBezTo>
                  <a:pt x="6421" y="1366"/>
                  <a:pt x="6417" y="1379"/>
                  <a:pt x="6417" y="1395"/>
                </a:cubicBezTo>
                <a:cubicBezTo>
                  <a:pt x="6417" y="1407"/>
                  <a:pt x="6417" y="1423"/>
                  <a:pt x="6424" y="1432"/>
                </a:cubicBezTo>
                <a:cubicBezTo>
                  <a:pt x="6427" y="1445"/>
                  <a:pt x="6433" y="1458"/>
                  <a:pt x="6442" y="1464"/>
                </a:cubicBezTo>
                <a:cubicBezTo>
                  <a:pt x="6452" y="1473"/>
                  <a:pt x="6461" y="1480"/>
                  <a:pt x="6471" y="1486"/>
                </a:cubicBezTo>
                <a:cubicBezTo>
                  <a:pt x="6484" y="1492"/>
                  <a:pt x="6496" y="1495"/>
                  <a:pt x="6512" y="1495"/>
                </a:cubicBezTo>
                <a:cubicBezTo>
                  <a:pt x="6531" y="1495"/>
                  <a:pt x="6547" y="1489"/>
                  <a:pt x="6559" y="1486"/>
                </a:cubicBezTo>
                <a:cubicBezTo>
                  <a:pt x="6572" y="1480"/>
                  <a:pt x="6584" y="1470"/>
                  <a:pt x="6597" y="1455"/>
                </a:cubicBezTo>
                <a:cubicBezTo>
                  <a:pt x="6572" y="1436"/>
                  <a:pt x="6572" y="1436"/>
                  <a:pt x="6572" y="1436"/>
                </a:cubicBezTo>
                <a:cubicBezTo>
                  <a:pt x="6565" y="1445"/>
                  <a:pt x="6556" y="1455"/>
                  <a:pt x="6547" y="1458"/>
                </a:cubicBezTo>
                <a:cubicBezTo>
                  <a:pt x="6537" y="1464"/>
                  <a:pt x="6524" y="1464"/>
                  <a:pt x="6512" y="1464"/>
                </a:cubicBezTo>
                <a:cubicBezTo>
                  <a:pt x="6502" y="1464"/>
                  <a:pt x="6496" y="1464"/>
                  <a:pt x="6487" y="1461"/>
                </a:cubicBezTo>
                <a:cubicBezTo>
                  <a:pt x="6480" y="1458"/>
                  <a:pt x="6474" y="1455"/>
                  <a:pt x="6468" y="1448"/>
                </a:cubicBezTo>
                <a:cubicBezTo>
                  <a:pt x="6465" y="1442"/>
                  <a:pt x="6458" y="1436"/>
                  <a:pt x="6455" y="1429"/>
                </a:cubicBezTo>
                <a:cubicBezTo>
                  <a:pt x="6452" y="1420"/>
                  <a:pt x="6452" y="1414"/>
                  <a:pt x="6449" y="1404"/>
                </a:cubicBezTo>
                <a:cubicBezTo>
                  <a:pt x="6603" y="1404"/>
                  <a:pt x="6603" y="1404"/>
                  <a:pt x="6603" y="1404"/>
                </a:cubicBezTo>
                <a:cubicBezTo>
                  <a:pt x="6603" y="1395"/>
                  <a:pt x="6603" y="1395"/>
                  <a:pt x="6603" y="1395"/>
                </a:cubicBezTo>
                <a:cubicBezTo>
                  <a:pt x="6603" y="1379"/>
                  <a:pt x="6600" y="1366"/>
                  <a:pt x="6597" y="1354"/>
                </a:cubicBezTo>
                <a:cubicBezTo>
                  <a:pt x="6591" y="1341"/>
                  <a:pt x="6584" y="1332"/>
                  <a:pt x="6578" y="1322"/>
                </a:cubicBezTo>
                <a:close/>
                <a:moveTo>
                  <a:pt x="6452" y="1379"/>
                </a:moveTo>
                <a:cubicBezTo>
                  <a:pt x="6452" y="1363"/>
                  <a:pt x="6458" y="1347"/>
                  <a:pt x="6471" y="1338"/>
                </a:cubicBezTo>
                <a:cubicBezTo>
                  <a:pt x="6480" y="1329"/>
                  <a:pt x="6496" y="1325"/>
                  <a:pt x="6512" y="1325"/>
                </a:cubicBezTo>
                <a:cubicBezTo>
                  <a:pt x="6531" y="1325"/>
                  <a:pt x="6543" y="1329"/>
                  <a:pt x="6553" y="1338"/>
                </a:cubicBezTo>
                <a:cubicBezTo>
                  <a:pt x="6562" y="1347"/>
                  <a:pt x="6568" y="1363"/>
                  <a:pt x="6568" y="1379"/>
                </a:cubicBezTo>
                <a:lnTo>
                  <a:pt x="6452" y="1379"/>
                </a:lnTo>
                <a:close/>
                <a:moveTo>
                  <a:pt x="6647" y="1184"/>
                </a:moveTo>
                <a:cubicBezTo>
                  <a:pt x="6679" y="1184"/>
                  <a:pt x="6679" y="1184"/>
                  <a:pt x="6679" y="1184"/>
                </a:cubicBezTo>
                <a:cubicBezTo>
                  <a:pt x="6679" y="1489"/>
                  <a:pt x="6679" y="1489"/>
                  <a:pt x="6679" y="1489"/>
                </a:cubicBezTo>
                <a:cubicBezTo>
                  <a:pt x="6647" y="1489"/>
                  <a:pt x="6647" y="1489"/>
                  <a:pt x="6647" y="1489"/>
                </a:cubicBezTo>
                <a:lnTo>
                  <a:pt x="6647" y="1184"/>
                </a:lnTo>
                <a:close/>
                <a:moveTo>
                  <a:pt x="6735" y="1300"/>
                </a:moveTo>
                <a:cubicBezTo>
                  <a:pt x="6767" y="1300"/>
                  <a:pt x="6767" y="1300"/>
                  <a:pt x="6767" y="1300"/>
                </a:cubicBezTo>
                <a:cubicBezTo>
                  <a:pt x="6767" y="1489"/>
                  <a:pt x="6767" y="1489"/>
                  <a:pt x="6767" y="1489"/>
                </a:cubicBezTo>
                <a:cubicBezTo>
                  <a:pt x="6735" y="1489"/>
                  <a:pt x="6735" y="1489"/>
                  <a:pt x="6735" y="1489"/>
                </a:cubicBezTo>
                <a:lnTo>
                  <a:pt x="6735" y="1300"/>
                </a:lnTo>
                <a:close/>
                <a:moveTo>
                  <a:pt x="6773" y="1228"/>
                </a:moveTo>
                <a:cubicBezTo>
                  <a:pt x="6773" y="1234"/>
                  <a:pt x="6773" y="1237"/>
                  <a:pt x="6767" y="1244"/>
                </a:cubicBezTo>
                <a:cubicBezTo>
                  <a:pt x="6764" y="1247"/>
                  <a:pt x="6757" y="1250"/>
                  <a:pt x="6751" y="1250"/>
                </a:cubicBezTo>
                <a:cubicBezTo>
                  <a:pt x="6745" y="1250"/>
                  <a:pt x="6738" y="1247"/>
                  <a:pt x="6735" y="1244"/>
                </a:cubicBezTo>
                <a:cubicBezTo>
                  <a:pt x="6729" y="1240"/>
                  <a:pt x="6729" y="1234"/>
                  <a:pt x="6729" y="1228"/>
                </a:cubicBezTo>
                <a:cubicBezTo>
                  <a:pt x="6729" y="1222"/>
                  <a:pt x="6729" y="1215"/>
                  <a:pt x="6735" y="1212"/>
                </a:cubicBezTo>
                <a:cubicBezTo>
                  <a:pt x="6738" y="1206"/>
                  <a:pt x="6745" y="1203"/>
                  <a:pt x="6751" y="1203"/>
                </a:cubicBezTo>
                <a:cubicBezTo>
                  <a:pt x="6757" y="1203"/>
                  <a:pt x="6764" y="1206"/>
                  <a:pt x="6767" y="1212"/>
                </a:cubicBezTo>
                <a:cubicBezTo>
                  <a:pt x="6773" y="1215"/>
                  <a:pt x="6773" y="1222"/>
                  <a:pt x="6773" y="1228"/>
                </a:cubicBezTo>
                <a:close/>
                <a:moveTo>
                  <a:pt x="6981" y="1341"/>
                </a:moveTo>
                <a:cubicBezTo>
                  <a:pt x="6984" y="1351"/>
                  <a:pt x="6987" y="1360"/>
                  <a:pt x="6987" y="1373"/>
                </a:cubicBezTo>
                <a:cubicBezTo>
                  <a:pt x="6987" y="1489"/>
                  <a:pt x="6987" y="1489"/>
                  <a:pt x="6987" y="1489"/>
                </a:cubicBezTo>
                <a:cubicBezTo>
                  <a:pt x="6956" y="1489"/>
                  <a:pt x="6956" y="1489"/>
                  <a:pt x="6956" y="1489"/>
                </a:cubicBezTo>
                <a:cubicBezTo>
                  <a:pt x="6956" y="1376"/>
                  <a:pt x="6956" y="1376"/>
                  <a:pt x="6956" y="1376"/>
                </a:cubicBezTo>
                <a:cubicBezTo>
                  <a:pt x="6956" y="1360"/>
                  <a:pt x="6950" y="1347"/>
                  <a:pt x="6943" y="1338"/>
                </a:cubicBezTo>
                <a:cubicBezTo>
                  <a:pt x="6937" y="1329"/>
                  <a:pt x="6924" y="1322"/>
                  <a:pt x="6912" y="1322"/>
                </a:cubicBezTo>
                <a:cubicBezTo>
                  <a:pt x="6903" y="1322"/>
                  <a:pt x="6893" y="1325"/>
                  <a:pt x="6884" y="1329"/>
                </a:cubicBezTo>
                <a:cubicBezTo>
                  <a:pt x="6877" y="1332"/>
                  <a:pt x="6871" y="1338"/>
                  <a:pt x="6868" y="1344"/>
                </a:cubicBezTo>
                <a:cubicBezTo>
                  <a:pt x="6861" y="1351"/>
                  <a:pt x="6858" y="1357"/>
                  <a:pt x="6855" y="1366"/>
                </a:cubicBezTo>
                <a:cubicBezTo>
                  <a:pt x="6855" y="1376"/>
                  <a:pt x="6852" y="1385"/>
                  <a:pt x="6852" y="1395"/>
                </a:cubicBezTo>
                <a:cubicBezTo>
                  <a:pt x="6852" y="1489"/>
                  <a:pt x="6852" y="1489"/>
                  <a:pt x="6852" y="1489"/>
                </a:cubicBezTo>
                <a:cubicBezTo>
                  <a:pt x="6821" y="1489"/>
                  <a:pt x="6821" y="1489"/>
                  <a:pt x="6821" y="1489"/>
                </a:cubicBezTo>
                <a:cubicBezTo>
                  <a:pt x="6821" y="1344"/>
                  <a:pt x="6821" y="1344"/>
                  <a:pt x="6821" y="1344"/>
                </a:cubicBezTo>
                <a:cubicBezTo>
                  <a:pt x="6821" y="1338"/>
                  <a:pt x="6821" y="1329"/>
                  <a:pt x="6821" y="1322"/>
                </a:cubicBezTo>
                <a:cubicBezTo>
                  <a:pt x="6821" y="1313"/>
                  <a:pt x="6821" y="1307"/>
                  <a:pt x="6821" y="1300"/>
                </a:cubicBezTo>
                <a:cubicBezTo>
                  <a:pt x="6849" y="1300"/>
                  <a:pt x="6849" y="1300"/>
                  <a:pt x="6849" y="1300"/>
                </a:cubicBezTo>
                <a:cubicBezTo>
                  <a:pt x="6849" y="1307"/>
                  <a:pt x="6849" y="1310"/>
                  <a:pt x="6849" y="1316"/>
                </a:cubicBezTo>
                <a:cubicBezTo>
                  <a:pt x="6852" y="1319"/>
                  <a:pt x="6852" y="1325"/>
                  <a:pt x="6852" y="1332"/>
                </a:cubicBezTo>
                <a:cubicBezTo>
                  <a:pt x="6855" y="1325"/>
                  <a:pt x="6855" y="1322"/>
                  <a:pt x="6861" y="1319"/>
                </a:cubicBezTo>
                <a:cubicBezTo>
                  <a:pt x="6865" y="1313"/>
                  <a:pt x="6868" y="1310"/>
                  <a:pt x="6874" y="1307"/>
                </a:cubicBezTo>
                <a:cubicBezTo>
                  <a:pt x="6880" y="1303"/>
                  <a:pt x="6887" y="1300"/>
                  <a:pt x="6893" y="1297"/>
                </a:cubicBezTo>
                <a:cubicBezTo>
                  <a:pt x="6899" y="1297"/>
                  <a:pt x="6905" y="1297"/>
                  <a:pt x="6915" y="1297"/>
                </a:cubicBezTo>
                <a:cubicBezTo>
                  <a:pt x="6928" y="1297"/>
                  <a:pt x="6937" y="1297"/>
                  <a:pt x="6947" y="1300"/>
                </a:cubicBezTo>
                <a:cubicBezTo>
                  <a:pt x="6956" y="1303"/>
                  <a:pt x="6962" y="1310"/>
                  <a:pt x="6968" y="1316"/>
                </a:cubicBezTo>
                <a:cubicBezTo>
                  <a:pt x="6975" y="1322"/>
                  <a:pt x="6978" y="1332"/>
                  <a:pt x="6981" y="1341"/>
                </a:cubicBezTo>
                <a:close/>
                <a:moveTo>
                  <a:pt x="7195" y="1300"/>
                </a:moveTo>
                <a:cubicBezTo>
                  <a:pt x="7195" y="1332"/>
                  <a:pt x="7195" y="1332"/>
                  <a:pt x="7195" y="1332"/>
                </a:cubicBezTo>
                <a:cubicBezTo>
                  <a:pt x="7192" y="1329"/>
                  <a:pt x="7189" y="1322"/>
                  <a:pt x="7183" y="1316"/>
                </a:cubicBezTo>
                <a:cubicBezTo>
                  <a:pt x="7180" y="1313"/>
                  <a:pt x="7173" y="1307"/>
                  <a:pt x="7167" y="1307"/>
                </a:cubicBezTo>
                <a:cubicBezTo>
                  <a:pt x="7161" y="1303"/>
                  <a:pt x="7154" y="1300"/>
                  <a:pt x="7148" y="1297"/>
                </a:cubicBezTo>
                <a:cubicBezTo>
                  <a:pt x="7142" y="1297"/>
                  <a:pt x="7136" y="1297"/>
                  <a:pt x="7129" y="1297"/>
                </a:cubicBezTo>
                <a:cubicBezTo>
                  <a:pt x="7113" y="1297"/>
                  <a:pt x="7101" y="1297"/>
                  <a:pt x="7088" y="1303"/>
                </a:cubicBezTo>
                <a:cubicBezTo>
                  <a:pt x="7075" y="1307"/>
                  <a:pt x="7066" y="1316"/>
                  <a:pt x="7057" y="1322"/>
                </a:cubicBezTo>
                <a:cubicBezTo>
                  <a:pt x="7047" y="1332"/>
                  <a:pt x="7041" y="1341"/>
                  <a:pt x="7038" y="1354"/>
                </a:cubicBezTo>
                <a:cubicBezTo>
                  <a:pt x="7031" y="1366"/>
                  <a:pt x="7028" y="1379"/>
                  <a:pt x="7028" y="1395"/>
                </a:cubicBezTo>
                <a:cubicBezTo>
                  <a:pt x="7028" y="1410"/>
                  <a:pt x="7031" y="1423"/>
                  <a:pt x="7038" y="1432"/>
                </a:cubicBezTo>
                <a:cubicBezTo>
                  <a:pt x="7041" y="1445"/>
                  <a:pt x="7047" y="1458"/>
                  <a:pt x="7057" y="1464"/>
                </a:cubicBezTo>
                <a:cubicBezTo>
                  <a:pt x="7066" y="1473"/>
                  <a:pt x="7075" y="1480"/>
                  <a:pt x="7088" y="1486"/>
                </a:cubicBezTo>
                <a:cubicBezTo>
                  <a:pt x="7101" y="1489"/>
                  <a:pt x="7113" y="1492"/>
                  <a:pt x="7129" y="1492"/>
                </a:cubicBezTo>
                <a:cubicBezTo>
                  <a:pt x="7142" y="1492"/>
                  <a:pt x="7154" y="1489"/>
                  <a:pt x="7167" y="1483"/>
                </a:cubicBezTo>
                <a:cubicBezTo>
                  <a:pt x="7180" y="1477"/>
                  <a:pt x="7189" y="1470"/>
                  <a:pt x="7195" y="1458"/>
                </a:cubicBezTo>
                <a:cubicBezTo>
                  <a:pt x="7195" y="1483"/>
                  <a:pt x="7195" y="1483"/>
                  <a:pt x="7195" y="1483"/>
                </a:cubicBezTo>
                <a:cubicBezTo>
                  <a:pt x="7195" y="1492"/>
                  <a:pt x="7195" y="1502"/>
                  <a:pt x="7192" y="1511"/>
                </a:cubicBezTo>
                <a:cubicBezTo>
                  <a:pt x="7192" y="1521"/>
                  <a:pt x="7189" y="1527"/>
                  <a:pt x="7183" y="1533"/>
                </a:cubicBezTo>
                <a:cubicBezTo>
                  <a:pt x="7176" y="1543"/>
                  <a:pt x="7170" y="1546"/>
                  <a:pt x="7161" y="1552"/>
                </a:cubicBezTo>
                <a:cubicBezTo>
                  <a:pt x="7151" y="1555"/>
                  <a:pt x="7138" y="1558"/>
                  <a:pt x="7126" y="1558"/>
                </a:cubicBezTo>
                <a:cubicBezTo>
                  <a:pt x="7110" y="1558"/>
                  <a:pt x="7098" y="1555"/>
                  <a:pt x="7088" y="1549"/>
                </a:cubicBezTo>
                <a:cubicBezTo>
                  <a:pt x="7075" y="1543"/>
                  <a:pt x="7066" y="1536"/>
                  <a:pt x="7057" y="1524"/>
                </a:cubicBezTo>
                <a:cubicBezTo>
                  <a:pt x="7031" y="1549"/>
                  <a:pt x="7031" y="1549"/>
                  <a:pt x="7031" y="1549"/>
                </a:cubicBezTo>
                <a:cubicBezTo>
                  <a:pt x="7047" y="1565"/>
                  <a:pt x="7060" y="1571"/>
                  <a:pt x="7075" y="1577"/>
                </a:cubicBezTo>
                <a:cubicBezTo>
                  <a:pt x="7088" y="1584"/>
                  <a:pt x="7107" y="1587"/>
                  <a:pt x="7126" y="1587"/>
                </a:cubicBezTo>
                <a:cubicBezTo>
                  <a:pt x="7157" y="1587"/>
                  <a:pt x="7183" y="1577"/>
                  <a:pt x="7201" y="1558"/>
                </a:cubicBezTo>
                <a:cubicBezTo>
                  <a:pt x="7220" y="1540"/>
                  <a:pt x="7227" y="1514"/>
                  <a:pt x="7227" y="1480"/>
                </a:cubicBezTo>
                <a:cubicBezTo>
                  <a:pt x="7227" y="1300"/>
                  <a:pt x="7227" y="1300"/>
                  <a:pt x="7227" y="1300"/>
                </a:cubicBezTo>
                <a:lnTo>
                  <a:pt x="7195" y="1300"/>
                </a:lnTo>
                <a:close/>
                <a:moveTo>
                  <a:pt x="7192" y="1420"/>
                </a:moveTo>
                <a:cubicBezTo>
                  <a:pt x="7189" y="1429"/>
                  <a:pt x="7183" y="1436"/>
                  <a:pt x="7180" y="1442"/>
                </a:cubicBezTo>
                <a:cubicBezTo>
                  <a:pt x="7173" y="1448"/>
                  <a:pt x="7167" y="1455"/>
                  <a:pt x="7157" y="1458"/>
                </a:cubicBezTo>
                <a:cubicBezTo>
                  <a:pt x="7148" y="1461"/>
                  <a:pt x="7138" y="1464"/>
                  <a:pt x="7129" y="1464"/>
                </a:cubicBezTo>
                <a:cubicBezTo>
                  <a:pt x="7120" y="1464"/>
                  <a:pt x="7110" y="1461"/>
                  <a:pt x="7104" y="1458"/>
                </a:cubicBezTo>
                <a:cubicBezTo>
                  <a:pt x="7094" y="1455"/>
                  <a:pt x="7088" y="1448"/>
                  <a:pt x="7082" y="1442"/>
                </a:cubicBezTo>
                <a:cubicBezTo>
                  <a:pt x="7075" y="1436"/>
                  <a:pt x="7073" y="1429"/>
                  <a:pt x="7069" y="1423"/>
                </a:cubicBezTo>
                <a:cubicBezTo>
                  <a:pt x="7063" y="1414"/>
                  <a:pt x="7063" y="1404"/>
                  <a:pt x="7063" y="1395"/>
                </a:cubicBezTo>
                <a:cubicBezTo>
                  <a:pt x="7063" y="1385"/>
                  <a:pt x="7063" y="1376"/>
                  <a:pt x="7066" y="1366"/>
                </a:cubicBezTo>
                <a:cubicBezTo>
                  <a:pt x="7069" y="1360"/>
                  <a:pt x="7075" y="1351"/>
                  <a:pt x="7079" y="1344"/>
                </a:cubicBezTo>
                <a:cubicBezTo>
                  <a:pt x="7085" y="1338"/>
                  <a:pt x="7091" y="1335"/>
                  <a:pt x="7101" y="1332"/>
                </a:cubicBezTo>
                <a:cubicBezTo>
                  <a:pt x="7110" y="1325"/>
                  <a:pt x="7120" y="1325"/>
                  <a:pt x="7129" y="1325"/>
                </a:cubicBezTo>
                <a:cubicBezTo>
                  <a:pt x="7138" y="1325"/>
                  <a:pt x="7148" y="1325"/>
                  <a:pt x="7154" y="1329"/>
                </a:cubicBezTo>
                <a:cubicBezTo>
                  <a:pt x="7164" y="1332"/>
                  <a:pt x="7170" y="1338"/>
                  <a:pt x="7176" y="1344"/>
                </a:cubicBezTo>
                <a:cubicBezTo>
                  <a:pt x="7183" y="1351"/>
                  <a:pt x="7189" y="1357"/>
                  <a:pt x="7192" y="1366"/>
                </a:cubicBezTo>
                <a:cubicBezTo>
                  <a:pt x="7195" y="1376"/>
                  <a:pt x="7195" y="1385"/>
                  <a:pt x="7195" y="1395"/>
                </a:cubicBezTo>
                <a:cubicBezTo>
                  <a:pt x="7195" y="1404"/>
                  <a:pt x="7195" y="1410"/>
                  <a:pt x="7192" y="14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287914" indent="-287914" algn="l" defTabSz="914126" rtl="0" eaLnBrk="1" latinLnBrk="0" hangingPunct="1">
              <a:lnSpc>
                <a:spcPct val="100000"/>
              </a:lnSpc>
              <a:spcBef>
                <a:spcPts val="0"/>
              </a:spcBef>
              <a:buFont typeface="Arial" panose="020B0604020202020204" pitchFamily="34" charset="0"/>
              <a:buNone/>
              <a:defRPr/>
            </a:lvl1pPr>
          </a:lstStyle>
          <a:p>
            <a:r>
              <a:rPr lang="nl-NL"/>
              <a:t> </a:t>
            </a:r>
          </a:p>
        </p:txBody>
      </p:sp>
      <p:sp>
        <p:nvSpPr>
          <p:cNvPr id="15" name="***Titel 1"/>
          <p:cNvSpPr>
            <a:spLocks noGrp="1"/>
          </p:cNvSpPr>
          <p:nvPr>
            <p:ph type="title" hasCustomPrompt="1"/>
          </p:nvPr>
        </p:nvSpPr>
        <p:spPr>
          <a:xfrm>
            <a:off x="638114" y="620640"/>
            <a:ext cx="4174913" cy="4896720"/>
          </a:xfrm>
        </p:spPr>
        <p:txBody>
          <a:bodyPr anchor="ctr" anchorCtr="0"/>
          <a:lstStyle>
            <a:lvl1pPr>
              <a:lnSpc>
                <a:spcPct val="113000"/>
              </a:lnSpc>
              <a:defRPr sz="3199" b="1" baseline="0"/>
            </a:lvl1pPr>
          </a:lstStyle>
          <a:p>
            <a:pPr lvl="0"/>
            <a:r>
              <a:rPr lang="nl-NL"/>
              <a:t>[Hier is ruimte voor een kop of hoofdstuktitel die over maximaal 8 regels loopt]</a:t>
            </a:r>
          </a:p>
        </p:txBody>
      </p:sp>
      <p:sp>
        <p:nvSpPr>
          <p:cNvPr id="9" name="Bijschrift Tekstvak 3"/>
          <p:cNvSpPr txBox="1">
            <a:spLocks/>
          </p:cNvSpPr>
          <p:nvPr userDrawn="1"/>
        </p:nvSpPr>
        <p:spPr>
          <a:xfrm>
            <a:off x="8327512" y="6237360"/>
            <a:ext cx="3294582" cy="288000"/>
          </a:xfrm>
          <a:prstGeom prst="rect">
            <a:avLst/>
          </a:prstGeom>
          <a:noFill/>
          <a:effectLst>
            <a:outerShdw blurRad="50800" dist="12700" dir="2700000" algn="ctr" rotWithShape="0">
              <a:schemeClr val="tx1">
                <a:alpha val="40000"/>
              </a:schemeClr>
            </a:outerShdw>
          </a:effectLst>
        </p:spPr>
        <p:txBody>
          <a:bodyPr wrap="square" lIns="0" tIns="0" rIns="0" bIns="0" rtlCol="0">
            <a:noAutofit/>
          </a:bodyPr>
          <a:lstStyle/>
          <a:p>
            <a:pPr algn="r">
              <a:lnSpc>
                <a:spcPts val="2499"/>
              </a:lnSpc>
            </a:pPr>
            <a:r>
              <a:rPr lang="nl-NL" sz="1000" b="1" noProof="1">
                <a:solidFill>
                  <a:schemeClr val="bg1"/>
                </a:solidFill>
              </a:rPr>
              <a:t>Bosrijk, Eindhoven</a:t>
            </a:r>
            <a:endParaRPr lang="nl-NL" sz="1000" b="1" noProof="1"/>
          </a:p>
        </p:txBody>
      </p:sp>
    </p:spTree>
    <p:extLst>
      <p:ext uri="{BB962C8B-B14F-4D97-AF65-F5344CB8AC3E}">
        <p14:creationId xmlns:p14="http://schemas.microsoft.com/office/powerpoint/2010/main" val="28649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0-#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00" fill="hold"/>
                                        <p:tgtEl>
                                          <p:spTgt spid="16"/>
                                        </p:tgtEl>
                                        <p:attrNameLst>
                                          <p:attrName>ppt_x</p:attrName>
                                        </p:attrNameLst>
                                      </p:cBhvr>
                                      <p:tavLst>
                                        <p:tav tm="0">
                                          <p:val>
                                            <p:strVal val="1+#ppt_w/2"/>
                                          </p:val>
                                        </p:tav>
                                        <p:tav tm="100000">
                                          <p:val>
                                            <p:strVal val="#ppt_x"/>
                                          </p:val>
                                        </p:tav>
                                      </p:tavLst>
                                    </p:anim>
                                    <p:anim calcmode="lin" valueType="num">
                                      <p:cBhvr additive="base">
                                        <p:cTn id="12" dur="7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8" decel="10000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700" fill="hold"/>
                        <p:tgtEl>
                          <p:spTgt spid="12"/>
                        </p:tgtEl>
                        <p:attrNameLst>
                          <p:attrName>ppt_x</p:attrName>
                        </p:attrNameLst>
                      </p:cBhvr>
                      <p:tavLst>
                        <p:tav tm="0">
                          <p:val>
                            <p:strVal val="0-#ppt_w/2"/>
                          </p:val>
                        </p:tav>
                        <p:tav tm="100000">
                          <p:val>
                            <p:strVal val="#ppt_x"/>
                          </p:val>
                        </p:tav>
                      </p:tavLst>
                    </p:anim>
                    <p:anim calcmode="lin" valueType="num">
                      <p:cBhvr additive="base">
                        <p:cTn dur="7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groen)">
    <p:spTree>
      <p:nvGrpSpPr>
        <p:cNvPr id="1" name=""/>
        <p:cNvGrpSpPr/>
        <p:nvPr/>
      </p:nvGrpSpPr>
      <p:grpSpPr>
        <a:xfrm>
          <a:off x="0" y="0"/>
          <a:ext cx="0" cy="0"/>
          <a:chOff x="0" y="0"/>
          <a:chExt cx="0" cy="0"/>
        </a:xfrm>
      </p:grpSpPr>
      <p:sp>
        <p:nvSpPr>
          <p:cNvPr id="9" name="Vrije vorm 28">
            <a:extLst>
              <a:ext uri="{FF2B5EF4-FFF2-40B4-BE49-F238E27FC236}">
                <a16:creationId xmlns:a16="http://schemas.microsoft.com/office/drawing/2014/main" id="{E0980A26-0538-4220-AAF9-A8853B0885EE}"/>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Rechthoek met één afgeschuinde hoek 14">
            <a:extLst>
              <a:ext uri="{FF2B5EF4-FFF2-40B4-BE49-F238E27FC236}">
                <a16:creationId xmlns:a16="http://schemas.microsoft.com/office/drawing/2014/main" id="{B07369EF-9DEC-4444-8D3F-DBF3FF415DE2}"/>
              </a:ext>
            </a:extLst>
          </p:cNvPr>
          <p:cNvSpPr>
            <a:spLocks/>
          </p:cNvSpPr>
          <p:nvPr userDrawn="1"/>
        </p:nvSpPr>
        <p:spPr>
          <a:xfrm rot="10800000">
            <a:off x="-4" y="1"/>
            <a:ext cx="12192005" cy="5724415"/>
          </a:xfrm>
          <a:prstGeom prst="snip1Rect">
            <a:avLst>
              <a:gd name="adj" fmla="val 20200"/>
            </a:avLst>
          </a:prstGeom>
          <a:gradFill>
            <a:gsLst>
              <a:gs pos="99000">
                <a:srgbClr val="C0CF46">
                  <a:alpha val="69804"/>
                </a:srgbClr>
              </a:gs>
              <a:gs pos="7000">
                <a:srgbClr val="99A636"/>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1" name="Vrije vorm 35">
            <a:extLst>
              <a:ext uri="{FF2B5EF4-FFF2-40B4-BE49-F238E27FC236}">
                <a16:creationId xmlns:a16="http://schemas.microsoft.com/office/drawing/2014/main" id="{31BB55C1-F69A-4322-B60C-0B19DCE8985D}"/>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userDrawn="1">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8" name="Tekstvak 7">
            <a:extLst>
              <a:ext uri="{FF2B5EF4-FFF2-40B4-BE49-F238E27FC236}">
                <a16:creationId xmlns:a16="http://schemas.microsoft.com/office/drawing/2014/main" id="{26AB3EEB-C6E6-4DE2-B4ED-4C676CCD5E73}"/>
              </a:ext>
            </a:extLst>
          </p:cNvPr>
          <p:cNvSpPr txBox="1">
            <a:spLocks/>
          </p:cNvSpPr>
          <p:nvPr userDrawn="1"/>
        </p:nvSpPr>
        <p:spPr>
          <a:xfrm>
            <a:off x="8327512" y="6406560"/>
            <a:ext cx="3294582" cy="142200"/>
          </a:xfrm>
          <a:prstGeom prst="rect">
            <a:avLst/>
          </a:prstGeom>
          <a:noFill/>
        </p:spPr>
        <p:txBody>
          <a:bodyPr wrap="square" lIns="0" tIns="0" rIns="0" bIns="0" rtlCol="0">
            <a:spAutoFit/>
          </a:bodyPr>
          <a:lstStyle/>
          <a:p>
            <a:pPr algn="r"/>
            <a:r>
              <a:rPr lang="nl-NL" sz="925" noProof="1"/>
              <a:t>Onderdeel van Rabobank</a:t>
            </a:r>
          </a:p>
        </p:txBody>
      </p:sp>
    </p:spTree>
    <p:extLst>
      <p:ext uri="{BB962C8B-B14F-4D97-AF65-F5344CB8AC3E}">
        <p14:creationId xmlns:p14="http://schemas.microsoft.com/office/powerpoint/2010/main" val="220317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00" fill="hold"/>
                                        <p:tgtEl>
                                          <p:spTgt spid="10"/>
                                        </p:tgtEl>
                                        <p:attrNameLst>
                                          <p:attrName>ppt_x</p:attrName>
                                        </p:attrNameLst>
                                      </p:cBhvr>
                                      <p:tavLst>
                                        <p:tav tm="0">
                                          <p:val>
                                            <p:strVal val="1+#ppt_w/2"/>
                                          </p:val>
                                        </p:tav>
                                        <p:tav tm="100000">
                                          <p:val>
                                            <p:strVal val="#ppt_x"/>
                                          </p:val>
                                        </p:tav>
                                      </p:tavLst>
                                    </p:anim>
                                    <p:anim calcmode="lin" valueType="num">
                                      <p:cBhvr additive="base">
                                        <p:cTn id="8" dur="7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00" fill="hold"/>
                                        <p:tgtEl>
                                          <p:spTgt spid="9"/>
                                        </p:tgtEl>
                                        <p:attrNameLst>
                                          <p:attrName>ppt_x</p:attrName>
                                        </p:attrNameLst>
                                      </p:cBhvr>
                                      <p:tavLst>
                                        <p:tav tm="0">
                                          <p:val>
                                            <p:strVal val="0-#ppt_w/2"/>
                                          </p:val>
                                        </p:tav>
                                        <p:tav tm="100000">
                                          <p:val>
                                            <p:strVal val="#ppt_x"/>
                                          </p:val>
                                        </p:tav>
                                      </p:tavLst>
                                    </p:anim>
                                    <p:anim calcmode="lin" valueType="num">
                                      <p:cBhvr additive="base">
                                        <p:cTn id="12" dur="7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4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 (rood)">
    <p:spTree>
      <p:nvGrpSpPr>
        <p:cNvPr id="1" name=""/>
        <p:cNvGrpSpPr/>
        <p:nvPr/>
      </p:nvGrpSpPr>
      <p:grpSpPr>
        <a:xfrm>
          <a:off x="0" y="0"/>
          <a:ext cx="0" cy="0"/>
          <a:chOff x="0" y="0"/>
          <a:chExt cx="0" cy="0"/>
        </a:xfrm>
      </p:grpSpPr>
      <p:sp>
        <p:nvSpPr>
          <p:cNvPr id="9" name="Vrije vorm 28">
            <a:extLst>
              <a:ext uri="{FF2B5EF4-FFF2-40B4-BE49-F238E27FC236}">
                <a16:creationId xmlns:a16="http://schemas.microsoft.com/office/drawing/2014/main" id="{E9F71A6A-5191-4A7C-99E9-397DDC331B15}"/>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Rechthoek met één afgeschuinde hoek 14">
            <a:extLst>
              <a:ext uri="{FF2B5EF4-FFF2-40B4-BE49-F238E27FC236}">
                <a16:creationId xmlns:a16="http://schemas.microsoft.com/office/drawing/2014/main" id="{DC7836FB-9C24-404C-8DE0-288B0BAFEF87}"/>
              </a:ext>
            </a:extLst>
          </p:cNvPr>
          <p:cNvSpPr>
            <a:spLocks/>
          </p:cNvSpPr>
          <p:nvPr userDrawn="1"/>
        </p:nvSpPr>
        <p:spPr>
          <a:xfrm rot="10800000">
            <a:off x="-4" y="1"/>
            <a:ext cx="12192005" cy="5724415"/>
          </a:xfrm>
          <a:prstGeom prst="snip1Rect">
            <a:avLst>
              <a:gd name="adj" fmla="val 20200"/>
            </a:avLst>
          </a:prstGeom>
          <a:gradFill>
            <a:gsLst>
              <a:gs pos="99000">
                <a:srgbClr val="EC1E2F">
                  <a:alpha val="75000"/>
                </a:srgbClr>
              </a:gs>
              <a:gs pos="7000">
                <a:srgbClr val="961E2F"/>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1" name="Vrije vorm 35">
            <a:extLst>
              <a:ext uri="{FF2B5EF4-FFF2-40B4-BE49-F238E27FC236}">
                <a16:creationId xmlns:a16="http://schemas.microsoft.com/office/drawing/2014/main" id="{8E9B90A6-7C72-4E1B-BFBB-ABB06F7A983E}"/>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userDrawn="1">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8" name="Tekstvak 7">
            <a:extLst>
              <a:ext uri="{FF2B5EF4-FFF2-40B4-BE49-F238E27FC236}">
                <a16:creationId xmlns:a16="http://schemas.microsoft.com/office/drawing/2014/main" id="{F9A66CF7-5752-44E3-9370-99D55E19457B}"/>
              </a:ext>
            </a:extLst>
          </p:cNvPr>
          <p:cNvSpPr txBox="1">
            <a:spLocks/>
          </p:cNvSpPr>
          <p:nvPr userDrawn="1"/>
        </p:nvSpPr>
        <p:spPr>
          <a:xfrm>
            <a:off x="8327512" y="6406480"/>
            <a:ext cx="3294582" cy="142200"/>
          </a:xfrm>
          <a:prstGeom prst="rect">
            <a:avLst/>
          </a:prstGeom>
          <a:noFill/>
        </p:spPr>
        <p:txBody>
          <a:bodyPr wrap="square" lIns="0" tIns="0" rIns="0" bIns="0" rtlCol="0">
            <a:spAutoFit/>
          </a:bodyPr>
          <a:lstStyle/>
          <a:p>
            <a:pPr algn="r"/>
            <a:r>
              <a:rPr lang="nl-NL" sz="925" noProof="1"/>
              <a:t>Onderdeel van Rabobank</a:t>
            </a:r>
          </a:p>
        </p:txBody>
      </p:sp>
    </p:spTree>
    <p:extLst>
      <p:ext uri="{BB962C8B-B14F-4D97-AF65-F5344CB8AC3E}">
        <p14:creationId xmlns:p14="http://schemas.microsoft.com/office/powerpoint/2010/main" val="392364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00" fill="hold"/>
                                        <p:tgtEl>
                                          <p:spTgt spid="10"/>
                                        </p:tgtEl>
                                        <p:attrNameLst>
                                          <p:attrName>ppt_x</p:attrName>
                                        </p:attrNameLst>
                                      </p:cBhvr>
                                      <p:tavLst>
                                        <p:tav tm="0">
                                          <p:val>
                                            <p:strVal val="1+#ppt_w/2"/>
                                          </p:val>
                                        </p:tav>
                                        <p:tav tm="100000">
                                          <p:val>
                                            <p:strVal val="#ppt_x"/>
                                          </p:val>
                                        </p:tav>
                                      </p:tavLst>
                                    </p:anim>
                                    <p:anim calcmode="lin" valueType="num">
                                      <p:cBhvr additive="base">
                                        <p:cTn id="8" dur="7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00" fill="hold"/>
                                        <p:tgtEl>
                                          <p:spTgt spid="9"/>
                                        </p:tgtEl>
                                        <p:attrNameLst>
                                          <p:attrName>ppt_x</p:attrName>
                                        </p:attrNameLst>
                                      </p:cBhvr>
                                      <p:tavLst>
                                        <p:tav tm="0">
                                          <p:val>
                                            <p:strVal val="0-#ppt_w/2"/>
                                          </p:val>
                                        </p:tav>
                                        <p:tav tm="100000">
                                          <p:val>
                                            <p:strVal val="#ppt_x"/>
                                          </p:val>
                                        </p:tav>
                                      </p:tavLst>
                                    </p:anim>
                                    <p:anim calcmode="lin" valueType="num">
                                      <p:cBhvr additive="base">
                                        <p:cTn id="12" dur="700" fill="hold"/>
                                        <p:tgtEl>
                                          <p:spTgt spid="9"/>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 (paars)">
    <p:spTree>
      <p:nvGrpSpPr>
        <p:cNvPr id="1" name=""/>
        <p:cNvGrpSpPr/>
        <p:nvPr/>
      </p:nvGrpSpPr>
      <p:grpSpPr>
        <a:xfrm>
          <a:off x="0" y="0"/>
          <a:ext cx="0" cy="0"/>
          <a:chOff x="0" y="0"/>
          <a:chExt cx="0" cy="0"/>
        </a:xfrm>
      </p:grpSpPr>
      <p:sp>
        <p:nvSpPr>
          <p:cNvPr id="13" name="Vrije vorm 28">
            <a:extLst>
              <a:ext uri="{FF2B5EF4-FFF2-40B4-BE49-F238E27FC236}">
                <a16:creationId xmlns:a16="http://schemas.microsoft.com/office/drawing/2014/main" id="{B948CFE1-A9A3-4D88-8C62-53A9B792C0BE}"/>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4" name="Rechthoek met één afgeschuinde hoek 14">
            <a:extLst>
              <a:ext uri="{FF2B5EF4-FFF2-40B4-BE49-F238E27FC236}">
                <a16:creationId xmlns:a16="http://schemas.microsoft.com/office/drawing/2014/main" id="{04840773-199F-4743-A046-4C34D8029C28}"/>
              </a:ext>
            </a:extLst>
          </p:cNvPr>
          <p:cNvSpPr>
            <a:spLocks/>
          </p:cNvSpPr>
          <p:nvPr userDrawn="1"/>
        </p:nvSpPr>
        <p:spPr>
          <a:xfrm rot="10800000">
            <a:off x="-4" y="1"/>
            <a:ext cx="12192005" cy="5724415"/>
          </a:xfrm>
          <a:prstGeom prst="snip1Rect">
            <a:avLst>
              <a:gd name="adj" fmla="val 20200"/>
            </a:avLst>
          </a:prstGeom>
          <a:gradFill>
            <a:gsLst>
              <a:gs pos="99000">
                <a:srgbClr val="AB7AA4">
                  <a:alpha val="74902"/>
                </a:srgbClr>
              </a:gs>
              <a:gs pos="7000">
                <a:srgbClr val="8B536A"/>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 name="Vrije vorm 35">
            <a:extLst>
              <a:ext uri="{FF2B5EF4-FFF2-40B4-BE49-F238E27FC236}">
                <a16:creationId xmlns:a16="http://schemas.microsoft.com/office/drawing/2014/main" id="{A57C61C8-1CD7-4167-B78A-80125C3C88EC}"/>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userDrawn="1">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8" name="Tekstvak 7">
            <a:extLst>
              <a:ext uri="{FF2B5EF4-FFF2-40B4-BE49-F238E27FC236}">
                <a16:creationId xmlns:a16="http://schemas.microsoft.com/office/drawing/2014/main" id="{DEDC8C2C-DEDA-4C77-99B4-E6B302448D05}"/>
              </a:ext>
            </a:extLst>
          </p:cNvPr>
          <p:cNvSpPr txBox="1">
            <a:spLocks/>
          </p:cNvSpPr>
          <p:nvPr userDrawn="1"/>
        </p:nvSpPr>
        <p:spPr>
          <a:xfrm>
            <a:off x="8327512" y="6406480"/>
            <a:ext cx="3294582" cy="142200"/>
          </a:xfrm>
          <a:prstGeom prst="rect">
            <a:avLst/>
          </a:prstGeom>
          <a:noFill/>
        </p:spPr>
        <p:txBody>
          <a:bodyPr wrap="square" lIns="0" tIns="0" rIns="0" bIns="0" rtlCol="0">
            <a:spAutoFit/>
          </a:bodyPr>
          <a:lstStyle/>
          <a:p>
            <a:pPr algn="r"/>
            <a:r>
              <a:rPr lang="nl-NL" sz="925" noProof="1"/>
              <a:t>Onderdeel van Rabobank</a:t>
            </a:r>
          </a:p>
        </p:txBody>
      </p:sp>
    </p:spTree>
    <p:extLst>
      <p:ext uri="{BB962C8B-B14F-4D97-AF65-F5344CB8AC3E}">
        <p14:creationId xmlns:p14="http://schemas.microsoft.com/office/powerpoint/2010/main" val="4219147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1+#ppt_w/2"/>
                                          </p:val>
                                        </p:tav>
                                        <p:tav tm="100000">
                                          <p:val>
                                            <p:strVal val="#ppt_x"/>
                                          </p:val>
                                        </p:tav>
                                      </p:tavLst>
                                    </p:anim>
                                    <p:anim calcmode="lin" valueType="num">
                                      <p:cBhvr additive="base">
                                        <p:cTn id="8" dur="7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00" fill="hold"/>
                                        <p:tgtEl>
                                          <p:spTgt spid="13"/>
                                        </p:tgtEl>
                                        <p:attrNameLst>
                                          <p:attrName>ppt_x</p:attrName>
                                        </p:attrNameLst>
                                      </p:cBhvr>
                                      <p:tavLst>
                                        <p:tav tm="0">
                                          <p:val>
                                            <p:strVal val="0-#ppt_w/2"/>
                                          </p:val>
                                        </p:tav>
                                        <p:tav tm="100000">
                                          <p:val>
                                            <p:strVal val="#ppt_x"/>
                                          </p:val>
                                        </p:tav>
                                      </p:tavLst>
                                    </p:anim>
                                    <p:anim calcmode="lin" valueType="num">
                                      <p:cBhvr additive="base">
                                        <p:cTn id="12" dur="70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kst (oranje)">
    <p:spTree>
      <p:nvGrpSpPr>
        <p:cNvPr id="1" name=""/>
        <p:cNvGrpSpPr/>
        <p:nvPr/>
      </p:nvGrpSpPr>
      <p:grpSpPr>
        <a:xfrm>
          <a:off x="0" y="0"/>
          <a:ext cx="0" cy="0"/>
          <a:chOff x="0" y="0"/>
          <a:chExt cx="0" cy="0"/>
        </a:xfrm>
      </p:grpSpPr>
      <p:sp>
        <p:nvSpPr>
          <p:cNvPr id="13" name="Vrije vorm 28">
            <a:extLst>
              <a:ext uri="{FF2B5EF4-FFF2-40B4-BE49-F238E27FC236}">
                <a16:creationId xmlns:a16="http://schemas.microsoft.com/office/drawing/2014/main" id="{20C896B5-2B85-4ACA-BED2-466AEB3388DE}"/>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4" name="Rechthoek met één afgeschuinde hoek 14">
            <a:extLst>
              <a:ext uri="{FF2B5EF4-FFF2-40B4-BE49-F238E27FC236}">
                <a16:creationId xmlns:a16="http://schemas.microsoft.com/office/drawing/2014/main" id="{8AC6B2FC-9609-4032-B1F2-A1B93192EA4B}"/>
              </a:ext>
            </a:extLst>
          </p:cNvPr>
          <p:cNvSpPr>
            <a:spLocks/>
          </p:cNvSpPr>
          <p:nvPr userDrawn="1"/>
        </p:nvSpPr>
        <p:spPr>
          <a:xfrm rot="10800000">
            <a:off x="-4" y="1"/>
            <a:ext cx="12192005" cy="5724415"/>
          </a:xfrm>
          <a:prstGeom prst="snip1Rect">
            <a:avLst>
              <a:gd name="adj" fmla="val 20200"/>
            </a:avLst>
          </a:prstGeom>
          <a:gradFill>
            <a:gsLst>
              <a:gs pos="98000">
                <a:srgbClr val="EB9800">
                  <a:alpha val="70000"/>
                </a:srgbClr>
              </a:gs>
              <a:gs pos="6000">
                <a:srgbClr val="C0601A"/>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 name="Vrije vorm 35">
            <a:extLst>
              <a:ext uri="{FF2B5EF4-FFF2-40B4-BE49-F238E27FC236}">
                <a16:creationId xmlns:a16="http://schemas.microsoft.com/office/drawing/2014/main" id="{668AFFA6-44A9-4106-A45D-C76E7BD27FA4}"/>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8" name="Tekstvak 7">
            <a:extLst>
              <a:ext uri="{FF2B5EF4-FFF2-40B4-BE49-F238E27FC236}">
                <a16:creationId xmlns:a16="http://schemas.microsoft.com/office/drawing/2014/main" id="{0AF13149-1B2C-47A5-9ADD-F0DE71E24ECC}"/>
              </a:ext>
            </a:extLst>
          </p:cNvPr>
          <p:cNvSpPr txBox="1">
            <a:spLocks/>
          </p:cNvSpPr>
          <p:nvPr userDrawn="1"/>
        </p:nvSpPr>
        <p:spPr>
          <a:xfrm>
            <a:off x="8327512" y="6406480"/>
            <a:ext cx="3294582" cy="142200"/>
          </a:xfrm>
          <a:prstGeom prst="rect">
            <a:avLst/>
          </a:prstGeom>
          <a:noFill/>
        </p:spPr>
        <p:txBody>
          <a:bodyPr wrap="square" lIns="0" tIns="0" rIns="0" bIns="0" rtlCol="0">
            <a:spAutoFit/>
          </a:bodyPr>
          <a:lstStyle/>
          <a:p>
            <a:pPr algn="r"/>
            <a:r>
              <a:rPr lang="nl-NL" sz="925" noProof="1"/>
              <a:t>Onderdeel van Rabobank</a:t>
            </a:r>
          </a:p>
        </p:txBody>
      </p:sp>
    </p:spTree>
    <p:extLst>
      <p:ext uri="{BB962C8B-B14F-4D97-AF65-F5344CB8AC3E}">
        <p14:creationId xmlns:p14="http://schemas.microsoft.com/office/powerpoint/2010/main" val="235414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00" fill="hold"/>
                                        <p:tgtEl>
                                          <p:spTgt spid="14"/>
                                        </p:tgtEl>
                                        <p:attrNameLst>
                                          <p:attrName>ppt_x</p:attrName>
                                        </p:attrNameLst>
                                      </p:cBhvr>
                                      <p:tavLst>
                                        <p:tav tm="0">
                                          <p:val>
                                            <p:strVal val="1+#ppt_w/2"/>
                                          </p:val>
                                        </p:tav>
                                        <p:tav tm="100000">
                                          <p:val>
                                            <p:strVal val="#ppt_x"/>
                                          </p:val>
                                        </p:tav>
                                      </p:tavLst>
                                    </p:anim>
                                    <p:anim calcmode="lin" valueType="num">
                                      <p:cBhvr additive="base">
                                        <p:cTn id="8" dur="7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00" fill="hold"/>
                                        <p:tgtEl>
                                          <p:spTgt spid="13"/>
                                        </p:tgtEl>
                                        <p:attrNameLst>
                                          <p:attrName>ppt_x</p:attrName>
                                        </p:attrNameLst>
                                      </p:cBhvr>
                                      <p:tavLst>
                                        <p:tav tm="0">
                                          <p:val>
                                            <p:strVal val="0-#ppt_w/2"/>
                                          </p:val>
                                        </p:tav>
                                        <p:tav tm="100000">
                                          <p:val>
                                            <p:strVal val="#ppt_x"/>
                                          </p:val>
                                        </p:tav>
                                      </p:tavLst>
                                    </p:anim>
                                    <p:anim calcmode="lin" valueType="num">
                                      <p:cBhvr additive="base">
                                        <p:cTn id="12" dur="70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0489B301-D084-F3E5-FAAC-EE63D23552CE}"/>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3" name="Tijdelijke aanduiding voor voettekst 2">
            <a:extLst>
              <a:ext uri="{FF2B5EF4-FFF2-40B4-BE49-F238E27FC236}">
                <a16:creationId xmlns:a16="http://schemas.microsoft.com/office/drawing/2014/main" id="{71B13AF9-2E0F-FFE2-DCEC-5C10F396CD5E}"/>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AC0B74CB-FF09-AF97-F8A7-DB5EF12539E1}"/>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6882336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kst (blauw2)">
    <p:spTree>
      <p:nvGrpSpPr>
        <p:cNvPr id="1" name=""/>
        <p:cNvGrpSpPr/>
        <p:nvPr/>
      </p:nvGrpSpPr>
      <p:grpSpPr>
        <a:xfrm>
          <a:off x="0" y="0"/>
          <a:ext cx="0" cy="0"/>
          <a:chOff x="0" y="0"/>
          <a:chExt cx="0" cy="0"/>
        </a:xfrm>
      </p:grpSpPr>
      <p:sp>
        <p:nvSpPr>
          <p:cNvPr id="8" name="Vrije vorm 28">
            <a:extLst>
              <a:ext uri="{FF2B5EF4-FFF2-40B4-BE49-F238E27FC236}">
                <a16:creationId xmlns:a16="http://schemas.microsoft.com/office/drawing/2014/main" id="{43F80DEA-E802-4C0C-86DD-1DEA4A25EC62}"/>
              </a:ext>
            </a:extLst>
          </p:cNvPr>
          <p:cNvSpPr>
            <a:spLocks/>
          </p:cNvSpPr>
          <p:nvPr userDrawn="1"/>
        </p:nvSpPr>
        <p:spPr>
          <a:xfrm rot="10800000" flipH="1">
            <a:off x="1" y="3916"/>
            <a:ext cx="1154556" cy="5727084"/>
          </a:xfrm>
          <a:custGeom>
            <a:avLst/>
            <a:gdLst>
              <a:gd name="connsiteX0" fmla="*/ 0 w 1154857"/>
              <a:gd name="connsiteY0" fmla="*/ 5718242 h 5718242"/>
              <a:gd name="connsiteX1" fmla="*/ 1154857 w 1154857"/>
              <a:gd name="connsiteY1" fmla="*/ 5718242 h 5718242"/>
              <a:gd name="connsiteX2" fmla="*/ 1154857 w 1154857"/>
              <a:gd name="connsiteY2" fmla="*/ 1154857 h 5718242"/>
              <a:gd name="connsiteX3" fmla="*/ 0 w 1154857"/>
              <a:gd name="connsiteY3" fmla="*/ 0 h 5718242"/>
              <a:gd name="connsiteX4" fmla="*/ 0 w 1154857"/>
              <a:gd name="connsiteY4" fmla="*/ 5718242 h 571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857" h="5718242">
                <a:moveTo>
                  <a:pt x="0" y="5718242"/>
                </a:moveTo>
                <a:lnTo>
                  <a:pt x="1154857" y="5718242"/>
                </a:lnTo>
                <a:lnTo>
                  <a:pt x="1154857" y="1154857"/>
                </a:lnTo>
                <a:lnTo>
                  <a:pt x="0" y="0"/>
                </a:lnTo>
                <a:lnTo>
                  <a:pt x="0" y="5718242"/>
                </a:lnTo>
                <a:close/>
              </a:path>
            </a:pathLst>
          </a:custGeom>
          <a:solidFill>
            <a:srgbClr val="AFA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9" name="Rechthoek met één afgeschuinde hoek 14">
            <a:extLst>
              <a:ext uri="{FF2B5EF4-FFF2-40B4-BE49-F238E27FC236}">
                <a16:creationId xmlns:a16="http://schemas.microsoft.com/office/drawing/2014/main" id="{D7DBB6FD-F26E-496A-8012-299DD3DE4FDC}"/>
              </a:ext>
            </a:extLst>
          </p:cNvPr>
          <p:cNvSpPr>
            <a:spLocks/>
          </p:cNvSpPr>
          <p:nvPr userDrawn="1"/>
        </p:nvSpPr>
        <p:spPr>
          <a:xfrm rot="10800000">
            <a:off x="-4" y="1"/>
            <a:ext cx="12192005" cy="5724415"/>
          </a:xfrm>
          <a:prstGeom prst="snip1Rect">
            <a:avLst>
              <a:gd name="adj" fmla="val 20200"/>
            </a:avLst>
          </a:prstGeom>
          <a:gradFill>
            <a:gsLst>
              <a:gs pos="97000">
                <a:srgbClr val="396EB3">
                  <a:alpha val="75000"/>
                </a:srgbClr>
              </a:gs>
              <a:gs pos="6000">
                <a:srgbClr val="254676"/>
              </a:gs>
            </a:gsLst>
            <a:lin ang="108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0" name="Vrije vorm 35">
            <a:extLst>
              <a:ext uri="{FF2B5EF4-FFF2-40B4-BE49-F238E27FC236}">
                <a16:creationId xmlns:a16="http://schemas.microsoft.com/office/drawing/2014/main" id="{0B7A44C3-78E8-4ED8-B53A-72211E0DCFB5}"/>
              </a:ext>
            </a:extLst>
          </p:cNvPr>
          <p:cNvSpPr>
            <a:spLocks/>
          </p:cNvSpPr>
          <p:nvPr userDrawn="1"/>
        </p:nvSpPr>
        <p:spPr>
          <a:xfrm rot="10800000" flipH="1">
            <a:off x="1" y="4814"/>
            <a:ext cx="1154556" cy="5145622"/>
          </a:xfrm>
          <a:custGeom>
            <a:avLst/>
            <a:gdLst>
              <a:gd name="connsiteX0" fmla="*/ 0 w 1154857"/>
              <a:gd name="connsiteY0" fmla="*/ 5137678 h 5137678"/>
              <a:gd name="connsiteX1" fmla="*/ 1154857 w 1154857"/>
              <a:gd name="connsiteY1" fmla="*/ 5137678 h 5137678"/>
              <a:gd name="connsiteX2" fmla="*/ 1154857 w 1154857"/>
              <a:gd name="connsiteY2" fmla="*/ 574293 h 5137678"/>
              <a:gd name="connsiteX3" fmla="*/ 580564 w 1154857"/>
              <a:gd name="connsiteY3" fmla="*/ 0 h 5137678"/>
              <a:gd name="connsiteX4" fmla="*/ 0 w 1154857"/>
              <a:gd name="connsiteY4" fmla="*/ 580564 h 5137678"/>
              <a:gd name="connsiteX5" fmla="*/ 0 w 1154857"/>
              <a:gd name="connsiteY5" fmla="*/ 5137678 h 51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4857" h="5137678">
                <a:moveTo>
                  <a:pt x="0" y="5137678"/>
                </a:moveTo>
                <a:lnTo>
                  <a:pt x="1154857" y="5137678"/>
                </a:lnTo>
                <a:lnTo>
                  <a:pt x="1154857" y="574293"/>
                </a:lnTo>
                <a:lnTo>
                  <a:pt x="580564" y="0"/>
                </a:lnTo>
                <a:lnTo>
                  <a:pt x="0" y="580564"/>
                </a:lnTo>
                <a:lnTo>
                  <a:pt x="0" y="5137678"/>
                </a:lnTo>
                <a:close/>
              </a:path>
            </a:pathLst>
          </a:custGeom>
          <a:solidFill>
            <a:schemeClr val="tx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pic>
        <p:nvPicPr>
          <p:cNvPr id="6" name="Afbeelding 5">
            <a:extLst>
              <a:ext uri="{FF2B5EF4-FFF2-40B4-BE49-F238E27FC236}">
                <a16:creationId xmlns:a16="http://schemas.microsoft.com/office/drawing/2014/main" id="{06716FDB-EB69-4F41-94A3-17606D3228A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964" y="5977082"/>
            <a:ext cx="2388698" cy="525179"/>
          </a:xfrm>
          <a:prstGeom prst="rect">
            <a:avLst/>
          </a:prstGeom>
        </p:spPr>
      </p:pic>
      <p:sp>
        <p:nvSpPr>
          <p:cNvPr id="7" name="Titel 1"/>
          <p:cNvSpPr>
            <a:spLocks noGrp="1"/>
          </p:cNvSpPr>
          <p:nvPr>
            <p:ph type="title" hasCustomPrompt="1"/>
          </p:nvPr>
        </p:nvSpPr>
        <p:spPr>
          <a:xfrm>
            <a:off x="1597624" y="1196640"/>
            <a:ext cx="8998738" cy="2916000"/>
          </a:xfrm>
        </p:spPr>
        <p:txBody>
          <a:bodyPr anchor="ctr"/>
          <a:lstStyle>
            <a:lvl1pPr algn="ctr">
              <a:lnSpc>
                <a:spcPct val="95000"/>
              </a:lnSpc>
              <a:defRPr sz="4799" b="0" baseline="0">
                <a:effectLst>
                  <a:outerShdw blurRad="190500" algn="ctr" rotWithShape="0">
                    <a:srgbClr val="000000">
                      <a:alpha val="90000"/>
                    </a:srgbClr>
                  </a:outerShdw>
                </a:effectLst>
              </a:defRPr>
            </a:lvl1pPr>
          </a:lstStyle>
          <a:p>
            <a:r>
              <a:rPr lang="nl-NL"/>
              <a:t>[Tekst (max. 4 regels)]</a:t>
            </a:r>
          </a:p>
        </p:txBody>
      </p:sp>
      <p:sp>
        <p:nvSpPr>
          <p:cNvPr id="11" name="Tekstvak 10">
            <a:extLst>
              <a:ext uri="{FF2B5EF4-FFF2-40B4-BE49-F238E27FC236}">
                <a16:creationId xmlns:a16="http://schemas.microsoft.com/office/drawing/2014/main" id="{CA79D9AC-945B-47D7-8005-D8781D1AAC8F}"/>
              </a:ext>
            </a:extLst>
          </p:cNvPr>
          <p:cNvSpPr txBox="1">
            <a:spLocks/>
          </p:cNvSpPr>
          <p:nvPr userDrawn="1"/>
        </p:nvSpPr>
        <p:spPr>
          <a:xfrm>
            <a:off x="8327666" y="6406481"/>
            <a:ext cx="3294570" cy="142347"/>
          </a:xfrm>
          <a:prstGeom prst="rect">
            <a:avLst/>
          </a:prstGeom>
          <a:noFill/>
        </p:spPr>
        <p:txBody>
          <a:bodyPr wrap="square" lIns="0" tIns="0" rIns="0" bIns="0" rtlCol="0">
            <a:spAutoFit/>
          </a:bodyPr>
          <a:lstStyle/>
          <a:p>
            <a:pPr algn="r"/>
            <a:r>
              <a:rPr lang="nl-NL" sz="925" noProof="1"/>
              <a:t>Onderdeel van Rabobank</a:t>
            </a:r>
          </a:p>
        </p:txBody>
      </p:sp>
    </p:spTree>
    <p:extLst>
      <p:ext uri="{BB962C8B-B14F-4D97-AF65-F5344CB8AC3E}">
        <p14:creationId xmlns:p14="http://schemas.microsoft.com/office/powerpoint/2010/main" val="216555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00" fill="hold"/>
                                        <p:tgtEl>
                                          <p:spTgt spid="9"/>
                                        </p:tgtEl>
                                        <p:attrNameLst>
                                          <p:attrName>ppt_x</p:attrName>
                                        </p:attrNameLst>
                                      </p:cBhvr>
                                      <p:tavLst>
                                        <p:tav tm="0">
                                          <p:val>
                                            <p:strVal val="1+#ppt_w/2"/>
                                          </p:val>
                                        </p:tav>
                                        <p:tav tm="100000">
                                          <p:val>
                                            <p:strVal val="#ppt_x"/>
                                          </p:val>
                                        </p:tav>
                                      </p:tavLst>
                                    </p:anim>
                                    <p:anim calcmode="lin" valueType="num">
                                      <p:cBhvr additive="base">
                                        <p:cTn id="8" dur="7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00" fill="hold"/>
                                        <p:tgtEl>
                                          <p:spTgt spid="8"/>
                                        </p:tgtEl>
                                        <p:attrNameLst>
                                          <p:attrName>ppt_x</p:attrName>
                                        </p:attrNameLst>
                                      </p:cBhvr>
                                      <p:tavLst>
                                        <p:tav tm="0">
                                          <p:val>
                                            <p:strVal val="0-#ppt_w/2"/>
                                          </p:val>
                                        </p:tav>
                                        <p:tav tm="100000">
                                          <p:val>
                                            <p:strVal val="#ppt_x"/>
                                          </p:val>
                                        </p:tav>
                                      </p:tavLst>
                                    </p:anim>
                                    <p:anim calcmode="lin" valueType="num">
                                      <p:cBhvr additive="base">
                                        <p:cTn id="12" dur="700" fill="hold"/>
                                        <p:tgtEl>
                                          <p:spTgt spid="8"/>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50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Uitleg #1">
    <p:spTree>
      <p:nvGrpSpPr>
        <p:cNvPr id="1" name=""/>
        <p:cNvGrpSpPr/>
        <p:nvPr/>
      </p:nvGrpSpPr>
      <p:grpSpPr>
        <a:xfrm>
          <a:off x="0" y="0"/>
          <a:ext cx="0" cy="0"/>
          <a:chOff x="0" y="0"/>
          <a:chExt cx="0" cy="0"/>
        </a:xfrm>
      </p:grpSpPr>
      <p:grpSp>
        <p:nvGrpSpPr>
          <p:cNvPr id="21" name="Groep 20">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22"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23"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24"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27" name="Content Placeholder 3">
            <a:extLst>
              <a:ext uri="{FF2B5EF4-FFF2-40B4-BE49-F238E27FC236}">
                <a16:creationId xmlns:a16="http://schemas.microsoft.com/office/drawing/2014/main" id="{88E35FD8-8E24-4E37-AC49-6682CB79BCCD}"/>
              </a:ext>
            </a:extLst>
          </p:cNvPr>
          <p:cNvSpPr txBox="1">
            <a:spLocks/>
          </p:cNvSpPr>
          <p:nvPr userDrawn="1"/>
        </p:nvSpPr>
        <p:spPr>
          <a:xfrm>
            <a:off x="958853" y="1611315"/>
            <a:ext cx="5516501" cy="31733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a:solidFill>
                  <a:schemeClr val="tx1"/>
                </a:solidFill>
                <a:latin typeface="+mn-lt"/>
              </a:rPr>
              <a:t>Wanneer je een </a:t>
            </a:r>
            <a:r>
              <a:rPr lang="nl-NL" sz="900" b="1" noProof="0">
                <a:solidFill>
                  <a:schemeClr val="tx1"/>
                </a:solidFill>
                <a:latin typeface="+mn-lt"/>
              </a:rPr>
              <a:t>nieuwe presentatie </a:t>
            </a:r>
            <a:r>
              <a:rPr lang="nl-NL" sz="900" noProof="0">
                <a:solidFill>
                  <a:schemeClr val="tx1"/>
                </a:solidFill>
                <a:latin typeface="+mn-lt"/>
              </a:rPr>
              <a:t>start, staat hierin een aantal basisdia’s. Deze kunnen worden aangevuld met meerdere dia’s:</a:t>
            </a:r>
          </a:p>
        </p:txBody>
      </p:sp>
      <p:sp>
        <p:nvSpPr>
          <p:cNvPr id="30" name="Content Placeholder 3">
            <a:extLst>
              <a:ext uri="{FF2B5EF4-FFF2-40B4-BE49-F238E27FC236}">
                <a16:creationId xmlns:a16="http://schemas.microsoft.com/office/drawing/2014/main" id="{E6CFC921-09BC-42DC-B235-86163F2BCFF5}"/>
              </a:ext>
            </a:extLst>
          </p:cNvPr>
          <p:cNvSpPr txBox="1">
            <a:spLocks/>
          </p:cNvSpPr>
          <p:nvPr userDrawn="1"/>
        </p:nvSpPr>
        <p:spPr>
          <a:xfrm>
            <a:off x="3138312" y="2099549"/>
            <a:ext cx="3337043" cy="3641318"/>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156" indent="-176156">
              <a:buSzPct val="100000"/>
              <a:buFont typeface="+mj-lt"/>
              <a:buAutoNum type="arabicPeriod"/>
            </a:pPr>
            <a:r>
              <a:rPr lang="nl-NL" sz="900" noProof="0">
                <a:solidFill>
                  <a:schemeClr val="tx1"/>
                </a:solidFill>
                <a:latin typeface="+mn-lt"/>
              </a:rPr>
              <a:t>Klik bij het tabblad ‘</a:t>
            </a:r>
            <a:r>
              <a:rPr lang="nl-NL" sz="900" b="1" noProof="0">
                <a:solidFill>
                  <a:schemeClr val="tx1"/>
                </a:solidFill>
                <a:latin typeface="+mn-lt"/>
              </a:rPr>
              <a:t>Start</a:t>
            </a:r>
            <a:r>
              <a:rPr lang="nl-NL" sz="900" noProof="0">
                <a:solidFill>
                  <a:schemeClr val="tx1"/>
                </a:solidFill>
                <a:latin typeface="+mn-lt"/>
              </a:rPr>
              <a:t>’ op ‘</a:t>
            </a:r>
            <a:r>
              <a:rPr lang="nl-NL" sz="900" b="1" noProof="0">
                <a:solidFill>
                  <a:schemeClr val="tx1"/>
                </a:solidFill>
                <a:latin typeface="+mn-lt"/>
              </a:rPr>
              <a:t>Nieuwe Dia</a:t>
            </a:r>
            <a:r>
              <a:rPr lang="nl-NL" sz="900" noProof="0">
                <a:solidFill>
                  <a:schemeClr val="tx1"/>
                </a:solidFill>
                <a:latin typeface="+mn-lt"/>
              </a:rPr>
              <a:t>’, klik op het kleine pijltje rechtsonder op deze knop. Hierdoor worden de indelingsopties weergegeven. </a:t>
            </a:r>
          </a:p>
          <a:p>
            <a:pPr marL="176156" indent="-176156">
              <a:buSzPct val="100000"/>
              <a:buFont typeface="+mj-lt"/>
              <a:buAutoNum type="arabicPeriod"/>
            </a:pPr>
            <a:endParaRPr lang="nl-NL" sz="900" noProof="0">
              <a:solidFill>
                <a:schemeClr val="tx1"/>
              </a:solidFill>
              <a:latin typeface="+mn-lt"/>
            </a:endParaRPr>
          </a:p>
          <a:p>
            <a:pPr marL="176156" indent="-176156">
              <a:buSzPct val="100000"/>
              <a:buFont typeface="+mj-lt"/>
              <a:buAutoNum type="arabicPeriod"/>
            </a:pPr>
            <a:r>
              <a:rPr lang="nl-NL" sz="900" noProof="0">
                <a:solidFill>
                  <a:schemeClr val="tx1"/>
                </a:solidFill>
                <a:latin typeface="+mn-lt"/>
              </a:rPr>
              <a:t>Klik op een</a:t>
            </a:r>
            <a:r>
              <a:rPr lang="nl-NL" sz="900" b="1" noProof="0">
                <a:solidFill>
                  <a:schemeClr val="tx1"/>
                </a:solidFill>
                <a:latin typeface="+mn-lt"/>
              </a:rPr>
              <a:t> ‘Dia-indeling’ </a:t>
            </a:r>
            <a:r>
              <a:rPr lang="nl-NL" sz="900" noProof="0">
                <a:solidFill>
                  <a:schemeClr val="tx1"/>
                </a:solidFill>
                <a:latin typeface="+mn-lt"/>
              </a:rPr>
              <a:t>van je keuze om deze in te voegen. Je voegt dan een ‘lege’ dia in, waarop je je eigen inhoud kunt invullen.</a:t>
            </a:r>
            <a:br>
              <a:rPr lang="nl-NL" sz="900" noProof="0">
                <a:solidFill>
                  <a:schemeClr val="tx1"/>
                </a:solidFill>
                <a:latin typeface="+mn-lt"/>
              </a:rPr>
            </a:br>
            <a:endParaRPr lang="nl-NL" sz="900" noProof="0">
              <a:solidFill>
                <a:schemeClr val="tx1"/>
              </a:solidFill>
              <a:latin typeface="+mn-lt"/>
            </a:endParaRPr>
          </a:p>
          <a:p>
            <a:pPr marL="176156" indent="-176156">
              <a:buSzPct val="100000"/>
              <a:buFont typeface="+mj-lt"/>
              <a:buAutoNum type="arabicPeriod"/>
            </a:pPr>
            <a:r>
              <a:rPr lang="nl-NL" sz="900" noProof="0">
                <a:solidFill>
                  <a:schemeClr val="tx1"/>
                </a:solidFill>
                <a:latin typeface="+mn-lt"/>
              </a:rPr>
              <a:t>Om de indeling van een dia te veranderen:</a:t>
            </a:r>
          </a:p>
          <a:p>
            <a:pPr marL="353898" lvl="1" indent="-176156">
              <a:buSzPct val="100000"/>
            </a:pPr>
            <a:r>
              <a:rPr lang="nl-NL" sz="900" noProof="0">
                <a:solidFill>
                  <a:schemeClr val="tx1"/>
                </a:solidFill>
                <a:latin typeface="+mn-lt"/>
              </a:rPr>
              <a:t>Klik op het tabblad ‘</a:t>
            </a:r>
            <a:r>
              <a:rPr lang="nl-NL" sz="900" b="0" noProof="0">
                <a:solidFill>
                  <a:schemeClr val="tx1"/>
                </a:solidFill>
                <a:latin typeface="+mn-lt"/>
              </a:rPr>
              <a:t>Start</a:t>
            </a:r>
            <a:r>
              <a:rPr lang="nl-NL" sz="900" noProof="0">
                <a:solidFill>
                  <a:schemeClr val="tx1"/>
                </a:solidFill>
                <a:latin typeface="+mn-lt"/>
              </a:rPr>
              <a:t>’ op ‘</a:t>
            </a:r>
            <a:r>
              <a:rPr lang="nl-NL" sz="900" b="1" noProof="0">
                <a:solidFill>
                  <a:schemeClr val="tx1"/>
                </a:solidFill>
                <a:latin typeface="+mn-lt"/>
              </a:rPr>
              <a:t>Indeling</a:t>
            </a:r>
            <a:r>
              <a:rPr lang="nl-NL" sz="900" noProof="0">
                <a:solidFill>
                  <a:schemeClr val="tx1"/>
                </a:solidFill>
                <a:latin typeface="+mn-lt"/>
              </a:rPr>
              <a:t>’.</a:t>
            </a:r>
          </a:p>
          <a:p>
            <a:pPr marL="353898" lvl="1" indent="-176156">
              <a:buSzPct val="100000"/>
            </a:pPr>
            <a:r>
              <a:rPr lang="nl-NL" sz="900" noProof="0">
                <a:solidFill>
                  <a:schemeClr val="tx1"/>
                </a:solidFill>
                <a:latin typeface="+mn-lt"/>
              </a:rPr>
              <a:t>Kies een andere Indeling</a:t>
            </a:r>
            <a:r>
              <a:rPr lang="nl-NL" sz="900" baseline="0" noProof="0">
                <a:solidFill>
                  <a:schemeClr val="tx1"/>
                </a:solidFill>
                <a:latin typeface="+mn-lt"/>
              </a:rPr>
              <a:t> uit de lijst en deze wordt toegepast</a:t>
            </a:r>
            <a:endParaRPr lang="nl-NL" sz="900" noProof="0">
              <a:solidFill>
                <a:schemeClr val="tx1"/>
              </a:solidFill>
              <a:latin typeface="+mn-lt"/>
            </a:endParaRPr>
          </a:p>
          <a:p>
            <a:pPr marL="176156" indent="-176156">
              <a:buSzPct val="100000"/>
              <a:buFont typeface="+mj-lt"/>
              <a:buAutoNum type="arabicPeriod"/>
            </a:pPr>
            <a:endParaRPr lang="nl-NL" sz="900" noProof="0">
              <a:solidFill>
                <a:schemeClr val="tx1"/>
              </a:solidFill>
              <a:latin typeface="+mn-lt"/>
            </a:endParaRPr>
          </a:p>
          <a:p>
            <a:pPr marL="176156" indent="-176156">
              <a:buSzPct val="100000"/>
              <a:buFont typeface="+mj-lt"/>
              <a:buAutoNum type="arabicPeriod"/>
            </a:pPr>
            <a:r>
              <a:rPr lang="nl-NL" sz="900" noProof="0">
                <a:solidFill>
                  <a:schemeClr val="tx1"/>
                </a:solidFill>
                <a:latin typeface="+mn-lt"/>
              </a:rPr>
              <a:t>De ‘</a:t>
            </a:r>
            <a:r>
              <a:rPr lang="nl-NL" sz="900" b="1" noProof="0">
                <a:solidFill>
                  <a:schemeClr val="tx1"/>
                </a:solidFill>
                <a:latin typeface="+mn-lt"/>
              </a:rPr>
              <a:t>Opnieuw</a:t>
            </a:r>
            <a:r>
              <a:rPr lang="nl-NL" sz="900" b="1" baseline="0" noProof="0">
                <a:solidFill>
                  <a:schemeClr val="tx1"/>
                </a:solidFill>
                <a:latin typeface="+mn-lt"/>
              </a:rPr>
              <a:t> instellen</a:t>
            </a:r>
            <a:r>
              <a:rPr lang="nl-NL" sz="900" noProof="0">
                <a:solidFill>
                  <a:schemeClr val="tx1"/>
                </a:solidFill>
                <a:latin typeface="+mn-lt"/>
              </a:rPr>
              <a:t>’-knop past de huidige indeling opnieuw toe. </a:t>
            </a:r>
            <a:br>
              <a:rPr lang="nl-NL" sz="900" noProof="0">
                <a:solidFill>
                  <a:schemeClr val="tx1"/>
                </a:solidFill>
                <a:latin typeface="+mn-lt"/>
              </a:rPr>
            </a:br>
            <a:endParaRPr lang="nl-NL" sz="900" noProof="0">
              <a:solidFill>
                <a:schemeClr val="tx1"/>
              </a:solidFill>
              <a:latin typeface="+mn-lt"/>
            </a:endParaRPr>
          </a:p>
          <a:p>
            <a:pPr marL="176156" indent="-176156">
              <a:buSzPct val="100000"/>
              <a:buFont typeface="+mj-lt"/>
              <a:buAutoNum type="arabicPeriod"/>
            </a:pPr>
            <a:r>
              <a:rPr lang="nl-NL" sz="900" noProof="0">
                <a:solidFill>
                  <a:schemeClr val="tx1"/>
                </a:solidFill>
                <a:latin typeface="+mn-lt"/>
              </a:rPr>
              <a:t>Denk bij het maken van een omslag voor je presentatie eerst aan de oriëntatie van de foto die je wilt plaatsen.</a:t>
            </a:r>
            <a:br>
              <a:rPr lang="nl-NL" sz="900" noProof="0">
                <a:solidFill>
                  <a:schemeClr val="tx1"/>
                </a:solidFill>
                <a:latin typeface="+mn-lt"/>
              </a:rPr>
            </a:br>
            <a:r>
              <a:rPr lang="nl-NL" sz="900" noProof="0">
                <a:solidFill>
                  <a:schemeClr val="tx1"/>
                </a:solidFill>
                <a:latin typeface="+mn-lt"/>
              </a:rPr>
              <a:t>In een titel dia komen liggende beelden het beste tot hun recht. Wil je een staand of vierkant beeld gebruiken? Kies dan voor een hoofdstuk dia als omslag.</a:t>
            </a:r>
          </a:p>
          <a:p>
            <a:pPr marL="176156" indent="-176156">
              <a:buSzPct val="100000"/>
              <a:buFont typeface="+mj-lt"/>
              <a:buAutoNum type="arabicPeriod"/>
            </a:pPr>
            <a:endParaRPr lang="nl-NL" sz="900" noProof="0">
              <a:solidFill>
                <a:schemeClr val="tx1"/>
              </a:solidFill>
              <a:latin typeface="+mn-lt"/>
            </a:endParaRPr>
          </a:p>
        </p:txBody>
      </p:sp>
      <p:pic>
        <p:nvPicPr>
          <p:cNvPr id="5" name="Afbeelding 4">
            <a:extLst>
              <a:ext uri="{FF2B5EF4-FFF2-40B4-BE49-F238E27FC236}">
                <a16:creationId xmlns:a16="http://schemas.microsoft.com/office/drawing/2014/main" id="{3CD68D26-46DC-43DA-8DE2-C5C017695357}"/>
              </a:ext>
            </a:extLst>
          </p:cNvPr>
          <p:cNvPicPr>
            <a:picLocks noChangeAspect="1"/>
          </p:cNvPicPr>
          <p:nvPr userDrawn="1"/>
        </p:nvPicPr>
        <p:blipFill>
          <a:blip r:embed="rId4"/>
          <a:stretch>
            <a:fillRect/>
          </a:stretch>
        </p:blipFill>
        <p:spPr>
          <a:xfrm>
            <a:off x="48902" y="2024845"/>
            <a:ext cx="3023213" cy="3364901"/>
          </a:xfrm>
          <a:prstGeom prst="rect">
            <a:avLst/>
          </a:prstGeom>
        </p:spPr>
      </p:pic>
      <p:sp>
        <p:nvSpPr>
          <p:cNvPr id="31" name="Oval 1">
            <a:extLst>
              <a:ext uri="{FF2B5EF4-FFF2-40B4-BE49-F238E27FC236}">
                <a16:creationId xmlns:a16="http://schemas.microsoft.com/office/drawing/2014/main" id="{8B456850-BE39-4B2C-BDD7-DEA8C127B95C}"/>
              </a:ext>
            </a:extLst>
          </p:cNvPr>
          <p:cNvSpPr>
            <a:spLocks/>
          </p:cNvSpPr>
          <p:nvPr userDrawn="1"/>
        </p:nvSpPr>
        <p:spPr>
          <a:xfrm>
            <a:off x="48903" y="1757195"/>
            <a:ext cx="172800"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a:solidFill>
                  <a:schemeClr val="bg1"/>
                </a:solidFill>
                <a:latin typeface="+mn-lt"/>
              </a:rPr>
              <a:t>1</a:t>
            </a:r>
          </a:p>
        </p:txBody>
      </p:sp>
      <p:sp>
        <p:nvSpPr>
          <p:cNvPr id="32" name="Oval 16">
            <a:extLst>
              <a:ext uri="{FF2B5EF4-FFF2-40B4-BE49-F238E27FC236}">
                <a16:creationId xmlns:a16="http://schemas.microsoft.com/office/drawing/2014/main" id="{63E86198-2B2C-4045-AB2C-916CB64AFF20}"/>
              </a:ext>
            </a:extLst>
          </p:cNvPr>
          <p:cNvSpPr>
            <a:spLocks/>
          </p:cNvSpPr>
          <p:nvPr userDrawn="1"/>
        </p:nvSpPr>
        <p:spPr>
          <a:xfrm>
            <a:off x="1439626" y="3064195"/>
            <a:ext cx="172800"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a:solidFill>
                  <a:schemeClr val="bg1"/>
                </a:solidFill>
                <a:latin typeface="+mn-lt"/>
              </a:rPr>
              <a:t>2</a:t>
            </a:r>
          </a:p>
        </p:txBody>
      </p:sp>
      <p:sp>
        <p:nvSpPr>
          <p:cNvPr id="33" name="Oval 16">
            <a:extLst>
              <a:ext uri="{FF2B5EF4-FFF2-40B4-BE49-F238E27FC236}">
                <a16:creationId xmlns:a16="http://schemas.microsoft.com/office/drawing/2014/main" id="{78DCA6C3-5A83-482A-8863-A0F92A45EE67}"/>
              </a:ext>
            </a:extLst>
          </p:cNvPr>
          <p:cNvSpPr>
            <a:spLocks/>
          </p:cNvSpPr>
          <p:nvPr userDrawn="1"/>
        </p:nvSpPr>
        <p:spPr>
          <a:xfrm>
            <a:off x="351550" y="1757195"/>
            <a:ext cx="172800"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a:solidFill>
                  <a:schemeClr val="bg1"/>
                </a:solidFill>
                <a:latin typeface="+mn-lt"/>
              </a:rPr>
              <a:t>3</a:t>
            </a:r>
          </a:p>
        </p:txBody>
      </p:sp>
      <p:sp>
        <p:nvSpPr>
          <p:cNvPr id="34" name="Oval 16">
            <a:extLst>
              <a:ext uri="{FF2B5EF4-FFF2-40B4-BE49-F238E27FC236}">
                <a16:creationId xmlns:a16="http://schemas.microsoft.com/office/drawing/2014/main" id="{B197F0F2-5A22-476F-911E-2FA7568A9F57}"/>
              </a:ext>
            </a:extLst>
          </p:cNvPr>
          <p:cNvSpPr>
            <a:spLocks/>
          </p:cNvSpPr>
          <p:nvPr userDrawn="1"/>
        </p:nvSpPr>
        <p:spPr>
          <a:xfrm>
            <a:off x="689931" y="2013824"/>
            <a:ext cx="172800"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a:solidFill>
                  <a:schemeClr val="bg1"/>
                </a:solidFill>
                <a:latin typeface="+mn-lt"/>
              </a:rPr>
              <a:t>4</a:t>
            </a:r>
          </a:p>
        </p:txBody>
      </p:sp>
      <p:sp>
        <p:nvSpPr>
          <p:cNvPr id="36" name="Content Placeholder 4">
            <a:extLst>
              <a:ext uri="{FF2B5EF4-FFF2-40B4-BE49-F238E27FC236}">
                <a16:creationId xmlns:a16="http://schemas.microsoft.com/office/drawing/2014/main" id="{1E88A6CD-1316-4839-AC6D-1115E1C218F3}"/>
              </a:ext>
            </a:extLst>
          </p:cNvPr>
          <p:cNvSpPr txBox="1">
            <a:spLocks/>
          </p:cNvSpPr>
          <p:nvPr userDrawn="1"/>
        </p:nvSpPr>
        <p:spPr>
          <a:xfrm>
            <a:off x="8651618" y="4077072"/>
            <a:ext cx="2627423" cy="65120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103" rtl="0" eaLnBrk="1" fontAlgn="auto" latinLnBrk="0" hangingPunct="1">
              <a:lnSpc>
                <a:spcPct val="120000"/>
              </a:lnSpc>
              <a:spcBef>
                <a:spcPts val="0"/>
              </a:spcBef>
              <a:spcAft>
                <a:spcPts val="0"/>
              </a:spcAft>
              <a:buClrTx/>
              <a:buSzPct val="80000"/>
              <a:buFontTx/>
              <a:buNone/>
              <a:tabLst/>
              <a:defRPr/>
            </a:pPr>
            <a:r>
              <a:rPr lang="nl-NL" sz="900" noProof="0">
                <a:solidFill>
                  <a:schemeClr val="tx1"/>
                </a:solidFill>
                <a:latin typeface="+mn-lt"/>
              </a:rPr>
              <a:t>Onder Aangepaste kleuren vind je alle huisstijlkleuren van BPD.</a:t>
            </a:r>
          </a:p>
          <a:p>
            <a:pPr marL="0" marR="0" indent="0" algn="l" defTabSz="914103" rtl="0" eaLnBrk="1" fontAlgn="auto" latinLnBrk="0" hangingPunct="1">
              <a:lnSpc>
                <a:spcPct val="120000"/>
              </a:lnSpc>
              <a:spcBef>
                <a:spcPts val="0"/>
              </a:spcBef>
              <a:spcAft>
                <a:spcPts val="0"/>
              </a:spcAft>
              <a:buClrTx/>
              <a:buSzPct val="80000"/>
              <a:buFontTx/>
              <a:buNone/>
              <a:tabLst/>
              <a:defRPr/>
            </a:pPr>
            <a:r>
              <a:rPr lang="nl-NL" sz="900" noProof="0">
                <a:solidFill>
                  <a:schemeClr val="tx1"/>
                </a:solidFill>
                <a:latin typeface="+mn-lt"/>
              </a:rPr>
              <a:t>De themakleuren worden gebruikt voor grafieken.</a:t>
            </a:r>
          </a:p>
        </p:txBody>
      </p:sp>
      <p:sp>
        <p:nvSpPr>
          <p:cNvPr id="2" name="Title 1">
            <a:extLst>
              <a:ext uri="{FF2B5EF4-FFF2-40B4-BE49-F238E27FC236}">
                <a16:creationId xmlns:a16="http://schemas.microsoft.com/office/drawing/2014/main" id="{059048CA-2D5D-473C-8905-77DD02BE82DF}"/>
              </a:ext>
            </a:extLst>
          </p:cNvPr>
          <p:cNvSpPr>
            <a:spLocks noGrp="1"/>
          </p:cNvSpPr>
          <p:nvPr>
            <p:ph type="title" hasCustomPrompt="1"/>
          </p:nvPr>
        </p:nvSpPr>
        <p:spPr/>
        <p:txBody>
          <a:bodyPr/>
          <a:lstStyle>
            <a:lvl1pPr marL="0" marR="0" indent="0" algn="l" defTabSz="1088610" rtl="0" eaLnBrk="1" fontAlgn="auto" latinLnBrk="0" hangingPunct="1">
              <a:lnSpc>
                <a:spcPct val="100000"/>
              </a:lnSpc>
              <a:spcBef>
                <a:spcPct val="0"/>
              </a:spcBef>
              <a:spcAft>
                <a:spcPts val="0"/>
              </a:spcAft>
              <a:buClrTx/>
              <a:buSzTx/>
              <a:buFontTx/>
              <a:buNone/>
              <a:tabLst/>
              <a:defRPr/>
            </a:lvl1pPr>
          </a:lstStyle>
          <a:p>
            <a:pPr marL="0" marR="0" lvl="0" indent="0" algn="l" defTabSz="1088610" rtl="0" eaLnBrk="1" fontAlgn="auto" latinLnBrk="0" hangingPunct="1">
              <a:lnSpc>
                <a:spcPct val="120000"/>
              </a:lnSpc>
              <a:spcBef>
                <a:spcPct val="0"/>
              </a:spcBef>
              <a:spcAft>
                <a:spcPts val="0"/>
              </a:spcAft>
              <a:buClrTx/>
              <a:buSzTx/>
              <a:buFontTx/>
              <a:buNone/>
              <a:tabLst/>
              <a:defRPr/>
            </a:pPr>
            <a:r>
              <a:rPr lang="nl-NL" sz="1999" b="1"/>
              <a:t>Korte uitleg bij het sjabloon</a:t>
            </a:r>
            <a:endParaRPr lang="x-none"/>
          </a:p>
        </p:txBody>
      </p:sp>
      <p:sp>
        <p:nvSpPr>
          <p:cNvPr id="16" name="Content Placeholder 4">
            <a:extLst>
              <a:ext uri="{FF2B5EF4-FFF2-40B4-BE49-F238E27FC236}">
                <a16:creationId xmlns:a16="http://schemas.microsoft.com/office/drawing/2014/main" id="{9163A0A1-47E1-4C1C-A6EA-DFF010E259B4}"/>
              </a:ext>
            </a:extLst>
          </p:cNvPr>
          <p:cNvSpPr txBox="1">
            <a:spLocks/>
          </p:cNvSpPr>
          <p:nvPr userDrawn="1"/>
        </p:nvSpPr>
        <p:spPr>
          <a:xfrm>
            <a:off x="8166945" y="1643637"/>
            <a:ext cx="3061362" cy="6497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a:solidFill>
                  <a:schemeClr val="tx1"/>
                </a:solidFill>
                <a:latin typeface="+mn-lt"/>
              </a:rPr>
              <a:t>Indien je van een ingevoegde afbeelding een ander gedeelte wilt zien, klik dan op ‘Bijsnijden’ in het rechtertabblad ‘Opmaak’. Verschuif de foto, of snijdt de randen af d.m.v. het verplaatsen van de zwarte hoekjes.</a:t>
            </a:r>
          </a:p>
        </p:txBody>
      </p:sp>
      <p:pic>
        <p:nvPicPr>
          <p:cNvPr id="6" name="Afbeelding 5"/>
          <p:cNvPicPr>
            <a:picLocks noChangeAspect="1"/>
          </p:cNvPicPr>
          <p:nvPr userDrawn="1"/>
        </p:nvPicPr>
        <p:blipFill>
          <a:blip r:embed="rId5"/>
          <a:stretch>
            <a:fillRect/>
          </a:stretch>
        </p:blipFill>
        <p:spPr>
          <a:xfrm>
            <a:off x="6887881" y="4089866"/>
            <a:ext cx="1626776" cy="2064219"/>
          </a:xfrm>
          <a:prstGeom prst="rect">
            <a:avLst/>
          </a:prstGeom>
        </p:spPr>
      </p:pic>
      <p:pic>
        <p:nvPicPr>
          <p:cNvPr id="3" name="Afbeelding 2">
            <a:extLst>
              <a:ext uri="{FF2B5EF4-FFF2-40B4-BE49-F238E27FC236}">
                <a16:creationId xmlns:a16="http://schemas.microsoft.com/office/drawing/2014/main" id="{E6476201-9DA9-4AC4-8B56-267C349D534E}"/>
              </a:ext>
            </a:extLst>
          </p:cNvPr>
          <p:cNvPicPr>
            <a:picLocks noChangeAspect="1"/>
          </p:cNvPicPr>
          <p:nvPr userDrawn="1"/>
        </p:nvPicPr>
        <p:blipFill>
          <a:blip r:embed="rId6"/>
          <a:stretch>
            <a:fillRect/>
          </a:stretch>
        </p:blipFill>
        <p:spPr>
          <a:xfrm>
            <a:off x="7171560" y="1611314"/>
            <a:ext cx="599919" cy="714375"/>
          </a:xfrm>
          <a:prstGeom prst="rect">
            <a:avLst/>
          </a:prstGeom>
        </p:spPr>
      </p:pic>
      <p:sp>
        <p:nvSpPr>
          <p:cNvPr id="17" name="Content Placeholder 4">
            <a:extLst>
              <a:ext uri="{FF2B5EF4-FFF2-40B4-BE49-F238E27FC236}">
                <a16:creationId xmlns:a16="http://schemas.microsoft.com/office/drawing/2014/main" id="{1610CDB2-E2CD-47D2-BE59-12CA4E6CDD8B}"/>
              </a:ext>
            </a:extLst>
          </p:cNvPr>
          <p:cNvSpPr txBox="1">
            <a:spLocks/>
          </p:cNvSpPr>
          <p:nvPr userDrawn="1"/>
        </p:nvSpPr>
        <p:spPr>
          <a:xfrm>
            <a:off x="8166945" y="2719551"/>
            <a:ext cx="3112096" cy="6497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a:solidFill>
                  <a:schemeClr val="tx1"/>
                </a:solidFill>
                <a:latin typeface="+mn-lt"/>
              </a:rPr>
              <a:t>De meeste dia’s bevatten een blokje met verschillende </a:t>
            </a:r>
            <a:r>
              <a:rPr lang="nl-NL" sz="900" b="1" noProof="0">
                <a:solidFill>
                  <a:schemeClr val="tx1"/>
                </a:solidFill>
                <a:latin typeface="+mn-lt"/>
              </a:rPr>
              <a:t>pictogrammen</a:t>
            </a:r>
            <a:r>
              <a:rPr lang="nl-NL" sz="900" noProof="0">
                <a:solidFill>
                  <a:schemeClr val="tx1"/>
                </a:solidFill>
                <a:latin typeface="+mn-lt"/>
              </a:rPr>
              <a:t> (‘tijdelijke aanduidingen’). Door op het gewenste pictogram te klikken kun je het desbetreffende type inhoud invoegen, bijvoorbeeld een tabel, een grafiek </a:t>
            </a:r>
          </a:p>
        </p:txBody>
      </p:sp>
      <p:pic>
        <p:nvPicPr>
          <p:cNvPr id="18" name="Picture 28" descr="Pictogrammen in de indeling Titel en object">
            <a:extLst>
              <a:ext uri="{FF2B5EF4-FFF2-40B4-BE49-F238E27FC236}">
                <a16:creationId xmlns:a16="http://schemas.microsoft.com/office/drawing/2014/main" id="{CD82EB5B-9088-4EF8-9111-D894C87BDE93}"/>
              </a:ext>
            </a:extLst>
          </p:cNvPr>
          <p:cNvPicPr>
            <a:picLocks noChangeAspect="1" noChangeArrowheads="1"/>
          </p:cNvPicPr>
          <p:nvPr userDrawn="1">
            <p:custDataLst>
              <p:tags r:id="rId1"/>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6876319" y="2719552"/>
            <a:ext cx="895160" cy="62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ontent Placeholder 4">
            <a:extLst>
              <a:ext uri="{FF2B5EF4-FFF2-40B4-BE49-F238E27FC236}">
                <a16:creationId xmlns:a16="http://schemas.microsoft.com/office/drawing/2014/main" id="{4CDC5B82-2F97-4A1A-89C0-86FC54F042DC}"/>
              </a:ext>
            </a:extLst>
          </p:cNvPr>
          <p:cNvSpPr txBox="1">
            <a:spLocks/>
          </p:cNvSpPr>
          <p:nvPr userDrawn="1"/>
        </p:nvSpPr>
        <p:spPr>
          <a:xfrm>
            <a:off x="6876320" y="3369282"/>
            <a:ext cx="4402721" cy="31733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a:solidFill>
                  <a:schemeClr val="tx1"/>
                </a:solidFill>
                <a:latin typeface="+mn-lt"/>
              </a:rPr>
              <a:t>of een afbeelding uit bestand. Je kunt de pictogrammen ook negeren en gewoon een tekst typen.</a:t>
            </a:r>
          </a:p>
        </p:txBody>
      </p:sp>
      <p:sp>
        <p:nvSpPr>
          <p:cNvPr id="9" name="Slide Number Placeholder 8">
            <a:extLst>
              <a:ext uri="{FF2B5EF4-FFF2-40B4-BE49-F238E27FC236}">
                <a16:creationId xmlns:a16="http://schemas.microsoft.com/office/drawing/2014/main" id="{6A0FF43F-2F5F-4C12-A3EE-A2E244B3DE2A}"/>
              </a:ext>
            </a:extLst>
          </p:cNvPr>
          <p:cNvSpPr>
            <a:spLocks noGrp="1"/>
          </p:cNvSpPr>
          <p:nvPr>
            <p:ph type="sldNum" sz="quarter" idx="12"/>
          </p:nvPr>
        </p:nvSpPr>
        <p:spPr/>
        <p:txBody>
          <a:bodyPr/>
          <a:lstStyle/>
          <a:p>
            <a:fld id="{1336C48C-F87C-4E4B-81EF-5027B17D1F61}" type="slidenum">
              <a:rPr lang="nl-NL" noProof="1" smtClean="0"/>
              <a:pPr/>
              <a:t>‹nr.›</a:t>
            </a:fld>
            <a:endParaRPr lang="nl-NL" noProof="1"/>
          </a:p>
        </p:txBody>
      </p:sp>
    </p:spTree>
    <p:extLst>
      <p:ext uri="{BB962C8B-B14F-4D97-AF65-F5344CB8AC3E}">
        <p14:creationId xmlns:p14="http://schemas.microsoft.com/office/powerpoint/2010/main" val="227576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Uitleg #2 ">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04113C76-AEB6-4B30-B58C-C04C6E6A6704}"/>
              </a:ext>
            </a:extLst>
          </p:cNvPr>
          <p:cNvGrpSpPr>
            <a:grpSpLocks/>
          </p:cNvGrpSpPr>
          <p:nvPr userDrawn="1"/>
        </p:nvGrpSpPr>
        <p:grpSpPr>
          <a:xfrm>
            <a:off x="0" y="-5151"/>
            <a:ext cx="12192000" cy="837801"/>
            <a:chOff x="0" y="-5151"/>
            <a:chExt cx="12195175" cy="837801"/>
          </a:xfrm>
        </p:grpSpPr>
        <p:sp>
          <p:nvSpPr>
            <p:cNvPr id="9" name="Vrije vorm 7">
              <a:extLst>
                <a:ext uri="{FF2B5EF4-FFF2-40B4-BE49-F238E27FC236}">
                  <a16:creationId xmlns:a16="http://schemas.microsoft.com/office/drawing/2014/main" id="{83BB2098-7B21-4DB0-920B-5D7490D67361}"/>
                </a:ext>
              </a:extLst>
            </p:cNvPr>
            <p:cNvSpPr>
              <a:spLocks/>
            </p:cNvSpPr>
            <p:nvPr userDrawn="1"/>
          </p:nvSpPr>
          <p:spPr>
            <a:xfrm>
              <a:off x="0" y="-5151"/>
              <a:ext cx="1143000" cy="837801"/>
            </a:xfrm>
            <a:custGeom>
              <a:avLst/>
              <a:gdLst>
                <a:gd name="connsiteX0" fmla="*/ 0 w 1143000"/>
                <a:gd name="connsiteY0" fmla="*/ 0 h 837801"/>
                <a:gd name="connsiteX1" fmla="*/ 1143000 w 1143000"/>
                <a:gd name="connsiteY1" fmla="*/ 0 h 837801"/>
                <a:gd name="connsiteX2" fmla="*/ 1143000 w 1143000"/>
                <a:gd name="connsiteY2" fmla="*/ 266301 h 837801"/>
                <a:gd name="connsiteX3" fmla="*/ 571500 w 1143000"/>
                <a:gd name="connsiteY3" fmla="*/ 837801 h 837801"/>
                <a:gd name="connsiteX4" fmla="*/ 0 w 1143000"/>
                <a:gd name="connsiteY4" fmla="*/ 837801 h 837801"/>
                <a:gd name="connsiteX5" fmla="*/ 0 w 11430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837801">
                  <a:moveTo>
                    <a:pt x="0" y="0"/>
                  </a:moveTo>
                  <a:lnTo>
                    <a:pt x="1143000" y="0"/>
                  </a:lnTo>
                  <a:lnTo>
                    <a:pt x="1143000" y="266301"/>
                  </a:lnTo>
                  <a:lnTo>
                    <a:pt x="571500" y="837801"/>
                  </a:lnTo>
                  <a:lnTo>
                    <a:pt x="0" y="837801"/>
                  </a:lnTo>
                  <a:lnTo>
                    <a:pt x="0" y="0"/>
                  </a:lnTo>
                  <a:close/>
                </a:path>
              </a:pathLst>
            </a:custGeom>
            <a:solidFill>
              <a:srgbClr val="CCC8CB">
                <a:alpha val="9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0" name="Vrije vorm 10">
              <a:extLst>
                <a:ext uri="{FF2B5EF4-FFF2-40B4-BE49-F238E27FC236}">
                  <a16:creationId xmlns:a16="http://schemas.microsoft.com/office/drawing/2014/main" id="{B7FEC641-A1CA-4757-96E8-A47F17343A49}"/>
                </a:ext>
              </a:extLst>
            </p:cNvPr>
            <p:cNvSpPr>
              <a:spLocks/>
            </p:cNvSpPr>
            <p:nvPr userDrawn="1"/>
          </p:nvSpPr>
          <p:spPr>
            <a:xfrm>
              <a:off x="579475" y="-5151"/>
              <a:ext cx="11615700" cy="837801"/>
            </a:xfrm>
            <a:custGeom>
              <a:avLst/>
              <a:gdLst>
                <a:gd name="connsiteX0" fmla="*/ 0 w 11615700"/>
                <a:gd name="connsiteY0" fmla="*/ 0 h 837801"/>
                <a:gd name="connsiteX1" fmla="*/ 11615700 w 11615700"/>
                <a:gd name="connsiteY1" fmla="*/ 0 h 837801"/>
                <a:gd name="connsiteX2" fmla="*/ 11615700 w 11615700"/>
                <a:gd name="connsiteY2" fmla="*/ 837801 h 837801"/>
                <a:gd name="connsiteX3" fmla="*/ 574032 w 11615700"/>
                <a:gd name="connsiteY3" fmla="*/ 837801 h 837801"/>
                <a:gd name="connsiteX4" fmla="*/ 0 w 11615700"/>
                <a:gd name="connsiteY4" fmla="*/ 263768 h 837801"/>
                <a:gd name="connsiteX5" fmla="*/ 0 w 11615700"/>
                <a:gd name="connsiteY5" fmla="*/ 0 h 8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15700" h="837801">
                  <a:moveTo>
                    <a:pt x="0" y="0"/>
                  </a:moveTo>
                  <a:lnTo>
                    <a:pt x="11615700" y="0"/>
                  </a:lnTo>
                  <a:lnTo>
                    <a:pt x="11615700" y="837801"/>
                  </a:lnTo>
                  <a:lnTo>
                    <a:pt x="574032" y="837801"/>
                  </a:lnTo>
                  <a:lnTo>
                    <a:pt x="0" y="263768"/>
                  </a:lnTo>
                  <a:lnTo>
                    <a:pt x="0" y="0"/>
                  </a:lnTo>
                  <a:close/>
                </a:path>
              </a:pathLst>
            </a:custGeom>
            <a:gradFill>
              <a:gsLst>
                <a:gs pos="0">
                  <a:srgbClr val="6FC2E3"/>
                </a:gs>
                <a:gs pos="100000">
                  <a:srgbClr val="00A2BC">
                    <a:alpha val="65000"/>
                  </a:srgbClr>
                </a:gs>
              </a:gsLst>
              <a:lin ang="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sp>
          <p:nvSpPr>
            <p:cNvPr id="11" name="Vrije vorm 11">
              <a:extLst>
                <a:ext uri="{FF2B5EF4-FFF2-40B4-BE49-F238E27FC236}">
                  <a16:creationId xmlns:a16="http://schemas.microsoft.com/office/drawing/2014/main" id="{6551A575-23C7-467A-80EC-A6D0C33B8072}"/>
                </a:ext>
              </a:extLst>
            </p:cNvPr>
            <p:cNvSpPr>
              <a:spLocks/>
            </p:cNvSpPr>
            <p:nvPr userDrawn="1"/>
          </p:nvSpPr>
          <p:spPr>
            <a:xfrm>
              <a:off x="579474" y="-5151"/>
              <a:ext cx="563526" cy="550166"/>
            </a:xfrm>
            <a:custGeom>
              <a:avLst/>
              <a:gdLst>
                <a:gd name="connsiteX0" fmla="*/ 0 w 563526"/>
                <a:gd name="connsiteY0" fmla="*/ 0 h 550166"/>
                <a:gd name="connsiteX1" fmla="*/ 563526 w 563526"/>
                <a:gd name="connsiteY1" fmla="*/ 0 h 550166"/>
                <a:gd name="connsiteX2" fmla="*/ 563526 w 563526"/>
                <a:gd name="connsiteY2" fmla="*/ 268403 h 550166"/>
                <a:gd name="connsiteX3" fmla="*/ 281763 w 563526"/>
                <a:gd name="connsiteY3" fmla="*/ 550166 h 550166"/>
                <a:gd name="connsiteX4" fmla="*/ 0 w 563526"/>
                <a:gd name="connsiteY4" fmla="*/ 268403 h 550166"/>
                <a:gd name="connsiteX5" fmla="*/ 0 w 563526"/>
                <a:gd name="connsiteY5" fmla="*/ 0 h 55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3526" h="550166">
                  <a:moveTo>
                    <a:pt x="0" y="0"/>
                  </a:moveTo>
                  <a:lnTo>
                    <a:pt x="563526" y="0"/>
                  </a:lnTo>
                  <a:lnTo>
                    <a:pt x="563526" y="268403"/>
                  </a:lnTo>
                  <a:lnTo>
                    <a:pt x="281763" y="550166"/>
                  </a:lnTo>
                  <a:lnTo>
                    <a:pt x="0" y="268403"/>
                  </a:lnTo>
                  <a:lnTo>
                    <a:pt x="0" y="0"/>
                  </a:lnTo>
                  <a:close/>
                </a:path>
              </a:pathLst>
            </a:custGeom>
            <a:solidFill>
              <a:srgbClr val="00A2B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799"/>
            </a:p>
          </p:txBody>
        </p:sp>
      </p:grpSp>
      <p:sp>
        <p:nvSpPr>
          <p:cNvPr id="5" name="Rectangle 4">
            <a:extLst>
              <a:ext uri="{FF2B5EF4-FFF2-40B4-BE49-F238E27FC236}">
                <a16:creationId xmlns:a16="http://schemas.microsoft.com/office/drawing/2014/main" id="{96D68C14-FDBF-4357-8DAB-DC52C6CECFDB}"/>
              </a:ext>
            </a:extLst>
          </p:cNvPr>
          <p:cNvSpPr>
            <a:spLocks/>
          </p:cNvSpPr>
          <p:nvPr userDrawn="1"/>
        </p:nvSpPr>
        <p:spPr>
          <a:xfrm>
            <a:off x="1439625" y="404640"/>
            <a:ext cx="10149357" cy="53136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endParaRPr lang="nl-NL" sz="1799" b="1"/>
          </a:p>
        </p:txBody>
      </p:sp>
      <p:sp>
        <p:nvSpPr>
          <p:cNvPr id="2" name="Title 1">
            <a:extLst>
              <a:ext uri="{FF2B5EF4-FFF2-40B4-BE49-F238E27FC236}">
                <a16:creationId xmlns:a16="http://schemas.microsoft.com/office/drawing/2014/main" id="{9529CEC6-0800-4DC1-8762-7AFE20052EB7}"/>
              </a:ext>
            </a:extLst>
          </p:cNvPr>
          <p:cNvSpPr>
            <a:spLocks noGrp="1"/>
          </p:cNvSpPr>
          <p:nvPr>
            <p:ph type="title" hasCustomPrompt="1"/>
          </p:nvPr>
        </p:nvSpPr>
        <p:spPr/>
        <p:txBody>
          <a:bodyPr/>
          <a:lstStyle>
            <a:lvl1pPr algn="l">
              <a:lnSpc>
                <a:spcPct val="100000"/>
              </a:lnSpc>
              <a:defRPr/>
            </a:lvl1pPr>
          </a:lstStyle>
          <a:p>
            <a:pPr algn="l"/>
            <a:r>
              <a:rPr lang="nl-NL" sz="1999" b="1"/>
              <a:t>Overzicht van beschikbare tekststijlen</a:t>
            </a:r>
          </a:p>
        </p:txBody>
      </p:sp>
      <p:sp>
        <p:nvSpPr>
          <p:cNvPr id="8" name="Slide Number Placeholder 7">
            <a:extLst>
              <a:ext uri="{FF2B5EF4-FFF2-40B4-BE49-F238E27FC236}">
                <a16:creationId xmlns:a16="http://schemas.microsoft.com/office/drawing/2014/main" id="{1E499FF8-4D3C-46AF-9A2D-32F152365289}"/>
              </a:ext>
            </a:extLst>
          </p:cNvPr>
          <p:cNvSpPr>
            <a:spLocks noGrp="1"/>
          </p:cNvSpPr>
          <p:nvPr>
            <p:ph type="sldNum" sz="quarter" idx="12"/>
          </p:nvPr>
        </p:nvSpPr>
        <p:spPr/>
        <p:txBody>
          <a:bodyPr/>
          <a:lstStyle/>
          <a:p>
            <a:fld id="{1336C48C-F87C-4E4B-81EF-5027B17D1F61}" type="slidenum">
              <a:rPr lang="nl-NL" noProof="1" smtClean="0"/>
              <a:pPr/>
              <a:t>‹nr.›</a:t>
            </a:fld>
            <a:endParaRPr lang="nl-NL" noProof="1"/>
          </a:p>
        </p:txBody>
      </p:sp>
      <p:sp>
        <p:nvSpPr>
          <p:cNvPr id="12" name="Tijdelijke aanduiding voor inhoud 2">
            <a:extLst>
              <a:ext uri="{FF2B5EF4-FFF2-40B4-BE49-F238E27FC236}">
                <a16:creationId xmlns:a16="http://schemas.microsoft.com/office/drawing/2014/main" id="{C71E38A7-369F-4965-824F-F18320197A9B}"/>
              </a:ext>
            </a:extLst>
          </p:cNvPr>
          <p:cNvSpPr>
            <a:spLocks noGrp="1"/>
          </p:cNvSpPr>
          <p:nvPr>
            <p:ph idx="1" hasCustomPrompt="1"/>
          </p:nvPr>
        </p:nvSpPr>
        <p:spPr bwMode="gray">
          <a:xfrm>
            <a:off x="1439625" y="1295280"/>
            <a:ext cx="10149357" cy="4971600"/>
          </a:xfrm>
        </p:spPr>
        <p:txBody>
          <a:bodyPr/>
          <a:lstStyle>
            <a:lvl1pPr>
              <a:defRPr baseline="0"/>
            </a:lvl1pPr>
          </a:lstStyle>
          <a:p>
            <a:pPr lvl="0"/>
            <a:r>
              <a:rPr lang="nl-NL" noProof="1"/>
              <a:t>[Typ tekst of klik op een pictogram om een object in te voegen]</a:t>
            </a:r>
          </a:p>
        </p:txBody>
      </p:sp>
    </p:spTree>
    <p:extLst>
      <p:ext uri="{BB962C8B-B14F-4D97-AF65-F5344CB8AC3E}">
        <p14:creationId xmlns:p14="http://schemas.microsoft.com/office/powerpoint/2010/main" val="146850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210D40-2E1F-57D3-717C-3F5842B75157}"/>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116E12A9-E096-D077-188D-92C0853C00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A622F124-2FBF-6C54-BF4E-C147D6264BED}"/>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BE745782-AFD4-F510-9013-C257E36484A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7D651F8-FB13-AA0E-9632-416902695CE1}"/>
              </a:ext>
            </a:extLst>
          </p:cNvPr>
          <p:cNvSpPr>
            <a:spLocks noGrp="1"/>
          </p:cNvSpPr>
          <p:nvPr>
            <p:ph type="sldNum" sz="quarter" idx="12"/>
          </p:nvPr>
        </p:nvSpPr>
        <p:spPr/>
        <p:txBody>
          <a:bodyPr/>
          <a:lstStyle/>
          <a:p>
            <a:fld id="{DA5D48B6-F5F0-E143-8F4E-EBC619CFDC7F}" type="slidenum">
              <a:rPr lang="nl-NL" smtClean="0"/>
              <a:t>‹nr.›</a:t>
            </a:fld>
            <a:endParaRPr lang="nl-NL"/>
          </a:p>
        </p:txBody>
      </p:sp>
    </p:spTree>
    <p:extLst>
      <p:ext uri="{BB962C8B-B14F-4D97-AF65-F5344CB8AC3E}">
        <p14:creationId xmlns:p14="http://schemas.microsoft.com/office/powerpoint/2010/main" val="3502941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36050-36E6-F1A9-4A45-245E9683C902}"/>
              </a:ext>
            </a:extLst>
          </p:cNvPr>
          <p:cNvSpPr>
            <a:spLocks noGrp="1"/>
          </p:cNvSpPr>
          <p:nvPr>
            <p:ph type="title" hasCustomPrompt="1"/>
          </p:nvPr>
        </p:nvSpPr>
        <p:spPr/>
        <p:txBody>
          <a:bodyPr/>
          <a:lstStyle/>
          <a:p>
            <a:r>
              <a:rPr lang="nl-NL"/>
              <a:t>Missie </a:t>
            </a:r>
            <a:r>
              <a:rPr lang="nl-NL" err="1"/>
              <a:t>Delfin</a:t>
            </a:r>
            <a:endParaRPr lang="nl-NL"/>
          </a:p>
        </p:txBody>
      </p:sp>
      <p:sp>
        <p:nvSpPr>
          <p:cNvPr id="3" name="Tijdelijke aanduiding voor inhoud 2">
            <a:extLst>
              <a:ext uri="{FF2B5EF4-FFF2-40B4-BE49-F238E27FC236}">
                <a16:creationId xmlns:a16="http://schemas.microsoft.com/office/drawing/2014/main" id="{702587DC-FC4B-7F90-7CBB-51C69365B620}"/>
              </a:ext>
            </a:extLst>
          </p:cNvPr>
          <p:cNvSpPr>
            <a:spLocks noGrp="1"/>
          </p:cNvSpPr>
          <p:nvPr>
            <p:ph idx="1" hasCustomPrompt="1"/>
          </p:nvPr>
        </p:nvSpPr>
        <p:spPr/>
        <p:txBody>
          <a:bodyPr>
            <a:normAutofit/>
          </a:bodyPr>
          <a:lstStyle>
            <a:lvl1pPr marL="0" indent="0">
              <a:lnSpc>
                <a:spcPct val="150000"/>
              </a:lnSpc>
              <a:buNone/>
              <a:defRPr sz="1200"/>
            </a:lvl1pPr>
          </a:lstStyle>
          <a:p>
            <a:pPr lvl="0"/>
            <a:r>
              <a:rPr lang="nl-NL"/>
              <a:t>De missie van </a:t>
            </a:r>
            <a:r>
              <a:rPr lang="nl-NL" err="1"/>
              <a:t>Delfin</a:t>
            </a:r>
            <a:r>
              <a:rPr lang="nl-NL"/>
              <a:t> is organisaties en leiders klaar te maken voor een nieuw vandaag, morgen </a:t>
            </a:r>
            <a:r>
              <a:rPr lang="nl-NL" err="1"/>
              <a:t>én</a:t>
            </a:r>
            <a:r>
              <a:rPr lang="nl-NL"/>
              <a:t> overmorgen. Organisaties voor wie verantwoord ondernemen het uitgangspunt is, helpen wij in het vinden van nieuwe leiders.</a:t>
            </a:r>
          </a:p>
          <a:p>
            <a:pPr lvl="0"/>
            <a:r>
              <a:rPr lang="nl-NL"/>
              <a:t>In onze Executive Search processen leggen wij de nadruk op ontwikkelingen binnen de organisatie van onze opdrachtgevers in het algemeen en de specifieke opdracht die vaak onder een vacante positie ligt.</a:t>
            </a:r>
          </a:p>
          <a:p>
            <a:pPr lvl="0"/>
            <a:r>
              <a:rPr lang="nl-NL"/>
              <a:t>Het verschil maken wij door anders te zoeken, breder te kijken en scherper te kiezen. Bewust gaan we op zoek naar kandidaten die uit een andere omgeving komen, want waar twee werelden bij elkaar komen creëer je synergie en maak je impact. Zo maken wij de ambities van onze opdrachtgever waar.</a:t>
            </a:r>
          </a:p>
        </p:txBody>
      </p:sp>
      <p:sp>
        <p:nvSpPr>
          <p:cNvPr id="4" name="Tijdelijke aanduiding voor datum 3">
            <a:extLst>
              <a:ext uri="{FF2B5EF4-FFF2-40B4-BE49-F238E27FC236}">
                <a16:creationId xmlns:a16="http://schemas.microsoft.com/office/drawing/2014/main" id="{E33DC3D5-6224-588F-D1E3-EE6AEF47593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7DBDAC72-06FA-7B26-7B5B-030C738E21C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E1C24A9-0DD9-5E22-71B0-235FEFFE33E9}"/>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7B67DF24-BCF7-024A-96CD-A4335177584E}"/>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1050887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2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36050-36E6-F1A9-4A45-245E9683C902}"/>
              </a:ext>
            </a:extLst>
          </p:cNvPr>
          <p:cNvSpPr>
            <a:spLocks noGrp="1"/>
          </p:cNvSpPr>
          <p:nvPr>
            <p:ph type="title" hasCustomPrompt="1"/>
          </p:nvPr>
        </p:nvSpPr>
        <p:spPr/>
        <p:txBody>
          <a:bodyPr/>
          <a:lstStyle/>
          <a:p>
            <a:r>
              <a:rPr lang="nl-NL"/>
              <a:t>Maak kennis met </a:t>
            </a:r>
            <a:r>
              <a:rPr lang="nl-NL" err="1"/>
              <a:t>Delfin</a:t>
            </a:r>
            <a:endParaRPr lang="nl-NL"/>
          </a:p>
        </p:txBody>
      </p:sp>
      <p:sp>
        <p:nvSpPr>
          <p:cNvPr id="3" name="Tijdelijke aanduiding voor inhoud 2">
            <a:extLst>
              <a:ext uri="{FF2B5EF4-FFF2-40B4-BE49-F238E27FC236}">
                <a16:creationId xmlns:a16="http://schemas.microsoft.com/office/drawing/2014/main" id="{702587DC-FC4B-7F90-7CBB-51C69365B620}"/>
              </a:ext>
            </a:extLst>
          </p:cNvPr>
          <p:cNvSpPr>
            <a:spLocks noGrp="1"/>
          </p:cNvSpPr>
          <p:nvPr>
            <p:ph idx="1"/>
          </p:nvPr>
        </p:nvSpPr>
        <p:spPr/>
        <p:txBody>
          <a:bodyPr>
            <a:normAutofit/>
          </a:bodyPr>
          <a:lstStyle>
            <a:lvl1pPr marL="0" indent="0">
              <a:lnSpc>
                <a:spcPct val="150000"/>
              </a:lnSpc>
              <a:buNone/>
              <a:defRPr sz="1200" b="0"/>
            </a:lvl1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E33DC3D5-6224-588F-D1E3-EE6AEF47593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7DBDAC72-06FA-7B26-7B5B-030C738E21C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E1C24A9-0DD9-5E22-71B0-235FEFFE33E9}"/>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8371B84A-7604-2144-1B36-2EB9A2E48F6E}"/>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42871917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3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36050-36E6-F1A9-4A45-245E9683C902}"/>
              </a:ext>
            </a:extLst>
          </p:cNvPr>
          <p:cNvSpPr>
            <a:spLocks noGrp="1"/>
          </p:cNvSpPr>
          <p:nvPr>
            <p:ph type="title" hasCustomPrompt="1"/>
          </p:nvPr>
        </p:nvSpPr>
        <p:spPr/>
        <p:txBody>
          <a:bodyPr/>
          <a:lstStyle/>
          <a:p>
            <a:r>
              <a:rPr lang="nl-NL" err="1"/>
              <a:t>Delfin</a:t>
            </a:r>
            <a:r>
              <a:rPr lang="nl-NL"/>
              <a:t> impact approach</a:t>
            </a:r>
          </a:p>
        </p:txBody>
      </p:sp>
      <p:sp>
        <p:nvSpPr>
          <p:cNvPr id="3" name="Tijdelijke aanduiding voor inhoud 2">
            <a:extLst>
              <a:ext uri="{FF2B5EF4-FFF2-40B4-BE49-F238E27FC236}">
                <a16:creationId xmlns:a16="http://schemas.microsoft.com/office/drawing/2014/main" id="{702587DC-FC4B-7F90-7CBB-51C69365B620}"/>
              </a:ext>
            </a:extLst>
          </p:cNvPr>
          <p:cNvSpPr>
            <a:spLocks noGrp="1"/>
          </p:cNvSpPr>
          <p:nvPr>
            <p:ph idx="1" hasCustomPrompt="1"/>
          </p:nvPr>
        </p:nvSpPr>
        <p:spPr/>
        <p:txBody>
          <a:bodyPr>
            <a:normAutofit/>
          </a:bodyPr>
          <a:lstStyle>
            <a:lvl1pPr marL="0" indent="0">
              <a:lnSpc>
                <a:spcPct val="150000"/>
              </a:lnSpc>
              <a:buNone/>
              <a:defRPr sz="1200" b="0"/>
            </a:lvl1pPr>
          </a:lstStyle>
          <a:p>
            <a:pPr lvl="0"/>
            <a:r>
              <a:rPr lang="nl-NL"/>
              <a:t>Om de kans op de beste match te realiseren zijn wat ons betreft een aantal elementen uit ons wervingsproces van belang. Deze hebben we hieronder uitgewerkt.</a:t>
            </a:r>
          </a:p>
        </p:txBody>
      </p:sp>
      <p:sp>
        <p:nvSpPr>
          <p:cNvPr id="4" name="Tijdelijke aanduiding voor datum 3">
            <a:extLst>
              <a:ext uri="{FF2B5EF4-FFF2-40B4-BE49-F238E27FC236}">
                <a16:creationId xmlns:a16="http://schemas.microsoft.com/office/drawing/2014/main" id="{E33DC3D5-6224-588F-D1E3-EE6AEF47593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7DBDAC72-06FA-7B26-7B5B-030C738E21C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E1C24A9-0DD9-5E22-71B0-235FEFFE33E9}"/>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0A3A8E2D-FCA4-4DCF-FE87-6A0EAFABF4E9}"/>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2518246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36050-36E6-F1A9-4A45-245E9683C902}"/>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02587DC-FC4B-7F90-7CBB-51C69365B62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33DC3D5-6224-588F-D1E3-EE6AEF47593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7DBDAC72-06FA-7B26-7B5B-030C738E21C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E1C24A9-0DD9-5E22-71B0-235FEFFE33E9}"/>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153F9A90-277C-49B0-8DBF-30D3827769BD}"/>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7058890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4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36050-36E6-F1A9-4A45-245E9683C902}"/>
              </a:ext>
            </a:extLst>
          </p:cNvPr>
          <p:cNvSpPr>
            <a:spLocks noGrp="1"/>
          </p:cNvSpPr>
          <p:nvPr>
            <p:ph type="title" hasCustomPrompt="1"/>
          </p:nvPr>
        </p:nvSpPr>
        <p:spPr/>
        <p:txBody>
          <a:bodyPr/>
          <a:lstStyle/>
          <a:p>
            <a:r>
              <a:rPr lang="nl-NL"/>
              <a:t>Referenties</a:t>
            </a:r>
          </a:p>
        </p:txBody>
      </p:sp>
      <p:sp>
        <p:nvSpPr>
          <p:cNvPr id="3" name="Tijdelijke aanduiding voor inhoud 2">
            <a:extLst>
              <a:ext uri="{FF2B5EF4-FFF2-40B4-BE49-F238E27FC236}">
                <a16:creationId xmlns:a16="http://schemas.microsoft.com/office/drawing/2014/main" id="{702587DC-FC4B-7F90-7CBB-51C69365B62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33DC3D5-6224-588F-D1E3-EE6AEF47593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7DBDAC72-06FA-7B26-7B5B-030C738E21C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E1C24A9-0DD9-5E22-71B0-235FEFFE33E9}"/>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E548CA4F-C700-84A0-5DDC-BF681CF3E7D4}"/>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6972903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9A6424-DBFC-F35D-2816-3BE02BBFD132}"/>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E213B810-CAE3-9CBE-0B56-1FC51FF270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B63EADAA-3C35-435F-3965-02EBCFFB416F}"/>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07E2DCA0-DAB6-491B-58A5-7C78BBCDB58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68AA148-936B-DD26-37E5-983F55991BEB}"/>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7" name="Afbeelding 6" descr="Afbeelding met Lettertype, Graphics, schermopname, tekst&#10;&#10;Automatisch gegenereerde beschrijving">
            <a:extLst>
              <a:ext uri="{FF2B5EF4-FFF2-40B4-BE49-F238E27FC236}">
                <a16:creationId xmlns:a16="http://schemas.microsoft.com/office/drawing/2014/main" id="{6F5CC182-E749-048C-BFEB-8A8C29991597}"/>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3343362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BE2B26-07BC-7C1C-7C31-A60B0DFA16B5}"/>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B01125A9-7B05-B2D7-78DC-FE0E4A018A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9049E908-6E4F-D0E0-970C-17171616C5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67CF1C2-DB65-9632-CA98-71BDC61ADB12}"/>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105B237B-1DBB-CD79-364A-44D1CB7CAEB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CD571A30-36E6-D246-BA62-FDCDE45B4178}"/>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26234493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C97BF6-EDD1-0234-04F2-793BF4F130C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BA2405FD-5F0D-D99E-B26C-E37BE0CB53D2}"/>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80AB1596-2F21-34B3-7CBB-569929118C8E}"/>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F5E5C282-7B2A-DD05-0F03-A8D23796281B}"/>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E2274643-BD42-7D50-F93C-6F87F8FDC49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3824D5A-B1F1-E6EE-94FB-3C43611FC1FE}"/>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8" name="Afbeelding 7" descr="Afbeelding met Lettertype, Graphics, schermopname, tekst&#10;&#10;Automatisch gegenereerde beschrijving">
            <a:extLst>
              <a:ext uri="{FF2B5EF4-FFF2-40B4-BE49-F238E27FC236}">
                <a16:creationId xmlns:a16="http://schemas.microsoft.com/office/drawing/2014/main" id="{566F664D-D20D-72E2-158F-34A2AC1212C2}"/>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3166597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BF23E8-60B0-D237-1D7B-52205E78476E}"/>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53B068A1-D927-CC3B-6F23-7DCE76C9BF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E40D3F9E-1EAA-1892-A7D4-38FE2B670805}"/>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7AD78B17-C8BF-BE09-F365-C3B2578375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9C3B2858-F4EF-8359-7CA7-2CE010902087}"/>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2495546C-4ACC-7321-BE6D-75EA49E771AB}"/>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8" name="Tijdelijke aanduiding voor voettekst 7">
            <a:extLst>
              <a:ext uri="{FF2B5EF4-FFF2-40B4-BE49-F238E27FC236}">
                <a16:creationId xmlns:a16="http://schemas.microsoft.com/office/drawing/2014/main" id="{3437ABF2-CC4F-F62A-DBE0-B6985BE3224C}"/>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546BA304-DB43-056F-44F5-4D7E3B5F702E}"/>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10" name="Afbeelding 9" descr="Afbeelding met Lettertype, Graphics, schermopname, tekst&#10;&#10;Automatisch gegenereerde beschrijving">
            <a:extLst>
              <a:ext uri="{FF2B5EF4-FFF2-40B4-BE49-F238E27FC236}">
                <a16:creationId xmlns:a16="http://schemas.microsoft.com/office/drawing/2014/main" id="{1F003A77-276C-865D-C5F6-3603A773C27C}"/>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8320869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DB0A00-82AE-7552-7062-E98D27347543}"/>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795A9746-56EB-F6C5-299B-859F4C927D66}"/>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4" name="Tijdelijke aanduiding voor voettekst 3">
            <a:extLst>
              <a:ext uri="{FF2B5EF4-FFF2-40B4-BE49-F238E27FC236}">
                <a16:creationId xmlns:a16="http://schemas.microsoft.com/office/drawing/2014/main" id="{27F5D986-1DE3-C29B-12C8-2D976AEFF622}"/>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A8D99563-B22F-7611-EDE7-AEE0013060C7}"/>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6" name="Afbeelding 5" descr="Afbeelding met Lettertype, Graphics, schermopname, tekst&#10;&#10;Automatisch gegenereerde beschrijving">
            <a:extLst>
              <a:ext uri="{FF2B5EF4-FFF2-40B4-BE49-F238E27FC236}">
                <a16:creationId xmlns:a16="http://schemas.microsoft.com/office/drawing/2014/main" id="{90EA6C99-8CA5-C20A-79B2-1F7EBC2C3957}"/>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22250673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47831897-0AFC-E836-2B7E-8DFF6019B608}"/>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3" name="Tijdelijke aanduiding voor voettekst 2">
            <a:extLst>
              <a:ext uri="{FF2B5EF4-FFF2-40B4-BE49-F238E27FC236}">
                <a16:creationId xmlns:a16="http://schemas.microsoft.com/office/drawing/2014/main" id="{9F8FA7E6-C6C3-F961-089E-CC5115C8AA41}"/>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2903EFC0-C0FE-1F88-DD66-B36A66FD88AB}"/>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5" name="Afbeelding 4" descr="Afbeelding met Lettertype, Graphics, schermopname, tekst&#10;&#10;Automatisch gegenereerde beschrijving">
            <a:extLst>
              <a:ext uri="{FF2B5EF4-FFF2-40B4-BE49-F238E27FC236}">
                <a16:creationId xmlns:a16="http://schemas.microsoft.com/office/drawing/2014/main" id="{7A6E904A-A655-AEC1-3493-6F992385AFF0}"/>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27169283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E3D4D7-BCA8-5DDF-E1BC-A31C9A50698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526A4FDD-4797-7D1B-8433-A618B0647A3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B2549EBF-1F13-E612-B909-E7D2FA6CC4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355C2B6-DE8D-F3E0-A77D-617EE988F3FF}"/>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A922724F-C0AD-4A30-59E7-262EA2C872DF}"/>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4E196E5-EBD3-0C5C-89CA-B94ACC33F433}"/>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8" name="Afbeelding 7" descr="Afbeelding met Lettertype, Graphics, schermopname, tekst&#10;&#10;Automatisch gegenereerde beschrijving">
            <a:extLst>
              <a:ext uri="{FF2B5EF4-FFF2-40B4-BE49-F238E27FC236}">
                <a16:creationId xmlns:a16="http://schemas.microsoft.com/office/drawing/2014/main" id="{C684CB40-26CF-9E59-AB16-54D7CFCEC2C9}"/>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42036701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AD71CF-B88B-3E1A-382C-AD83A2E909AD}"/>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7D0D42F2-D1C5-A5F8-6637-1BE1584957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D3185C13-5906-8303-181A-849A4D9A0D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E590C5E2-2B94-9346-CD7E-88E070B3140F}"/>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894E30EA-3B8E-18F4-D536-0F9C4CE9B548}"/>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C4740B12-C5E5-9F23-E151-75ED5FDFB9E0}"/>
              </a:ext>
            </a:extLst>
          </p:cNvPr>
          <p:cNvSpPr>
            <a:spLocks noGrp="1"/>
          </p:cNvSpPr>
          <p:nvPr>
            <p:ph type="sldNum" sz="quarter" idx="12"/>
          </p:nvPr>
        </p:nvSpPr>
        <p:spPr/>
        <p:txBody>
          <a:bodyPr/>
          <a:lstStyle/>
          <a:p>
            <a:fld id="{DA5D48B6-F5F0-E143-8F4E-EBC619CFDC7F}" type="slidenum">
              <a:rPr lang="nl-NL" smtClean="0"/>
              <a:t>‹nr.›</a:t>
            </a:fld>
            <a:endParaRPr lang="nl-NL"/>
          </a:p>
        </p:txBody>
      </p:sp>
      <p:pic>
        <p:nvPicPr>
          <p:cNvPr id="8" name="Afbeelding 7" descr="Afbeelding met Lettertype, Graphics, schermopname, tekst&#10;&#10;Automatisch gegenereerde beschrijving">
            <a:extLst>
              <a:ext uri="{FF2B5EF4-FFF2-40B4-BE49-F238E27FC236}">
                <a16:creationId xmlns:a16="http://schemas.microsoft.com/office/drawing/2014/main" id="{F5BD69E2-8BCD-DD57-F6A4-2C110130D39F}"/>
              </a:ext>
            </a:extLst>
          </p:cNvPr>
          <p:cNvPicPr>
            <a:picLocks noChangeAspect="1"/>
          </p:cNvPicPr>
          <p:nvPr userDrawn="1"/>
        </p:nvPicPr>
        <p:blipFill rotWithShape="1">
          <a:blip r:embed="rId2">
            <a:alphaModFix amt="35000"/>
          </a:blip>
          <a:srcRect r="80796"/>
          <a:stretch/>
        </p:blipFill>
        <p:spPr>
          <a:xfrm>
            <a:off x="11371729" y="6091518"/>
            <a:ext cx="549109" cy="629957"/>
          </a:xfrm>
          <a:prstGeom prst="rect">
            <a:avLst/>
          </a:prstGeom>
        </p:spPr>
      </p:pic>
    </p:spTree>
    <p:extLst>
      <p:ext uri="{BB962C8B-B14F-4D97-AF65-F5344CB8AC3E}">
        <p14:creationId xmlns:p14="http://schemas.microsoft.com/office/powerpoint/2010/main" val="19441610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CD683B-3BC4-A76F-12CF-222D8684C803}"/>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41C75C99-A7BF-8FAE-4644-DA935E26D6F3}"/>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11CF76A-E71A-66F8-F7CC-142787C6D151}"/>
              </a:ext>
            </a:extLst>
          </p:cNvPr>
          <p:cNvSpPr>
            <a:spLocks noGrp="1"/>
          </p:cNvSpPr>
          <p:nvPr>
            <p:ph type="dt" sz="half" idx="10"/>
          </p:nvPr>
        </p:nvSpPr>
        <p:spPr/>
        <p:txBody>
          <a:bodyPr/>
          <a:lstStyle/>
          <a:p>
            <a:fld id="{F43F58D8-3E08-0E4D-B02F-1FE9F79555EC}"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9EF76111-7931-7F5C-8C0A-E92B8911A087}"/>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7B03B5F-1302-2342-F9DF-52E158DC9A39}"/>
              </a:ext>
            </a:extLst>
          </p:cNvPr>
          <p:cNvSpPr>
            <a:spLocks noGrp="1"/>
          </p:cNvSpPr>
          <p:nvPr>
            <p:ph type="sldNum" sz="quarter" idx="12"/>
          </p:nvPr>
        </p:nvSpPr>
        <p:spPr/>
        <p:txBody>
          <a:bodyPr/>
          <a:lstStyle/>
          <a:p>
            <a:fld id="{DA5D48B6-F5F0-E143-8F4E-EBC619CFDC7F}" type="slidenum">
              <a:rPr lang="nl-NL" smtClean="0"/>
              <a:t>‹nr.›</a:t>
            </a:fld>
            <a:endParaRPr lang="nl-NL"/>
          </a:p>
        </p:txBody>
      </p:sp>
    </p:spTree>
    <p:extLst>
      <p:ext uri="{BB962C8B-B14F-4D97-AF65-F5344CB8AC3E}">
        <p14:creationId xmlns:p14="http://schemas.microsoft.com/office/powerpoint/2010/main" val="2616042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CB30D2-AF9D-840A-1173-128E056FA886}"/>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4F846BEF-9B18-45EF-F0FE-B479DE763A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00E94893-101A-5876-8845-EF46413CE0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616E4C1-0DF4-A7B2-90AE-B12B3905FAA0}"/>
              </a:ext>
            </a:extLst>
          </p:cNvPr>
          <p:cNvSpPr>
            <a:spLocks noGrp="1"/>
          </p:cNvSpPr>
          <p:nvPr>
            <p:ph type="dt" sz="half" idx="10"/>
          </p:nvPr>
        </p:nvSpPr>
        <p:spPr/>
        <p:txBody>
          <a:bodyPr/>
          <a:lstStyle/>
          <a:p>
            <a:fld id="{C99AC473-8FFA-4210-962D-8D013A473C03}" type="datetimeFigureOut">
              <a:rPr lang="nl-NL" smtClean="0"/>
              <a:t>8-4-2025</a:t>
            </a:fld>
            <a:endParaRPr lang="nl-NL"/>
          </a:p>
        </p:txBody>
      </p:sp>
      <p:sp>
        <p:nvSpPr>
          <p:cNvPr id="6" name="Tijdelijke aanduiding voor voettekst 5">
            <a:extLst>
              <a:ext uri="{FF2B5EF4-FFF2-40B4-BE49-F238E27FC236}">
                <a16:creationId xmlns:a16="http://schemas.microsoft.com/office/drawing/2014/main" id="{11CC5E5C-D945-FAA5-F8FD-EBF932897092}"/>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3A7D2CAB-A87A-00D1-14F7-98D726BD02AD}"/>
              </a:ext>
            </a:extLst>
          </p:cNvPr>
          <p:cNvSpPr>
            <a:spLocks noGrp="1"/>
          </p:cNvSpPr>
          <p:nvPr>
            <p:ph type="sldNum" sz="quarter" idx="12"/>
          </p:nvPr>
        </p:nvSpPr>
        <p:spPr/>
        <p:txBody>
          <a:bodyPr/>
          <a:lstStyle/>
          <a:p>
            <a:fld id="{7502FD85-C351-4D9D-A6BC-E4540DCA30CE}" type="slidenum">
              <a:rPr lang="nl-NL" smtClean="0"/>
              <a:t>‹nr.›</a:t>
            </a:fld>
            <a:endParaRPr lang="nl-NL"/>
          </a:p>
        </p:txBody>
      </p:sp>
    </p:spTree>
    <p:extLst>
      <p:ext uri="{BB962C8B-B14F-4D97-AF65-F5344CB8AC3E}">
        <p14:creationId xmlns:p14="http://schemas.microsoft.com/office/powerpoint/2010/main" val="2298648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50" Type="http://schemas.openxmlformats.org/officeDocument/2006/relationships/slideLayout" Target="../slideLayouts/slideLayout68.xml"/><Relationship Id="rId55" Type="http://schemas.openxmlformats.org/officeDocument/2006/relationships/theme" Target="../theme/theme3.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slideLayout" Target="../slideLayouts/slideLayout47.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53" Type="http://schemas.openxmlformats.org/officeDocument/2006/relationships/slideLayout" Target="../slideLayouts/slideLayout71.xml"/><Relationship Id="rId5" Type="http://schemas.openxmlformats.org/officeDocument/2006/relationships/slideLayout" Target="../slideLayouts/slideLayout23.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image" Target="../media/image4.emf"/><Relationship Id="rId8" Type="http://schemas.openxmlformats.org/officeDocument/2006/relationships/slideLayout" Target="../slideLayouts/slideLayout26.xml"/><Relationship Id="rId51" Type="http://schemas.openxmlformats.org/officeDocument/2006/relationships/slideLayout" Target="../slideLayouts/slideLayout69.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20" Type="http://schemas.openxmlformats.org/officeDocument/2006/relationships/slideLayout" Target="../slideLayouts/slideLayout38.xml"/><Relationship Id="rId41" Type="http://schemas.openxmlformats.org/officeDocument/2006/relationships/slideLayout" Target="../slideLayouts/slideLayout59.xml"/><Relationship Id="rId54" Type="http://schemas.openxmlformats.org/officeDocument/2006/relationships/slideLayout" Target="../slideLayouts/slideLayout7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57" Type="http://schemas.openxmlformats.org/officeDocument/2006/relationships/image" Target="../media/image5.emf"/><Relationship Id="rId10" Type="http://schemas.openxmlformats.org/officeDocument/2006/relationships/slideLayout" Target="../slideLayouts/slideLayout28.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6" Type="http://schemas.openxmlformats.org/officeDocument/2006/relationships/image" Target="../media/image24.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4.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D9255375-A9EC-DE52-53F1-D7444D5E6D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120212A4-3B30-EFAE-D05D-DC0AA0F1CD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480B6B21-68D9-4FD2-CFDF-A7F66E60CC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9AC473-8FFA-4210-962D-8D013A473C03}" type="datetimeFigureOut">
              <a:rPr lang="nl-NL" smtClean="0"/>
              <a:t>8-4-2025</a:t>
            </a:fld>
            <a:endParaRPr lang="nl-NL"/>
          </a:p>
        </p:txBody>
      </p:sp>
      <p:sp>
        <p:nvSpPr>
          <p:cNvPr id="5" name="Tijdelijke aanduiding voor voettekst 4">
            <a:extLst>
              <a:ext uri="{FF2B5EF4-FFF2-40B4-BE49-F238E27FC236}">
                <a16:creationId xmlns:a16="http://schemas.microsoft.com/office/drawing/2014/main" id="{BC0E7863-0108-5C9F-3FEA-7042B9E646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7150E570-1B99-0E8B-C5B6-DE09B72BEC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02FD85-C351-4D9D-A6BC-E4540DCA30CE}" type="slidenum">
              <a:rPr lang="nl-NL" smtClean="0"/>
              <a:t>‹nr.›</a:t>
            </a:fld>
            <a:endParaRPr lang="nl-NL"/>
          </a:p>
        </p:txBody>
      </p:sp>
    </p:spTree>
    <p:extLst>
      <p:ext uri="{BB962C8B-B14F-4D97-AF65-F5344CB8AC3E}">
        <p14:creationId xmlns:p14="http://schemas.microsoft.com/office/powerpoint/2010/main" val="7753710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314" name="Title Placeholder 1"/>
          <p:cNvSpPr>
            <a:spLocks noGrp="1"/>
          </p:cNvSpPr>
          <p:nvPr>
            <p:ph type="title"/>
          </p:nvPr>
        </p:nvSpPr>
        <p:spPr bwMode="auto">
          <a:xfrm>
            <a:off x="609600" y="0"/>
            <a:ext cx="10313194" cy="66357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3315" name="Text Placeholder 2"/>
          <p:cNvSpPr>
            <a:spLocks noGrp="1"/>
          </p:cNvSpPr>
          <p:nvPr>
            <p:ph type="body" idx="1"/>
          </p:nvPr>
        </p:nvSpPr>
        <p:spPr bwMode="auto">
          <a:xfrm>
            <a:off x="609600" y="1421606"/>
            <a:ext cx="11025982" cy="49276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76" name="Footer Placeholder 4"/>
          <p:cNvSpPr>
            <a:spLocks noGrp="1"/>
          </p:cNvSpPr>
          <p:nvPr>
            <p:ph type="ftr" sz="quarter" idx="3"/>
          </p:nvPr>
        </p:nvSpPr>
        <p:spPr bwMode="auto">
          <a:xfrm>
            <a:off x="4165600" y="6495257"/>
            <a:ext cx="3860800" cy="36512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600" smtClean="0">
                <a:solidFill>
                  <a:srgbClr val="898989"/>
                </a:solidFill>
                <a:latin typeface="Futura Medium" charset="0"/>
                <a:cs typeface="Avenir" charset="0"/>
              </a:defRPr>
            </a:lvl1pPr>
          </a:lstStyle>
          <a:p>
            <a:pPr defTabSz="292100" fontAlgn="base">
              <a:spcBef>
                <a:spcPct val="0"/>
              </a:spcBef>
              <a:spcAft>
                <a:spcPct val="0"/>
              </a:spcAft>
              <a:defRPr/>
            </a:pPr>
            <a:endParaRPr lang="en-GB">
              <a:ea typeface="ＭＳ Ｐゴシック" charset="0"/>
              <a:sym typeface="Avenir Roman" charset="0"/>
            </a:endParaRPr>
          </a:p>
        </p:txBody>
      </p:sp>
      <p:sp>
        <p:nvSpPr>
          <p:cNvPr id="3077" name="Slide Number Placeholder 5"/>
          <p:cNvSpPr>
            <a:spLocks noGrp="1"/>
          </p:cNvSpPr>
          <p:nvPr>
            <p:ph type="sldNum" sz="quarter" idx="4"/>
          </p:nvPr>
        </p:nvSpPr>
        <p:spPr bwMode="auto">
          <a:xfrm>
            <a:off x="11133138" y="6510338"/>
            <a:ext cx="502444" cy="34766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a:defRPr sz="600" smtClean="0">
                <a:solidFill>
                  <a:srgbClr val="898989"/>
                </a:solidFill>
                <a:latin typeface="Futura Medium" charset="0"/>
                <a:cs typeface="Avenir" charset="0"/>
              </a:defRPr>
            </a:lvl1pPr>
          </a:lstStyle>
          <a:p>
            <a:pPr defTabSz="292100" fontAlgn="base">
              <a:spcBef>
                <a:spcPct val="0"/>
              </a:spcBef>
              <a:spcAft>
                <a:spcPct val="0"/>
              </a:spcAft>
              <a:defRPr/>
            </a:pPr>
            <a:fld id="{13252D9B-9CF3-AE42-9196-A53D44FD494B}" type="slidenum">
              <a:rPr lang="en-GB" smtClean="0">
                <a:ea typeface="ＭＳ Ｐゴシック" charset="0"/>
                <a:sym typeface="Avenir Roman" charset="0"/>
              </a:rPr>
              <a:pPr defTabSz="292100" fontAlgn="base">
                <a:spcBef>
                  <a:spcPct val="0"/>
                </a:spcBef>
                <a:spcAft>
                  <a:spcPct val="0"/>
                </a:spcAft>
                <a:defRPr/>
              </a:pPr>
              <a:t>‹nr.›</a:t>
            </a:fld>
            <a:endParaRPr lang="en-GB">
              <a:ea typeface="ＭＳ Ｐゴシック" charset="0"/>
              <a:sym typeface="Avenir Roman" charset="0"/>
            </a:endParaRPr>
          </a:p>
        </p:txBody>
      </p:sp>
    </p:spTree>
    <p:extLst>
      <p:ext uri="{BB962C8B-B14F-4D97-AF65-F5344CB8AC3E}">
        <p14:creationId xmlns:p14="http://schemas.microsoft.com/office/powerpoint/2010/main" val="356090660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p:txStyles>
    <p:titleStyle>
      <a:lvl1pPr algn="l" defTabSz="228600" rtl="0" eaLnBrk="0" fontAlgn="base" hangingPunct="0">
        <a:spcBef>
          <a:spcPct val="0"/>
        </a:spcBef>
        <a:spcAft>
          <a:spcPct val="0"/>
        </a:spcAft>
        <a:defRPr sz="2200" kern="1200">
          <a:solidFill>
            <a:schemeClr val="tx1"/>
          </a:solidFill>
          <a:latin typeface="Futura Medium"/>
          <a:ea typeface="ＭＳ Ｐゴシック" charset="0"/>
          <a:cs typeface="ＭＳ Ｐゴシック" charset="0"/>
        </a:defRPr>
      </a:lvl1pPr>
      <a:lvl2pPr algn="l" defTabSz="228600" rtl="0" eaLnBrk="0" fontAlgn="base" hangingPunct="0">
        <a:spcBef>
          <a:spcPct val="0"/>
        </a:spcBef>
        <a:spcAft>
          <a:spcPct val="0"/>
        </a:spcAft>
        <a:defRPr sz="2200">
          <a:solidFill>
            <a:schemeClr val="accent1"/>
          </a:solidFill>
          <a:latin typeface="Futura Medium" charset="0"/>
          <a:ea typeface="ＭＳ Ｐゴシック" charset="0"/>
          <a:cs typeface="ＭＳ Ｐゴシック" charset="0"/>
        </a:defRPr>
      </a:lvl2pPr>
      <a:lvl3pPr algn="l" defTabSz="228600" rtl="0" eaLnBrk="0" fontAlgn="base" hangingPunct="0">
        <a:spcBef>
          <a:spcPct val="0"/>
        </a:spcBef>
        <a:spcAft>
          <a:spcPct val="0"/>
        </a:spcAft>
        <a:defRPr sz="2200">
          <a:solidFill>
            <a:schemeClr val="accent1"/>
          </a:solidFill>
          <a:latin typeface="Futura Medium" charset="0"/>
          <a:ea typeface="ＭＳ Ｐゴシック" charset="0"/>
          <a:cs typeface="ＭＳ Ｐゴシック" charset="0"/>
        </a:defRPr>
      </a:lvl3pPr>
      <a:lvl4pPr algn="l" defTabSz="228600" rtl="0" eaLnBrk="0" fontAlgn="base" hangingPunct="0">
        <a:spcBef>
          <a:spcPct val="0"/>
        </a:spcBef>
        <a:spcAft>
          <a:spcPct val="0"/>
        </a:spcAft>
        <a:defRPr sz="2200">
          <a:solidFill>
            <a:schemeClr val="accent1"/>
          </a:solidFill>
          <a:latin typeface="Futura Medium" charset="0"/>
          <a:ea typeface="ＭＳ Ｐゴシック" charset="0"/>
          <a:cs typeface="ＭＳ Ｐゴシック" charset="0"/>
        </a:defRPr>
      </a:lvl4pPr>
      <a:lvl5pPr algn="l" defTabSz="228600" rtl="0" eaLnBrk="0" fontAlgn="base" hangingPunct="0">
        <a:spcBef>
          <a:spcPct val="0"/>
        </a:spcBef>
        <a:spcAft>
          <a:spcPct val="0"/>
        </a:spcAft>
        <a:defRPr sz="2200">
          <a:solidFill>
            <a:schemeClr val="accent1"/>
          </a:solidFill>
          <a:latin typeface="Futura Medium" charset="0"/>
          <a:ea typeface="ＭＳ Ｐゴシック" charset="0"/>
          <a:cs typeface="ＭＳ Ｐゴシック" charset="0"/>
        </a:defRPr>
      </a:lvl5pPr>
      <a:lvl6pPr marL="228600" algn="l" defTabSz="228600" rtl="0" fontAlgn="base">
        <a:spcBef>
          <a:spcPct val="0"/>
        </a:spcBef>
        <a:spcAft>
          <a:spcPct val="0"/>
        </a:spcAft>
        <a:defRPr sz="2200">
          <a:solidFill>
            <a:schemeClr val="accent1"/>
          </a:solidFill>
          <a:latin typeface="Futura Medium" charset="0"/>
          <a:ea typeface="ＭＳ Ｐゴシック" charset="0"/>
          <a:cs typeface="ＭＳ Ｐゴシック" charset="0"/>
        </a:defRPr>
      </a:lvl6pPr>
      <a:lvl7pPr marL="457200" algn="l" defTabSz="228600" rtl="0" fontAlgn="base">
        <a:spcBef>
          <a:spcPct val="0"/>
        </a:spcBef>
        <a:spcAft>
          <a:spcPct val="0"/>
        </a:spcAft>
        <a:defRPr sz="2200">
          <a:solidFill>
            <a:schemeClr val="accent1"/>
          </a:solidFill>
          <a:latin typeface="Futura Medium" charset="0"/>
          <a:ea typeface="ＭＳ Ｐゴシック" charset="0"/>
          <a:cs typeface="ＭＳ Ｐゴシック" charset="0"/>
        </a:defRPr>
      </a:lvl7pPr>
      <a:lvl8pPr marL="685800" algn="l" defTabSz="228600" rtl="0" fontAlgn="base">
        <a:spcBef>
          <a:spcPct val="0"/>
        </a:spcBef>
        <a:spcAft>
          <a:spcPct val="0"/>
        </a:spcAft>
        <a:defRPr sz="2200">
          <a:solidFill>
            <a:schemeClr val="accent1"/>
          </a:solidFill>
          <a:latin typeface="Futura Medium" charset="0"/>
          <a:ea typeface="ＭＳ Ｐゴシック" charset="0"/>
          <a:cs typeface="ＭＳ Ｐゴシック" charset="0"/>
        </a:defRPr>
      </a:lvl8pPr>
      <a:lvl9pPr marL="914400" algn="l" defTabSz="228600" rtl="0" fontAlgn="base">
        <a:spcBef>
          <a:spcPct val="0"/>
        </a:spcBef>
        <a:spcAft>
          <a:spcPct val="0"/>
        </a:spcAft>
        <a:defRPr sz="2200">
          <a:solidFill>
            <a:schemeClr val="accent1"/>
          </a:solidFill>
          <a:latin typeface="Futura Medium" charset="0"/>
          <a:ea typeface="ＭＳ Ｐゴシック" charset="0"/>
          <a:cs typeface="ＭＳ Ｐゴシック" charset="0"/>
        </a:defRPr>
      </a:lvl9pPr>
    </p:titleStyle>
    <p:bodyStyle>
      <a:lvl1pPr marL="171450" indent="-171450" algn="l" defTabSz="228600" rtl="0" eaLnBrk="0" fontAlgn="base" hangingPunct="0">
        <a:spcBef>
          <a:spcPct val="20000"/>
        </a:spcBef>
        <a:spcAft>
          <a:spcPct val="0"/>
        </a:spcAft>
        <a:buFont typeface="Arial" charset="0"/>
        <a:buChar char="•"/>
        <a:defRPr sz="1400" kern="1200">
          <a:solidFill>
            <a:schemeClr val="tx1"/>
          </a:solidFill>
          <a:latin typeface="Futura (Light)"/>
          <a:ea typeface="ＭＳ Ｐゴシック" charset="0"/>
          <a:cs typeface="ＭＳ Ｐゴシック" charset="0"/>
        </a:defRPr>
      </a:lvl1pPr>
      <a:lvl2pPr marL="371475" indent="-142875" algn="l" defTabSz="228600" rtl="0" eaLnBrk="0" fontAlgn="base" hangingPunct="0">
        <a:spcBef>
          <a:spcPct val="20000"/>
        </a:spcBef>
        <a:spcAft>
          <a:spcPct val="0"/>
        </a:spcAft>
        <a:buSzPct val="100000"/>
        <a:buFont typeface="Arial" charset="0"/>
        <a:buChar char="–"/>
        <a:defRPr sz="1400" kern="1200">
          <a:solidFill>
            <a:schemeClr val="tx1"/>
          </a:solidFill>
          <a:latin typeface="Futura (Light)"/>
          <a:ea typeface="ＭＳ Ｐゴシック" charset="0"/>
          <a:cs typeface="ＭＳ Ｐゴシック" charset="0"/>
        </a:defRPr>
      </a:lvl2pPr>
      <a:lvl3pPr marL="571500" indent="-114300" algn="l" defTabSz="228600" rtl="0" eaLnBrk="0" fontAlgn="base" hangingPunct="0">
        <a:spcBef>
          <a:spcPct val="20000"/>
        </a:spcBef>
        <a:spcAft>
          <a:spcPct val="0"/>
        </a:spcAft>
        <a:buSzPct val="100000"/>
        <a:buFont typeface="Arial" charset="0"/>
        <a:buChar char="•"/>
        <a:defRPr sz="1400" kern="1200">
          <a:solidFill>
            <a:schemeClr val="tx1"/>
          </a:solidFill>
          <a:latin typeface="Futura (Light)"/>
          <a:ea typeface="ＭＳ Ｐゴシック" charset="0"/>
          <a:cs typeface="ＭＳ Ｐゴシック" charset="0"/>
        </a:defRPr>
      </a:lvl3pPr>
      <a:lvl4pPr marL="800100" indent="-114300" algn="l" defTabSz="228600" rtl="0" eaLnBrk="0" fontAlgn="base" hangingPunct="0">
        <a:spcBef>
          <a:spcPct val="20000"/>
        </a:spcBef>
        <a:spcAft>
          <a:spcPct val="0"/>
        </a:spcAft>
        <a:buSzPct val="100000"/>
        <a:buFont typeface="Arial" charset="0"/>
        <a:buChar char="–"/>
        <a:defRPr sz="1400" kern="1200">
          <a:solidFill>
            <a:schemeClr val="tx1"/>
          </a:solidFill>
          <a:latin typeface="Futura (Light)"/>
          <a:ea typeface="ＭＳ Ｐゴシック" charset="0"/>
          <a:cs typeface="ＭＳ Ｐゴシック" charset="0"/>
        </a:defRPr>
      </a:lvl4pPr>
      <a:lvl5pPr marL="1028700" indent="-114300" algn="l" defTabSz="228600" rtl="0" eaLnBrk="0" fontAlgn="base" hangingPunct="0">
        <a:spcBef>
          <a:spcPct val="20000"/>
        </a:spcBef>
        <a:spcAft>
          <a:spcPct val="0"/>
        </a:spcAft>
        <a:buSzPct val="100000"/>
        <a:buFont typeface="Arial" charset="0"/>
        <a:buChar char="»"/>
        <a:defRPr sz="1400" kern="1200">
          <a:solidFill>
            <a:schemeClr val="tx1"/>
          </a:solidFill>
          <a:latin typeface="Futura (Light)"/>
          <a:ea typeface="ＭＳ Ｐゴシック" charset="0"/>
          <a:cs typeface="ＭＳ Ｐゴシック" charset="0"/>
        </a:defRPr>
      </a:lvl5pPr>
      <a:lvl6pPr marL="1257300" indent="-114300" algn="l" defTabSz="228600" rtl="0" eaLnBrk="1" latinLnBrk="0" hangingPunct="1">
        <a:spcBef>
          <a:spcPct val="20000"/>
        </a:spcBef>
        <a:buFont typeface="Arial"/>
        <a:buChar char="•"/>
        <a:defRPr sz="1000" kern="1200">
          <a:solidFill>
            <a:schemeClr val="tx1"/>
          </a:solidFill>
          <a:latin typeface="+mn-lt"/>
          <a:ea typeface="+mn-ea"/>
          <a:cs typeface="+mn-cs"/>
        </a:defRPr>
      </a:lvl6pPr>
      <a:lvl7pPr marL="1485900" indent="-114300" algn="l" defTabSz="228600" rtl="0" eaLnBrk="1" latinLnBrk="0" hangingPunct="1">
        <a:spcBef>
          <a:spcPct val="20000"/>
        </a:spcBef>
        <a:buFont typeface="Arial"/>
        <a:buChar char="•"/>
        <a:defRPr sz="1000" kern="1200">
          <a:solidFill>
            <a:schemeClr val="tx1"/>
          </a:solidFill>
          <a:latin typeface="+mn-lt"/>
          <a:ea typeface="+mn-ea"/>
          <a:cs typeface="+mn-cs"/>
        </a:defRPr>
      </a:lvl7pPr>
      <a:lvl8pPr marL="1714500" indent="-114300" algn="l" defTabSz="228600" rtl="0" eaLnBrk="1" latinLnBrk="0" hangingPunct="1">
        <a:spcBef>
          <a:spcPct val="20000"/>
        </a:spcBef>
        <a:buFont typeface="Arial"/>
        <a:buChar char="•"/>
        <a:defRPr sz="1000" kern="1200">
          <a:solidFill>
            <a:schemeClr val="tx1"/>
          </a:solidFill>
          <a:latin typeface="+mn-lt"/>
          <a:ea typeface="+mn-ea"/>
          <a:cs typeface="+mn-cs"/>
        </a:defRPr>
      </a:lvl8pPr>
      <a:lvl9pPr marL="1943100" indent="-114300" algn="l" defTabSz="228600" rtl="0" eaLnBrk="1" latinLnBrk="0" hangingPunct="1">
        <a:spcBef>
          <a:spcPct val="20000"/>
        </a:spcBef>
        <a:buFont typeface="Arial"/>
        <a:buChar char="•"/>
        <a:defRPr sz="1000" kern="1200">
          <a:solidFill>
            <a:schemeClr val="tx1"/>
          </a:solidFill>
          <a:latin typeface="+mn-lt"/>
          <a:ea typeface="+mn-ea"/>
          <a:cs typeface="+mn-cs"/>
        </a:defRPr>
      </a:lvl9pPr>
    </p:bodyStyle>
    <p:other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pSp>
        <p:nvGrpSpPr>
          <p:cNvPr id="23" name="Group 4">
            <a:extLst>
              <a:ext uri="{FF2B5EF4-FFF2-40B4-BE49-F238E27FC236}">
                <a16:creationId xmlns:a16="http://schemas.microsoft.com/office/drawing/2014/main" id="{B267D517-E2A6-4CE7-9A9F-E14D301C6457}"/>
              </a:ext>
            </a:extLst>
          </p:cNvPr>
          <p:cNvGrpSpPr>
            <a:grpSpLocks noChangeAspect="1"/>
          </p:cNvGrpSpPr>
          <p:nvPr userDrawn="1"/>
        </p:nvGrpSpPr>
        <p:grpSpPr bwMode="gray">
          <a:xfrm>
            <a:off x="6467378" y="8732"/>
            <a:ext cx="5721448" cy="6854825"/>
            <a:chOff x="4077" y="1"/>
            <a:chExt cx="3605" cy="4318"/>
          </a:xfrm>
        </p:grpSpPr>
        <p:sp>
          <p:nvSpPr>
            <p:cNvPr id="24" name="Freeform 5">
              <a:extLst>
                <a:ext uri="{FF2B5EF4-FFF2-40B4-BE49-F238E27FC236}">
                  <a16:creationId xmlns:a16="http://schemas.microsoft.com/office/drawing/2014/main" id="{1B84B722-88E1-4454-85D2-281A58910EC2}"/>
                </a:ext>
              </a:extLst>
            </p:cNvPr>
            <p:cNvSpPr>
              <a:spLocks/>
            </p:cNvSpPr>
            <p:nvPr userDrawn="1"/>
          </p:nvSpPr>
          <p:spPr bwMode="gray">
            <a:xfrm>
              <a:off x="4080" y="1"/>
              <a:ext cx="3602" cy="4318"/>
            </a:xfrm>
            <a:custGeom>
              <a:avLst/>
              <a:gdLst>
                <a:gd name="T0" fmla="*/ 11720 w 18008"/>
                <a:gd name="T1" fmla="*/ 18000 h 21615"/>
                <a:gd name="T2" fmla="*/ 2951 w 18008"/>
                <a:gd name="T3" fmla="*/ 18448 h 21615"/>
                <a:gd name="T4" fmla="*/ 475 w 18008"/>
                <a:gd name="T5" fmla="*/ 13933 h 21615"/>
                <a:gd name="T6" fmla="*/ 646 w 18008"/>
                <a:gd name="T7" fmla="*/ 15854 h 21615"/>
                <a:gd name="T8" fmla="*/ 489 w 18008"/>
                <a:gd name="T9" fmla="*/ 8109 h 21615"/>
                <a:gd name="T10" fmla="*/ 3010 w 18008"/>
                <a:gd name="T11" fmla="*/ 7533 h 21615"/>
                <a:gd name="T12" fmla="*/ 5914 w 18008"/>
                <a:gd name="T13" fmla="*/ 14207 h 21615"/>
                <a:gd name="T14" fmla="*/ 3333 w 18008"/>
                <a:gd name="T15" fmla="*/ 13449 h 21615"/>
                <a:gd name="T16" fmla="*/ 3256 w 18008"/>
                <a:gd name="T17" fmla="*/ 9761 h 21615"/>
                <a:gd name="T18" fmla="*/ 4650 w 18008"/>
                <a:gd name="T19" fmla="*/ 12353 h 21615"/>
                <a:gd name="T20" fmla="*/ 3542 w 18008"/>
                <a:gd name="T21" fmla="*/ 9814 h 21615"/>
                <a:gd name="T22" fmla="*/ 4980 w 18008"/>
                <a:gd name="T23" fmla="*/ 11136 h 21615"/>
                <a:gd name="T24" fmla="*/ 3238 w 18008"/>
                <a:gd name="T25" fmla="*/ 4799 h 21615"/>
                <a:gd name="T26" fmla="*/ 6919 w 18008"/>
                <a:gd name="T27" fmla="*/ 11806 h 21615"/>
                <a:gd name="T28" fmla="*/ 7365 w 18008"/>
                <a:gd name="T29" fmla="*/ 16078 h 21615"/>
                <a:gd name="T30" fmla="*/ 6165 w 18008"/>
                <a:gd name="T31" fmla="*/ 13626 h 21615"/>
                <a:gd name="T32" fmla="*/ 10444 w 18008"/>
                <a:gd name="T33" fmla="*/ 16100 h 21615"/>
                <a:gd name="T34" fmla="*/ 8091 w 18008"/>
                <a:gd name="T35" fmla="*/ 17917 h 21615"/>
                <a:gd name="T36" fmla="*/ 7905 w 18008"/>
                <a:gd name="T37" fmla="*/ 13695 h 21615"/>
                <a:gd name="T38" fmla="*/ 3861 w 18008"/>
                <a:gd name="T39" fmla="*/ 16568 h 21615"/>
                <a:gd name="T40" fmla="*/ 6601 w 18008"/>
                <a:gd name="T41" fmla="*/ 13574 h 21615"/>
                <a:gd name="T42" fmla="*/ 6508 w 18008"/>
                <a:gd name="T43" fmla="*/ 3883 h 21615"/>
                <a:gd name="T44" fmla="*/ 7913 w 18008"/>
                <a:gd name="T45" fmla="*/ 12404 h 21615"/>
                <a:gd name="T46" fmla="*/ 1076 w 18008"/>
                <a:gd name="T47" fmla="*/ 9159 h 21615"/>
                <a:gd name="T48" fmla="*/ 1292 w 18008"/>
                <a:gd name="T49" fmla="*/ 8495 h 21615"/>
                <a:gd name="T50" fmla="*/ 3210 w 18008"/>
                <a:gd name="T51" fmla="*/ 12036 h 21615"/>
                <a:gd name="T52" fmla="*/ 1830 w 18008"/>
                <a:gd name="T53" fmla="*/ 12640 h 21615"/>
                <a:gd name="T54" fmla="*/ 750 w 18008"/>
                <a:gd name="T55" fmla="*/ 14137 h 21615"/>
                <a:gd name="T56" fmla="*/ 13999 w 18008"/>
                <a:gd name="T57" fmla="*/ 871 h 21615"/>
                <a:gd name="T58" fmla="*/ 346 w 18008"/>
                <a:gd name="T59" fmla="*/ 10516 h 21615"/>
                <a:gd name="T60" fmla="*/ 12157 w 18008"/>
                <a:gd name="T61" fmla="*/ 17527 h 21615"/>
                <a:gd name="T62" fmla="*/ 10180 w 18008"/>
                <a:gd name="T63" fmla="*/ 12723 h 21615"/>
                <a:gd name="T64" fmla="*/ 9140 w 18008"/>
                <a:gd name="T65" fmla="*/ 15965 h 21615"/>
                <a:gd name="T66" fmla="*/ 7181 w 18008"/>
                <a:gd name="T67" fmla="*/ 3087 h 21615"/>
                <a:gd name="T68" fmla="*/ 2042 w 18008"/>
                <a:gd name="T69" fmla="*/ 14599 h 21615"/>
                <a:gd name="T70" fmla="*/ 1627 w 18008"/>
                <a:gd name="T71" fmla="*/ 7179 h 21615"/>
                <a:gd name="T72" fmla="*/ 2827 w 18008"/>
                <a:gd name="T73" fmla="*/ 10500 h 21615"/>
                <a:gd name="T74" fmla="*/ 6568 w 18008"/>
                <a:gd name="T75" fmla="*/ 7350 h 21615"/>
                <a:gd name="T76" fmla="*/ 5166 w 18008"/>
                <a:gd name="T77" fmla="*/ 6712 h 21615"/>
                <a:gd name="T78" fmla="*/ 6739 w 18008"/>
                <a:gd name="T79" fmla="*/ 7396 h 21615"/>
                <a:gd name="T80" fmla="*/ 3150 w 18008"/>
                <a:gd name="T81" fmla="*/ 5568 h 21615"/>
                <a:gd name="T82" fmla="*/ 4785 w 18008"/>
                <a:gd name="T83" fmla="*/ 7738 h 21615"/>
                <a:gd name="T84" fmla="*/ 2050 w 18008"/>
                <a:gd name="T85" fmla="*/ 5398 h 21615"/>
                <a:gd name="T86" fmla="*/ 3544 w 18008"/>
                <a:gd name="T87" fmla="*/ 7428 h 21615"/>
                <a:gd name="T88" fmla="*/ 5048 w 18008"/>
                <a:gd name="T89" fmla="*/ 13344 h 21615"/>
                <a:gd name="T90" fmla="*/ 5171 w 18008"/>
                <a:gd name="T91" fmla="*/ 9687 h 21615"/>
                <a:gd name="T92" fmla="*/ 4214 w 18008"/>
                <a:gd name="T93" fmla="*/ 12816 h 21615"/>
                <a:gd name="T94" fmla="*/ 4152 w 18008"/>
                <a:gd name="T95" fmla="*/ 10388 h 21615"/>
                <a:gd name="T96" fmla="*/ 5003 w 18008"/>
                <a:gd name="T97" fmla="*/ 13344 h 21615"/>
                <a:gd name="T98" fmla="*/ 6551 w 18008"/>
                <a:gd name="T99" fmla="*/ 9385 h 21615"/>
                <a:gd name="T100" fmla="*/ 5149 w 18008"/>
                <a:gd name="T101" fmla="*/ 8291 h 21615"/>
                <a:gd name="T102" fmla="*/ 6952 w 18008"/>
                <a:gd name="T103" fmla="*/ 12562 h 21615"/>
                <a:gd name="T104" fmla="*/ 2266 w 18008"/>
                <a:gd name="T105" fmla="*/ 5128 h 21615"/>
                <a:gd name="T106" fmla="*/ 4118 w 18008"/>
                <a:gd name="T107" fmla="*/ 7990 h 21615"/>
                <a:gd name="T108" fmla="*/ 6214 w 18008"/>
                <a:gd name="T109" fmla="*/ 14954 h 21615"/>
                <a:gd name="T110" fmla="*/ 1910 w 18008"/>
                <a:gd name="T111" fmla="*/ 4534 h 21615"/>
                <a:gd name="T112" fmla="*/ 1293 w 18008"/>
                <a:gd name="T113" fmla="*/ 10844 h 21615"/>
                <a:gd name="T114" fmla="*/ 1212 w 18008"/>
                <a:gd name="T115" fmla="*/ 17236 h 21615"/>
                <a:gd name="T116" fmla="*/ 7604 w 18008"/>
                <a:gd name="T117" fmla="*/ 14741 h 21615"/>
                <a:gd name="T118" fmla="*/ 4497 w 18008"/>
                <a:gd name="T119" fmla="*/ 2042 h 21615"/>
                <a:gd name="T120" fmla="*/ 865 w 18008"/>
                <a:gd name="T121" fmla="*/ 10683 h 21615"/>
                <a:gd name="T122" fmla="*/ 930 w 18008"/>
                <a:gd name="T123" fmla="*/ 17276 h 21615"/>
                <a:gd name="T124" fmla="*/ 12015 w 18008"/>
                <a:gd name="T125" fmla="*/ 16587 h 2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21615">
                  <a:moveTo>
                    <a:pt x="3950" y="18222"/>
                  </a:moveTo>
                  <a:cubicBezTo>
                    <a:pt x="4003" y="18168"/>
                    <a:pt x="4003" y="18168"/>
                    <a:pt x="4003" y="18168"/>
                  </a:cubicBezTo>
                  <a:cubicBezTo>
                    <a:pt x="4055" y="18219"/>
                    <a:pt x="4055" y="18219"/>
                    <a:pt x="4055" y="18219"/>
                  </a:cubicBezTo>
                  <a:cubicBezTo>
                    <a:pt x="4154" y="18118"/>
                    <a:pt x="4154" y="18118"/>
                    <a:pt x="4154" y="18118"/>
                  </a:cubicBezTo>
                  <a:cubicBezTo>
                    <a:pt x="4085" y="18051"/>
                    <a:pt x="4085" y="18051"/>
                    <a:pt x="4085" y="18051"/>
                  </a:cubicBezTo>
                  <a:cubicBezTo>
                    <a:pt x="4080" y="18055"/>
                    <a:pt x="4080" y="18055"/>
                    <a:pt x="4080" y="18055"/>
                  </a:cubicBezTo>
                  <a:cubicBezTo>
                    <a:pt x="4072" y="18064"/>
                    <a:pt x="4072" y="18064"/>
                    <a:pt x="4072" y="18064"/>
                  </a:cubicBezTo>
                  <a:cubicBezTo>
                    <a:pt x="4037" y="18029"/>
                    <a:pt x="4037" y="18029"/>
                    <a:pt x="4037" y="18029"/>
                  </a:cubicBezTo>
                  <a:cubicBezTo>
                    <a:pt x="3900" y="18164"/>
                    <a:pt x="3900" y="18164"/>
                    <a:pt x="3900" y="18164"/>
                  </a:cubicBezTo>
                  <a:cubicBezTo>
                    <a:pt x="3896" y="18169"/>
                    <a:pt x="3896" y="18169"/>
                    <a:pt x="3896" y="18169"/>
                  </a:cubicBezTo>
                  <a:lnTo>
                    <a:pt x="3950" y="18222"/>
                  </a:lnTo>
                  <a:close/>
                  <a:moveTo>
                    <a:pt x="4037" y="18047"/>
                  </a:moveTo>
                  <a:cubicBezTo>
                    <a:pt x="4072" y="18082"/>
                    <a:pt x="4072" y="18082"/>
                    <a:pt x="4072" y="18082"/>
                  </a:cubicBezTo>
                  <a:cubicBezTo>
                    <a:pt x="4077" y="18078"/>
                    <a:pt x="4077" y="18078"/>
                    <a:pt x="4077" y="18078"/>
                  </a:cubicBezTo>
                  <a:cubicBezTo>
                    <a:pt x="4085" y="18069"/>
                    <a:pt x="4085" y="18069"/>
                    <a:pt x="4085" y="18069"/>
                  </a:cubicBezTo>
                  <a:cubicBezTo>
                    <a:pt x="4135" y="18119"/>
                    <a:pt x="4135" y="18119"/>
                    <a:pt x="4135" y="18119"/>
                  </a:cubicBezTo>
                  <a:cubicBezTo>
                    <a:pt x="4055" y="18200"/>
                    <a:pt x="4055" y="18200"/>
                    <a:pt x="4055" y="18200"/>
                  </a:cubicBezTo>
                  <a:cubicBezTo>
                    <a:pt x="4003" y="18149"/>
                    <a:pt x="4003" y="18149"/>
                    <a:pt x="4003" y="18149"/>
                  </a:cubicBezTo>
                  <a:cubicBezTo>
                    <a:pt x="3950" y="18203"/>
                    <a:pt x="3950" y="18203"/>
                    <a:pt x="3950" y="18203"/>
                  </a:cubicBezTo>
                  <a:cubicBezTo>
                    <a:pt x="3914" y="18169"/>
                    <a:pt x="3914" y="18169"/>
                    <a:pt x="3914" y="18169"/>
                  </a:cubicBezTo>
                  <a:lnTo>
                    <a:pt x="4037" y="18047"/>
                  </a:lnTo>
                  <a:close/>
                  <a:moveTo>
                    <a:pt x="4835" y="18023"/>
                  </a:moveTo>
                  <a:cubicBezTo>
                    <a:pt x="4835" y="18000"/>
                    <a:pt x="4835" y="18000"/>
                    <a:pt x="4835" y="18000"/>
                  </a:cubicBezTo>
                  <a:cubicBezTo>
                    <a:pt x="4848" y="18000"/>
                    <a:pt x="4848" y="18000"/>
                    <a:pt x="4848" y="18000"/>
                  </a:cubicBezTo>
                  <a:cubicBezTo>
                    <a:pt x="4848" y="18016"/>
                    <a:pt x="4848" y="18016"/>
                    <a:pt x="4848" y="18016"/>
                  </a:cubicBezTo>
                  <a:cubicBezTo>
                    <a:pt x="4906" y="18016"/>
                    <a:pt x="4906" y="18016"/>
                    <a:pt x="4906" y="18016"/>
                  </a:cubicBezTo>
                  <a:cubicBezTo>
                    <a:pt x="4906" y="18089"/>
                    <a:pt x="4906" y="18089"/>
                    <a:pt x="4906" y="18089"/>
                  </a:cubicBezTo>
                  <a:cubicBezTo>
                    <a:pt x="4990" y="18088"/>
                    <a:pt x="4990" y="18088"/>
                    <a:pt x="4990" y="18088"/>
                  </a:cubicBezTo>
                  <a:cubicBezTo>
                    <a:pt x="4989" y="18000"/>
                    <a:pt x="4989" y="18000"/>
                    <a:pt x="4989" y="18000"/>
                  </a:cubicBezTo>
                  <a:cubicBezTo>
                    <a:pt x="5003" y="18000"/>
                    <a:pt x="5003" y="18000"/>
                    <a:pt x="5003" y="18000"/>
                  </a:cubicBezTo>
                  <a:cubicBezTo>
                    <a:pt x="5003" y="18101"/>
                    <a:pt x="5003" y="18101"/>
                    <a:pt x="5003" y="18101"/>
                  </a:cubicBezTo>
                  <a:cubicBezTo>
                    <a:pt x="4893" y="18102"/>
                    <a:pt x="4893" y="18102"/>
                    <a:pt x="4893" y="18102"/>
                  </a:cubicBezTo>
                  <a:cubicBezTo>
                    <a:pt x="4893" y="18029"/>
                    <a:pt x="4893" y="18029"/>
                    <a:pt x="4893" y="18029"/>
                  </a:cubicBezTo>
                  <a:cubicBezTo>
                    <a:pt x="4836" y="18029"/>
                    <a:pt x="4836" y="18029"/>
                    <a:pt x="4836" y="18029"/>
                  </a:cubicBezTo>
                  <a:lnTo>
                    <a:pt x="4835" y="18023"/>
                  </a:lnTo>
                  <a:close/>
                  <a:moveTo>
                    <a:pt x="4728" y="18465"/>
                  </a:moveTo>
                  <a:cubicBezTo>
                    <a:pt x="4729" y="18635"/>
                    <a:pt x="4729" y="18635"/>
                    <a:pt x="4729" y="18635"/>
                  </a:cubicBezTo>
                  <a:cubicBezTo>
                    <a:pt x="4814" y="18636"/>
                    <a:pt x="4814" y="18636"/>
                    <a:pt x="4814" y="18636"/>
                  </a:cubicBezTo>
                  <a:cubicBezTo>
                    <a:pt x="4815" y="18733"/>
                    <a:pt x="4815" y="18733"/>
                    <a:pt x="4815" y="18733"/>
                  </a:cubicBezTo>
                  <a:cubicBezTo>
                    <a:pt x="4937" y="18733"/>
                    <a:pt x="4937" y="18733"/>
                    <a:pt x="4937" y="18733"/>
                  </a:cubicBezTo>
                  <a:cubicBezTo>
                    <a:pt x="4940" y="18551"/>
                    <a:pt x="4940" y="18551"/>
                    <a:pt x="4940" y="18551"/>
                  </a:cubicBezTo>
                  <a:cubicBezTo>
                    <a:pt x="4856" y="18550"/>
                    <a:pt x="4856" y="18550"/>
                    <a:pt x="4856" y="18550"/>
                  </a:cubicBezTo>
                  <a:cubicBezTo>
                    <a:pt x="4859" y="18466"/>
                    <a:pt x="4859" y="18466"/>
                    <a:pt x="4859" y="18466"/>
                  </a:cubicBezTo>
                  <a:lnTo>
                    <a:pt x="4728" y="18465"/>
                  </a:lnTo>
                  <a:close/>
                  <a:moveTo>
                    <a:pt x="4926" y="18564"/>
                  </a:moveTo>
                  <a:cubicBezTo>
                    <a:pt x="4924" y="18720"/>
                    <a:pt x="4924" y="18720"/>
                    <a:pt x="4924" y="18720"/>
                  </a:cubicBezTo>
                  <a:cubicBezTo>
                    <a:pt x="4828" y="18720"/>
                    <a:pt x="4828" y="18720"/>
                    <a:pt x="4828" y="18720"/>
                  </a:cubicBezTo>
                  <a:cubicBezTo>
                    <a:pt x="4827" y="18630"/>
                    <a:pt x="4827" y="18630"/>
                    <a:pt x="4827" y="18630"/>
                  </a:cubicBezTo>
                  <a:cubicBezTo>
                    <a:pt x="4827" y="18623"/>
                    <a:pt x="4827" y="18623"/>
                    <a:pt x="4827" y="18623"/>
                  </a:cubicBezTo>
                  <a:cubicBezTo>
                    <a:pt x="4742" y="18622"/>
                    <a:pt x="4742" y="18622"/>
                    <a:pt x="4742" y="18622"/>
                  </a:cubicBezTo>
                  <a:cubicBezTo>
                    <a:pt x="4741" y="18478"/>
                    <a:pt x="4741" y="18478"/>
                    <a:pt x="4741" y="18478"/>
                  </a:cubicBezTo>
                  <a:cubicBezTo>
                    <a:pt x="4845" y="18479"/>
                    <a:pt x="4845" y="18479"/>
                    <a:pt x="4845" y="18479"/>
                  </a:cubicBezTo>
                  <a:cubicBezTo>
                    <a:pt x="4842" y="18563"/>
                    <a:pt x="4842" y="18563"/>
                    <a:pt x="4842" y="18563"/>
                  </a:cubicBezTo>
                  <a:lnTo>
                    <a:pt x="4926" y="18564"/>
                  </a:lnTo>
                  <a:close/>
                  <a:moveTo>
                    <a:pt x="5143" y="21404"/>
                  </a:moveTo>
                  <a:cubicBezTo>
                    <a:pt x="5160" y="21294"/>
                    <a:pt x="5160" y="21294"/>
                    <a:pt x="5160" y="21294"/>
                  </a:cubicBezTo>
                  <a:cubicBezTo>
                    <a:pt x="5006" y="21271"/>
                    <a:pt x="5006" y="21271"/>
                    <a:pt x="5006" y="21271"/>
                  </a:cubicBezTo>
                  <a:cubicBezTo>
                    <a:pt x="4990" y="21381"/>
                    <a:pt x="4990" y="21381"/>
                    <a:pt x="4990" y="21381"/>
                  </a:cubicBezTo>
                  <a:cubicBezTo>
                    <a:pt x="5137" y="21403"/>
                    <a:pt x="5137" y="21403"/>
                    <a:pt x="5137" y="21403"/>
                  </a:cubicBezTo>
                  <a:lnTo>
                    <a:pt x="5143" y="21404"/>
                  </a:lnTo>
                  <a:close/>
                  <a:moveTo>
                    <a:pt x="5005" y="21370"/>
                  </a:moveTo>
                  <a:cubicBezTo>
                    <a:pt x="5017" y="21286"/>
                    <a:pt x="5017" y="21286"/>
                    <a:pt x="5017" y="21286"/>
                  </a:cubicBezTo>
                  <a:cubicBezTo>
                    <a:pt x="5145" y="21305"/>
                    <a:pt x="5145" y="21305"/>
                    <a:pt x="5145" y="21305"/>
                  </a:cubicBezTo>
                  <a:cubicBezTo>
                    <a:pt x="5132" y="21389"/>
                    <a:pt x="5132" y="21389"/>
                    <a:pt x="5132" y="21389"/>
                  </a:cubicBezTo>
                  <a:lnTo>
                    <a:pt x="5005" y="21370"/>
                  </a:lnTo>
                  <a:close/>
                  <a:moveTo>
                    <a:pt x="4978" y="21592"/>
                  </a:moveTo>
                  <a:cubicBezTo>
                    <a:pt x="5032" y="21600"/>
                    <a:pt x="5032" y="21600"/>
                    <a:pt x="5032" y="21600"/>
                  </a:cubicBezTo>
                  <a:cubicBezTo>
                    <a:pt x="5125" y="21614"/>
                    <a:pt x="5125" y="21614"/>
                    <a:pt x="5125" y="21614"/>
                  </a:cubicBezTo>
                  <a:cubicBezTo>
                    <a:pt x="5132" y="21615"/>
                    <a:pt x="5132" y="21615"/>
                    <a:pt x="5132" y="21615"/>
                  </a:cubicBezTo>
                  <a:cubicBezTo>
                    <a:pt x="5134" y="21600"/>
                    <a:pt x="5134" y="21600"/>
                    <a:pt x="5134" y="21600"/>
                  </a:cubicBezTo>
                  <a:cubicBezTo>
                    <a:pt x="5148" y="21505"/>
                    <a:pt x="5148" y="21505"/>
                    <a:pt x="5148" y="21505"/>
                  </a:cubicBezTo>
                  <a:cubicBezTo>
                    <a:pt x="4995" y="21482"/>
                    <a:pt x="4995" y="21482"/>
                    <a:pt x="4995" y="21482"/>
                  </a:cubicBezTo>
                  <a:lnTo>
                    <a:pt x="4978" y="21592"/>
                  </a:lnTo>
                  <a:close/>
                  <a:moveTo>
                    <a:pt x="5133" y="21516"/>
                  </a:moveTo>
                  <a:cubicBezTo>
                    <a:pt x="5121" y="21600"/>
                    <a:pt x="5121" y="21600"/>
                    <a:pt x="5121" y="21600"/>
                  </a:cubicBezTo>
                  <a:cubicBezTo>
                    <a:pt x="5121" y="21600"/>
                    <a:pt x="5121" y="21600"/>
                    <a:pt x="5121" y="21600"/>
                  </a:cubicBezTo>
                  <a:cubicBezTo>
                    <a:pt x="5120" y="21600"/>
                    <a:pt x="5120" y="21600"/>
                    <a:pt x="5120" y="21600"/>
                  </a:cubicBezTo>
                  <a:cubicBezTo>
                    <a:pt x="4993" y="21581"/>
                    <a:pt x="4993" y="21581"/>
                    <a:pt x="4993" y="21581"/>
                  </a:cubicBezTo>
                  <a:cubicBezTo>
                    <a:pt x="5006" y="21497"/>
                    <a:pt x="5006" y="21497"/>
                    <a:pt x="5006" y="21497"/>
                  </a:cubicBezTo>
                  <a:lnTo>
                    <a:pt x="5133" y="21516"/>
                  </a:lnTo>
                  <a:close/>
                  <a:moveTo>
                    <a:pt x="4535" y="21325"/>
                  </a:moveTo>
                  <a:cubicBezTo>
                    <a:pt x="4552" y="21215"/>
                    <a:pt x="4552" y="21215"/>
                    <a:pt x="4552" y="21215"/>
                  </a:cubicBezTo>
                  <a:cubicBezTo>
                    <a:pt x="4398" y="21192"/>
                    <a:pt x="4398" y="21192"/>
                    <a:pt x="4398" y="21192"/>
                  </a:cubicBezTo>
                  <a:cubicBezTo>
                    <a:pt x="4382" y="21302"/>
                    <a:pt x="4382" y="21302"/>
                    <a:pt x="4382" y="21302"/>
                  </a:cubicBezTo>
                  <a:cubicBezTo>
                    <a:pt x="4529" y="21324"/>
                    <a:pt x="4529" y="21324"/>
                    <a:pt x="4529" y="21324"/>
                  </a:cubicBezTo>
                  <a:lnTo>
                    <a:pt x="4535" y="21325"/>
                  </a:lnTo>
                  <a:close/>
                  <a:moveTo>
                    <a:pt x="4397" y="21291"/>
                  </a:moveTo>
                  <a:cubicBezTo>
                    <a:pt x="4409" y="21207"/>
                    <a:pt x="4409" y="21207"/>
                    <a:pt x="4409" y="21207"/>
                  </a:cubicBezTo>
                  <a:cubicBezTo>
                    <a:pt x="4537" y="21226"/>
                    <a:pt x="4537" y="21226"/>
                    <a:pt x="4537" y="21226"/>
                  </a:cubicBezTo>
                  <a:cubicBezTo>
                    <a:pt x="4524" y="21310"/>
                    <a:pt x="4524" y="21310"/>
                    <a:pt x="4524" y="21310"/>
                  </a:cubicBezTo>
                  <a:lnTo>
                    <a:pt x="4397" y="21291"/>
                  </a:lnTo>
                  <a:close/>
                  <a:moveTo>
                    <a:pt x="4512" y="21529"/>
                  </a:moveTo>
                  <a:cubicBezTo>
                    <a:pt x="4528" y="21419"/>
                    <a:pt x="4528" y="21419"/>
                    <a:pt x="4528" y="21419"/>
                  </a:cubicBezTo>
                  <a:cubicBezTo>
                    <a:pt x="4375" y="21396"/>
                    <a:pt x="4375" y="21396"/>
                    <a:pt x="4375" y="21396"/>
                  </a:cubicBezTo>
                  <a:cubicBezTo>
                    <a:pt x="4358" y="21506"/>
                    <a:pt x="4358" y="21506"/>
                    <a:pt x="4358" y="21506"/>
                  </a:cubicBezTo>
                  <a:cubicBezTo>
                    <a:pt x="4505" y="21528"/>
                    <a:pt x="4505" y="21528"/>
                    <a:pt x="4505" y="21528"/>
                  </a:cubicBezTo>
                  <a:lnTo>
                    <a:pt x="4512" y="21529"/>
                  </a:lnTo>
                  <a:close/>
                  <a:moveTo>
                    <a:pt x="4373" y="21495"/>
                  </a:moveTo>
                  <a:cubicBezTo>
                    <a:pt x="4386" y="21411"/>
                    <a:pt x="4386" y="21411"/>
                    <a:pt x="4386" y="21411"/>
                  </a:cubicBezTo>
                  <a:cubicBezTo>
                    <a:pt x="4513" y="21430"/>
                    <a:pt x="4513" y="21430"/>
                    <a:pt x="4513" y="21430"/>
                  </a:cubicBezTo>
                  <a:cubicBezTo>
                    <a:pt x="4501" y="21514"/>
                    <a:pt x="4501" y="21514"/>
                    <a:pt x="4501" y="21514"/>
                  </a:cubicBezTo>
                  <a:lnTo>
                    <a:pt x="4373" y="21495"/>
                  </a:lnTo>
                  <a:close/>
                  <a:moveTo>
                    <a:pt x="3360" y="21514"/>
                  </a:moveTo>
                  <a:cubicBezTo>
                    <a:pt x="3511" y="21517"/>
                    <a:pt x="3511" y="21517"/>
                    <a:pt x="3511" y="21517"/>
                  </a:cubicBezTo>
                  <a:cubicBezTo>
                    <a:pt x="3513" y="21411"/>
                    <a:pt x="3513" y="21411"/>
                    <a:pt x="3513" y="21411"/>
                  </a:cubicBezTo>
                  <a:cubicBezTo>
                    <a:pt x="3369" y="21409"/>
                    <a:pt x="3369" y="21409"/>
                    <a:pt x="3369" y="21409"/>
                  </a:cubicBezTo>
                  <a:cubicBezTo>
                    <a:pt x="3362" y="21408"/>
                    <a:pt x="3362" y="21408"/>
                    <a:pt x="3362" y="21408"/>
                  </a:cubicBezTo>
                  <a:lnTo>
                    <a:pt x="3360" y="21514"/>
                  </a:lnTo>
                  <a:close/>
                  <a:moveTo>
                    <a:pt x="3375" y="21421"/>
                  </a:moveTo>
                  <a:cubicBezTo>
                    <a:pt x="3501" y="21424"/>
                    <a:pt x="3501" y="21424"/>
                    <a:pt x="3501" y="21424"/>
                  </a:cubicBezTo>
                  <a:cubicBezTo>
                    <a:pt x="3499" y="21504"/>
                    <a:pt x="3499" y="21504"/>
                    <a:pt x="3499" y="21504"/>
                  </a:cubicBezTo>
                  <a:cubicBezTo>
                    <a:pt x="3373" y="21502"/>
                    <a:pt x="3373" y="21502"/>
                    <a:pt x="3373" y="21502"/>
                  </a:cubicBezTo>
                  <a:lnTo>
                    <a:pt x="3375" y="21421"/>
                  </a:lnTo>
                  <a:close/>
                  <a:moveTo>
                    <a:pt x="3309" y="21246"/>
                  </a:moveTo>
                  <a:cubicBezTo>
                    <a:pt x="3307" y="21351"/>
                    <a:pt x="3307" y="21351"/>
                    <a:pt x="3307" y="21351"/>
                  </a:cubicBezTo>
                  <a:cubicBezTo>
                    <a:pt x="3458" y="21354"/>
                    <a:pt x="3458" y="21354"/>
                    <a:pt x="3458" y="21354"/>
                  </a:cubicBezTo>
                  <a:cubicBezTo>
                    <a:pt x="3461" y="21249"/>
                    <a:pt x="3461" y="21249"/>
                    <a:pt x="3461" y="21249"/>
                  </a:cubicBezTo>
                  <a:cubicBezTo>
                    <a:pt x="3316" y="21246"/>
                    <a:pt x="3316" y="21246"/>
                    <a:pt x="3316" y="21246"/>
                  </a:cubicBezTo>
                  <a:lnTo>
                    <a:pt x="3309" y="21246"/>
                  </a:lnTo>
                  <a:close/>
                  <a:moveTo>
                    <a:pt x="3322" y="21258"/>
                  </a:moveTo>
                  <a:cubicBezTo>
                    <a:pt x="3448" y="21261"/>
                    <a:pt x="3448" y="21261"/>
                    <a:pt x="3448" y="21261"/>
                  </a:cubicBezTo>
                  <a:cubicBezTo>
                    <a:pt x="3446" y="21341"/>
                    <a:pt x="3446" y="21341"/>
                    <a:pt x="3446" y="21341"/>
                  </a:cubicBezTo>
                  <a:cubicBezTo>
                    <a:pt x="3320" y="21339"/>
                    <a:pt x="3320" y="21339"/>
                    <a:pt x="3320" y="21339"/>
                  </a:cubicBezTo>
                  <a:lnTo>
                    <a:pt x="3322" y="21258"/>
                  </a:lnTo>
                  <a:close/>
                  <a:moveTo>
                    <a:pt x="3285" y="21094"/>
                  </a:moveTo>
                  <a:cubicBezTo>
                    <a:pt x="3282" y="21200"/>
                    <a:pt x="3282" y="21200"/>
                    <a:pt x="3282" y="21200"/>
                  </a:cubicBezTo>
                  <a:cubicBezTo>
                    <a:pt x="3434" y="21203"/>
                    <a:pt x="3434" y="21203"/>
                    <a:pt x="3434" y="21203"/>
                  </a:cubicBezTo>
                  <a:cubicBezTo>
                    <a:pt x="3436" y="21097"/>
                    <a:pt x="3436" y="21097"/>
                    <a:pt x="3436" y="21097"/>
                  </a:cubicBezTo>
                  <a:cubicBezTo>
                    <a:pt x="3291" y="21094"/>
                    <a:pt x="3291" y="21094"/>
                    <a:pt x="3291" y="21094"/>
                  </a:cubicBezTo>
                  <a:lnTo>
                    <a:pt x="3285" y="21094"/>
                  </a:lnTo>
                  <a:close/>
                  <a:moveTo>
                    <a:pt x="3297" y="21107"/>
                  </a:moveTo>
                  <a:cubicBezTo>
                    <a:pt x="3423" y="21110"/>
                    <a:pt x="3423" y="21110"/>
                    <a:pt x="3423" y="21110"/>
                  </a:cubicBezTo>
                  <a:cubicBezTo>
                    <a:pt x="3421" y="21190"/>
                    <a:pt x="3421" y="21190"/>
                    <a:pt x="3421" y="21190"/>
                  </a:cubicBezTo>
                  <a:cubicBezTo>
                    <a:pt x="3295" y="21187"/>
                    <a:pt x="3295" y="21187"/>
                    <a:pt x="3295" y="21187"/>
                  </a:cubicBezTo>
                  <a:lnTo>
                    <a:pt x="3297" y="21107"/>
                  </a:lnTo>
                  <a:close/>
                  <a:moveTo>
                    <a:pt x="3900" y="20899"/>
                  </a:moveTo>
                  <a:cubicBezTo>
                    <a:pt x="3756" y="20896"/>
                    <a:pt x="3756" y="20896"/>
                    <a:pt x="3756" y="20896"/>
                  </a:cubicBezTo>
                  <a:cubicBezTo>
                    <a:pt x="3749" y="20896"/>
                    <a:pt x="3749" y="20896"/>
                    <a:pt x="3749" y="20896"/>
                  </a:cubicBezTo>
                  <a:cubicBezTo>
                    <a:pt x="3747" y="21001"/>
                    <a:pt x="3747" y="21001"/>
                    <a:pt x="3747" y="21001"/>
                  </a:cubicBezTo>
                  <a:cubicBezTo>
                    <a:pt x="3898" y="21004"/>
                    <a:pt x="3898" y="21004"/>
                    <a:pt x="3898" y="21004"/>
                  </a:cubicBezTo>
                  <a:lnTo>
                    <a:pt x="3900" y="20899"/>
                  </a:lnTo>
                  <a:close/>
                  <a:moveTo>
                    <a:pt x="3886" y="20992"/>
                  </a:moveTo>
                  <a:cubicBezTo>
                    <a:pt x="3760" y="20989"/>
                    <a:pt x="3760" y="20989"/>
                    <a:pt x="3760" y="20989"/>
                  </a:cubicBezTo>
                  <a:cubicBezTo>
                    <a:pt x="3762" y="20909"/>
                    <a:pt x="3762" y="20909"/>
                    <a:pt x="3762" y="20909"/>
                  </a:cubicBezTo>
                  <a:cubicBezTo>
                    <a:pt x="3888" y="20911"/>
                    <a:pt x="3888" y="20911"/>
                    <a:pt x="3888" y="20911"/>
                  </a:cubicBezTo>
                  <a:lnTo>
                    <a:pt x="3886" y="20992"/>
                  </a:lnTo>
                  <a:close/>
                  <a:moveTo>
                    <a:pt x="4042" y="20926"/>
                  </a:moveTo>
                  <a:cubicBezTo>
                    <a:pt x="4040" y="21032"/>
                    <a:pt x="4040" y="21032"/>
                    <a:pt x="4040" y="21032"/>
                  </a:cubicBezTo>
                  <a:cubicBezTo>
                    <a:pt x="4191" y="21035"/>
                    <a:pt x="4191" y="21035"/>
                    <a:pt x="4191" y="21035"/>
                  </a:cubicBezTo>
                  <a:cubicBezTo>
                    <a:pt x="4193" y="20929"/>
                    <a:pt x="4193" y="20929"/>
                    <a:pt x="4193" y="20929"/>
                  </a:cubicBezTo>
                  <a:cubicBezTo>
                    <a:pt x="4048" y="20926"/>
                    <a:pt x="4048" y="20926"/>
                    <a:pt x="4048" y="20926"/>
                  </a:cubicBezTo>
                  <a:lnTo>
                    <a:pt x="4042" y="20926"/>
                  </a:lnTo>
                  <a:close/>
                  <a:moveTo>
                    <a:pt x="4054" y="20939"/>
                  </a:moveTo>
                  <a:cubicBezTo>
                    <a:pt x="4180" y="20942"/>
                    <a:pt x="4180" y="20942"/>
                    <a:pt x="4180" y="20942"/>
                  </a:cubicBezTo>
                  <a:cubicBezTo>
                    <a:pt x="4178" y="21022"/>
                    <a:pt x="4178" y="21022"/>
                    <a:pt x="4178" y="21022"/>
                  </a:cubicBezTo>
                  <a:cubicBezTo>
                    <a:pt x="4052" y="21019"/>
                    <a:pt x="4052" y="21019"/>
                    <a:pt x="4052" y="21019"/>
                  </a:cubicBezTo>
                  <a:lnTo>
                    <a:pt x="4054" y="20939"/>
                  </a:lnTo>
                  <a:close/>
                  <a:moveTo>
                    <a:pt x="5372" y="20474"/>
                  </a:moveTo>
                  <a:cubicBezTo>
                    <a:pt x="5371" y="20481"/>
                    <a:pt x="5371" y="20481"/>
                    <a:pt x="5371" y="20481"/>
                  </a:cubicBezTo>
                  <a:cubicBezTo>
                    <a:pt x="5567" y="20513"/>
                    <a:pt x="5567" y="20513"/>
                    <a:pt x="5567" y="20513"/>
                  </a:cubicBezTo>
                  <a:cubicBezTo>
                    <a:pt x="5583" y="20417"/>
                    <a:pt x="5583" y="20417"/>
                    <a:pt x="5583" y="20417"/>
                  </a:cubicBezTo>
                  <a:cubicBezTo>
                    <a:pt x="5387" y="20385"/>
                    <a:pt x="5387" y="20385"/>
                    <a:pt x="5387" y="20385"/>
                  </a:cubicBezTo>
                  <a:lnTo>
                    <a:pt x="5372" y="20474"/>
                  </a:lnTo>
                  <a:close/>
                  <a:moveTo>
                    <a:pt x="5568" y="20428"/>
                  </a:moveTo>
                  <a:cubicBezTo>
                    <a:pt x="5557" y="20498"/>
                    <a:pt x="5557" y="20498"/>
                    <a:pt x="5557" y="20498"/>
                  </a:cubicBezTo>
                  <a:cubicBezTo>
                    <a:pt x="5386" y="20470"/>
                    <a:pt x="5386" y="20470"/>
                    <a:pt x="5386" y="20470"/>
                  </a:cubicBezTo>
                  <a:cubicBezTo>
                    <a:pt x="5398" y="20400"/>
                    <a:pt x="5398" y="20400"/>
                    <a:pt x="5398" y="20400"/>
                  </a:cubicBezTo>
                  <a:lnTo>
                    <a:pt x="5568" y="20428"/>
                  </a:lnTo>
                  <a:close/>
                  <a:moveTo>
                    <a:pt x="5464" y="20333"/>
                  </a:moveTo>
                  <a:cubicBezTo>
                    <a:pt x="5491" y="20144"/>
                    <a:pt x="5491" y="20144"/>
                    <a:pt x="5491" y="20144"/>
                  </a:cubicBezTo>
                  <a:cubicBezTo>
                    <a:pt x="5492" y="20137"/>
                    <a:pt x="5492" y="20137"/>
                    <a:pt x="5492" y="20137"/>
                  </a:cubicBezTo>
                  <a:cubicBezTo>
                    <a:pt x="5170" y="20091"/>
                    <a:pt x="5170" y="20091"/>
                    <a:pt x="5170" y="20091"/>
                  </a:cubicBezTo>
                  <a:cubicBezTo>
                    <a:pt x="5162" y="20153"/>
                    <a:pt x="5162" y="20153"/>
                    <a:pt x="5162" y="20153"/>
                  </a:cubicBezTo>
                  <a:cubicBezTo>
                    <a:pt x="5127" y="20150"/>
                    <a:pt x="5127" y="20150"/>
                    <a:pt x="5127" y="20150"/>
                  </a:cubicBezTo>
                  <a:cubicBezTo>
                    <a:pt x="5114" y="20235"/>
                    <a:pt x="5114" y="20235"/>
                    <a:pt x="5114" y="20235"/>
                  </a:cubicBezTo>
                  <a:cubicBezTo>
                    <a:pt x="5147" y="20241"/>
                    <a:pt x="5147" y="20241"/>
                    <a:pt x="5147" y="20241"/>
                  </a:cubicBezTo>
                  <a:cubicBezTo>
                    <a:pt x="5142" y="20288"/>
                    <a:pt x="5142" y="20288"/>
                    <a:pt x="5142" y="20288"/>
                  </a:cubicBezTo>
                  <a:lnTo>
                    <a:pt x="5464" y="20333"/>
                  </a:lnTo>
                  <a:close/>
                  <a:moveTo>
                    <a:pt x="5129" y="20224"/>
                  </a:moveTo>
                  <a:cubicBezTo>
                    <a:pt x="5138" y="20164"/>
                    <a:pt x="5138" y="20164"/>
                    <a:pt x="5138" y="20164"/>
                  </a:cubicBezTo>
                  <a:cubicBezTo>
                    <a:pt x="5173" y="20167"/>
                    <a:pt x="5173" y="20167"/>
                    <a:pt x="5173" y="20167"/>
                  </a:cubicBezTo>
                  <a:cubicBezTo>
                    <a:pt x="5182" y="20105"/>
                    <a:pt x="5182" y="20105"/>
                    <a:pt x="5182" y="20105"/>
                  </a:cubicBezTo>
                  <a:cubicBezTo>
                    <a:pt x="5477" y="20148"/>
                    <a:pt x="5477" y="20148"/>
                    <a:pt x="5477" y="20148"/>
                  </a:cubicBezTo>
                  <a:cubicBezTo>
                    <a:pt x="5453" y="20318"/>
                    <a:pt x="5453" y="20318"/>
                    <a:pt x="5453" y="20318"/>
                  </a:cubicBezTo>
                  <a:cubicBezTo>
                    <a:pt x="5156" y="20277"/>
                    <a:pt x="5156" y="20277"/>
                    <a:pt x="5156" y="20277"/>
                  </a:cubicBezTo>
                  <a:cubicBezTo>
                    <a:pt x="5161" y="20230"/>
                    <a:pt x="5161" y="20230"/>
                    <a:pt x="5161" y="20230"/>
                  </a:cubicBezTo>
                  <a:lnTo>
                    <a:pt x="5129" y="20224"/>
                  </a:lnTo>
                  <a:close/>
                  <a:moveTo>
                    <a:pt x="219" y="19986"/>
                  </a:moveTo>
                  <a:cubicBezTo>
                    <a:pt x="200" y="19955"/>
                    <a:pt x="200" y="19955"/>
                    <a:pt x="200" y="19955"/>
                  </a:cubicBezTo>
                  <a:cubicBezTo>
                    <a:pt x="125" y="19990"/>
                    <a:pt x="125" y="19990"/>
                    <a:pt x="125" y="19990"/>
                  </a:cubicBezTo>
                  <a:cubicBezTo>
                    <a:pt x="142" y="20026"/>
                    <a:pt x="142" y="20026"/>
                    <a:pt x="142" y="20026"/>
                  </a:cubicBezTo>
                  <a:cubicBezTo>
                    <a:pt x="88" y="20049"/>
                    <a:pt x="88" y="20049"/>
                    <a:pt x="88" y="20049"/>
                  </a:cubicBezTo>
                  <a:cubicBezTo>
                    <a:pt x="109" y="20093"/>
                    <a:pt x="109" y="20093"/>
                    <a:pt x="109" y="20093"/>
                  </a:cubicBezTo>
                  <a:cubicBezTo>
                    <a:pt x="92" y="20099"/>
                    <a:pt x="92" y="20099"/>
                    <a:pt x="92" y="20099"/>
                  </a:cubicBezTo>
                  <a:cubicBezTo>
                    <a:pt x="135" y="20201"/>
                    <a:pt x="135" y="20201"/>
                    <a:pt x="135" y="20201"/>
                  </a:cubicBezTo>
                  <a:cubicBezTo>
                    <a:pt x="162" y="20191"/>
                    <a:pt x="162" y="20191"/>
                    <a:pt x="162" y="20191"/>
                  </a:cubicBezTo>
                  <a:cubicBezTo>
                    <a:pt x="240" y="20366"/>
                    <a:pt x="240" y="20366"/>
                    <a:pt x="240" y="20366"/>
                  </a:cubicBezTo>
                  <a:cubicBezTo>
                    <a:pt x="408" y="20288"/>
                    <a:pt x="408" y="20288"/>
                    <a:pt x="408" y="20288"/>
                  </a:cubicBezTo>
                  <a:cubicBezTo>
                    <a:pt x="414" y="20286"/>
                    <a:pt x="414" y="20286"/>
                    <a:pt x="414" y="20286"/>
                  </a:cubicBezTo>
                  <a:cubicBezTo>
                    <a:pt x="271" y="19964"/>
                    <a:pt x="271" y="19964"/>
                    <a:pt x="271" y="19964"/>
                  </a:cubicBezTo>
                  <a:lnTo>
                    <a:pt x="219" y="19986"/>
                  </a:lnTo>
                  <a:close/>
                  <a:moveTo>
                    <a:pt x="247" y="20348"/>
                  </a:moveTo>
                  <a:cubicBezTo>
                    <a:pt x="169" y="20174"/>
                    <a:pt x="169" y="20174"/>
                    <a:pt x="169" y="20174"/>
                  </a:cubicBezTo>
                  <a:cubicBezTo>
                    <a:pt x="142" y="20184"/>
                    <a:pt x="142" y="20184"/>
                    <a:pt x="142" y="20184"/>
                  </a:cubicBezTo>
                  <a:cubicBezTo>
                    <a:pt x="109" y="20107"/>
                    <a:pt x="109" y="20107"/>
                    <a:pt x="109" y="20107"/>
                  </a:cubicBezTo>
                  <a:cubicBezTo>
                    <a:pt x="126" y="20100"/>
                    <a:pt x="126" y="20100"/>
                    <a:pt x="126" y="20100"/>
                  </a:cubicBezTo>
                  <a:cubicBezTo>
                    <a:pt x="106" y="20056"/>
                    <a:pt x="106" y="20056"/>
                    <a:pt x="106" y="20056"/>
                  </a:cubicBezTo>
                  <a:cubicBezTo>
                    <a:pt x="159" y="20033"/>
                    <a:pt x="159" y="20033"/>
                    <a:pt x="159" y="20033"/>
                  </a:cubicBezTo>
                  <a:cubicBezTo>
                    <a:pt x="143" y="19996"/>
                    <a:pt x="143" y="19996"/>
                    <a:pt x="143" y="19996"/>
                  </a:cubicBezTo>
                  <a:cubicBezTo>
                    <a:pt x="195" y="19972"/>
                    <a:pt x="195" y="19972"/>
                    <a:pt x="195" y="19972"/>
                  </a:cubicBezTo>
                  <a:cubicBezTo>
                    <a:pt x="213" y="20002"/>
                    <a:pt x="213" y="20002"/>
                    <a:pt x="213" y="20002"/>
                  </a:cubicBezTo>
                  <a:cubicBezTo>
                    <a:pt x="264" y="19981"/>
                    <a:pt x="264" y="19981"/>
                    <a:pt x="264" y="19981"/>
                  </a:cubicBezTo>
                  <a:cubicBezTo>
                    <a:pt x="397" y="20279"/>
                    <a:pt x="397" y="20279"/>
                    <a:pt x="397" y="20279"/>
                  </a:cubicBezTo>
                  <a:lnTo>
                    <a:pt x="247" y="20348"/>
                  </a:lnTo>
                  <a:close/>
                  <a:moveTo>
                    <a:pt x="5041" y="20921"/>
                  </a:moveTo>
                  <a:cubicBezTo>
                    <a:pt x="5081" y="20925"/>
                    <a:pt x="5081" y="20925"/>
                    <a:pt x="5081" y="20925"/>
                  </a:cubicBezTo>
                  <a:cubicBezTo>
                    <a:pt x="5072" y="20982"/>
                    <a:pt x="5072" y="20982"/>
                    <a:pt x="5072" y="20982"/>
                  </a:cubicBezTo>
                  <a:cubicBezTo>
                    <a:pt x="5115" y="20986"/>
                    <a:pt x="5115" y="20986"/>
                    <a:pt x="5115" y="20986"/>
                  </a:cubicBezTo>
                  <a:cubicBezTo>
                    <a:pt x="5113" y="21006"/>
                    <a:pt x="5113" y="21006"/>
                    <a:pt x="5113" y="21006"/>
                  </a:cubicBezTo>
                  <a:cubicBezTo>
                    <a:pt x="5219" y="21020"/>
                    <a:pt x="5219" y="21020"/>
                    <a:pt x="5219" y="21020"/>
                  </a:cubicBezTo>
                  <a:cubicBezTo>
                    <a:pt x="5220" y="21015"/>
                    <a:pt x="5220" y="21015"/>
                    <a:pt x="5220" y="21015"/>
                  </a:cubicBezTo>
                  <a:cubicBezTo>
                    <a:pt x="5224" y="21002"/>
                    <a:pt x="5224" y="21002"/>
                    <a:pt x="5224" y="21002"/>
                  </a:cubicBezTo>
                  <a:cubicBezTo>
                    <a:pt x="5419" y="21027"/>
                    <a:pt x="5419" y="21027"/>
                    <a:pt x="5419" y="21027"/>
                  </a:cubicBezTo>
                  <a:cubicBezTo>
                    <a:pt x="5448" y="20834"/>
                    <a:pt x="5448" y="20834"/>
                    <a:pt x="5448" y="20834"/>
                  </a:cubicBezTo>
                  <a:cubicBezTo>
                    <a:pt x="5449" y="20827"/>
                    <a:pt x="5449" y="20827"/>
                    <a:pt x="5449" y="20827"/>
                  </a:cubicBezTo>
                  <a:cubicBezTo>
                    <a:pt x="5095" y="20782"/>
                    <a:pt x="5095" y="20782"/>
                    <a:pt x="5095" y="20782"/>
                  </a:cubicBezTo>
                  <a:cubicBezTo>
                    <a:pt x="5086" y="20837"/>
                    <a:pt x="5086" y="20837"/>
                    <a:pt x="5086" y="20837"/>
                  </a:cubicBezTo>
                  <a:cubicBezTo>
                    <a:pt x="5053" y="20833"/>
                    <a:pt x="5053" y="20833"/>
                    <a:pt x="5053" y="20833"/>
                  </a:cubicBezTo>
                  <a:lnTo>
                    <a:pt x="5041" y="20921"/>
                  </a:lnTo>
                  <a:close/>
                  <a:moveTo>
                    <a:pt x="5064" y="20848"/>
                  </a:moveTo>
                  <a:cubicBezTo>
                    <a:pt x="5097" y="20851"/>
                    <a:pt x="5097" y="20851"/>
                    <a:pt x="5097" y="20851"/>
                  </a:cubicBezTo>
                  <a:cubicBezTo>
                    <a:pt x="5106" y="20796"/>
                    <a:pt x="5106" y="20796"/>
                    <a:pt x="5106" y="20796"/>
                  </a:cubicBezTo>
                  <a:cubicBezTo>
                    <a:pt x="5434" y="20838"/>
                    <a:pt x="5434" y="20838"/>
                    <a:pt x="5434" y="20838"/>
                  </a:cubicBezTo>
                  <a:cubicBezTo>
                    <a:pt x="5408" y="21013"/>
                    <a:pt x="5408" y="21013"/>
                    <a:pt x="5408" y="21013"/>
                  </a:cubicBezTo>
                  <a:cubicBezTo>
                    <a:pt x="5215" y="20988"/>
                    <a:pt x="5215" y="20988"/>
                    <a:pt x="5215" y="20988"/>
                  </a:cubicBezTo>
                  <a:cubicBezTo>
                    <a:pt x="5213" y="20993"/>
                    <a:pt x="5213" y="20993"/>
                    <a:pt x="5213" y="20993"/>
                  </a:cubicBezTo>
                  <a:cubicBezTo>
                    <a:pt x="5209" y="21006"/>
                    <a:pt x="5209" y="21006"/>
                    <a:pt x="5209" y="21006"/>
                  </a:cubicBezTo>
                  <a:cubicBezTo>
                    <a:pt x="5127" y="20995"/>
                    <a:pt x="5127" y="20995"/>
                    <a:pt x="5127" y="20995"/>
                  </a:cubicBezTo>
                  <a:cubicBezTo>
                    <a:pt x="5130" y="20974"/>
                    <a:pt x="5130" y="20974"/>
                    <a:pt x="5130" y="20974"/>
                  </a:cubicBezTo>
                  <a:cubicBezTo>
                    <a:pt x="5087" y="20970"/>
                    <a:pt x="5087" y="20970"/>
                    <a:pt x="5087" y="20970"/>
                  </a:cubicBezTo>
                  <a:cubicBezTo>
                    <a:pt x="5096" y="20913"/>
                    <a:pt x="5096" y="20913"/>
                    <a:pt x="5096" y="20913"/>
                  </a:cubicBezTo>
                  <a:cubicBezTo>
                    <a:pt x="5056" y="20909"/>
                    <a:pt x="5056" y="20909"/>
                    <a:pt x="5056" y="20909"/>
                  </a:cubicBezTo>
                  <a:lnTo>
                    <a:pt x="5064" y="20848"/>
                  </a:lnTo>
                  <a:close/>
                  <a:moveTo>
                    <a:pt x="4499" y="18020"/>
                  </a:moveTo>
                  <a:cubicBezTo>
                    <a:pt x="4351" y="18009"/>
                    <a:pt x="4351" y="18009"/>
                    <a:pt x="4351" y="18009"/>
                  </a:cubicBezTo>
                  <a:cubicBezTo>
                    <a:pt x="4352" y="18002"/>
                    <a:pt x="4352" y="18002"/>
                    <a:pt x="4352" y="18002"/>
                  </a:cubicBezTo>
                  <a:cubicBezTo>
                    <a:pt x="4352" y="18000"/>
                    <a:pt x="4352" y="18000"/>
                    <a:pt x="4352" y="18000"/>
                  </a:cubicBezTo>
                  <a:cubicBezTo>
                    <a:pt x="4409" y="18000"/>
                    <a:pt x="4409" y="18000"/>
                    <a:pt x="4409" y="18000"/>
                  </a:cubicBezTo>
                  <a:cubicBezTo>
                    <a:pt x="4487" y="18006"/>
                    <a:pt x="4487" y="18006"/>
                    <a:pt x="4487" y="18006"/>
                  </a:cubicBezTo>
                  <a:cubicBezTo>
                    <a:pt x="4487" y="18000"/>
                    <a:pt x="4487" y="18000"/>
                    <a:pt x="4487" y="18000"/>
                  </a:cubicBezTo>
                  <a:cubicBezTo>
                    <a:pt x="4500" y="18000"/>
                    <a:pt x="4500" y="18000"/>
                    <a:pt x="4500" y="18000"/>
                  </a:cubicBezTo>
                  <a:lnTo>
                    <a:pt x="4499" y="18020"/>
                  </a:lnTo>
                  <a:close/>
                  <a:moveTo>
                    <a:pt x="489" y="18380"/>
                  </a:moveTo>
                  <a:cubicBezTo>
                    <a:pt x="388" y="18676"/>
                    <a:pt x="388" y="18676"/>
                    <a:pt x="388" y="18676"/>
                  </a:cubicBezTo>
                  <a:cubicBezTo>
                    <a:pt x="1264" y="18967"/>
                    <a:pt x="1264" y="18967"/>
                    <a:pt x="1264" y="18967"/>
                  </a:cubicBezTo>
                  <a:cubicBezTo>
                    <a:pt x="1346" y="18718"/>
                    <a:pt x="1346" y="18718"/>
                    <a:pt x="1346" y="18718"/>
                  </a:cubicBezTo>
                  <a:cubicBezTo>
                    <a:pt x="1562" y="18787"/>
                    <a:pt x="1562" y="18787"/>
                    <a:pt x="1562" y="18787"/>
                  </a:cubicBezTo>
                  <a:cubicBezTo>
                    <a:pt x="1598" y="18678"/>
                    <a:pt x="1598" y="18678"/>
                    <a:pt x="1598" y="18678"/>
                  </a:cubicBezTo>
                  <a:cubicBezTo>
                    <a:pt x="1778" y="18739"/>
                    <a:pt x="1778" y="18739"/>
                    <a:pt x="1778" y="18739"/>
                  </a:cubicBezTo>
                  <a:cubicBezTo>
                    <a:pt x="1870" y="18453"/>
                    <a:pt x="1870" y="18453"/>
                    <a:pt x="1870" y="18453"/>
                  </a:cubicBezTo>
                  <a:cubicBezTo>
                    <a:pt x="1872" y="18446"/>
                    <a:pt x="1872" y="18446"/>
                    <a:pt x="1872" y="18446"/>
                  </a:cubicBezTo>
                  <a:cubicBezTo>
                    <a:pt x="1000" y="18154"/>
                    <a:pt x="1000" y="18154"/>
                    <a:pt x="1000" y="18154"/>
                  </a:cubicBezTo>
                  <a:cubicBezTo>
                    <a:pt x="907" y="18449"/>
                    <a:pt x="907" y="18449"/>
                    <a:pt x="907" y="18449"/>
                  </a:cubicBezTo>
                  <a:cubicBezTo>
                    <a:pt x="1133" y="18525"/>
                    <a:pt x="1133" y="18525"/>
                    <a:pt x="1133" y="18525"/>
                  </a:cubicBezTo>
                  <a:cubicBezTo>
                    <a:pt x="1110" y="18589"/>
                    <a:pt x="1110" y="18589"/>
                    <a:pt x="1110" y="18589"/>
                  </a:cubicBezTo>
                  <a:lnTo>
                    <a:pt x="489" y="18380"/>
                  </a:lnTo>
                  <a:close/>
                  <a:moveTo>
                    <a:pt x="1152" y="18516"/>
                  </a:moveTo>
                  <a:cubicBezTo>
                    <a:pt x="926" y="18440"/>
                    <a:pt x="926" y="18440"/>
                    <a:pt x="926" y="18440"/>
                  </a:cubicBezTo>
                  <a:cubicBezTo>
                    <a:pt x="1009" y="18173"/>
                    <a:pt x="1009" y="18173"/>
                    <a:pt x="1009" y="18173"/>
                  </a:cubicBezTo>
                  <a:cubicBezTo>
                    <a:pt x="1854" y="18455"/>
                    <a:pt x="1854" y="18455"/>
                    <a:pt x="1854" y="18455"/>
                  </a:cubicBezTo>
                  <a:cubicBezTo>
                    <a:pt x="1768" y="18720"/>
                    <a:pt x="1768" y="18720"/>
                    <a:pt x="1768" y="18720"/>
                  </a:cubicBezTo>
                  <a:cubicBezTo>
                    <a:pt x="1589" y="18660"/>
                    <a:pt x="1589" y="18660"/>
                    <a:pt x="1589" y="18660"/>
                  </a:cubicBezTo>
                  <a:cubicBezTo>
                    <a:pt x="1553" y="18769"/>
                    <a:pt x="1553" y="18769"/>
                    <a:pt x="1553" y="18769"/>
                  </a:cubicBezTo>
                  <a:cubicBezTo>
                    <a:pt x="1336" y="18699"/>
                    <a:pt x="1336" y="18699"/>
                    <a:pt x="1336" y="18699"/>
                  </a:cubicBezTo>
                  <a:cubicBezTo>
                    <a:pt x="1255" y="18948"/>
                    <a:pt x="1255" y="18948"/>
                    <a:pt x="1255" y="18948"/>
                  </a:cubicBezTo>
                  <a:cubicBezTo>
                    <a:pt x="407" y="18667"/>
                    <a:pt x="407" y="18667"/>
                    <a:pt x="407" y="18667"/>
                  </a:cubicBezTo>
                  <a:cubicBezTo>
                    <a:pt x="499" y="18399"/>
                    <a:pt x="499" y="18399"/>
                    <a:pt x="499" y="18399"/>
                  </a:cubicBezTo>
                  <a:cubicBezTo>
                    <a:pt x="1119" y="18608"/>
                    <a:pt x="1119" y="18608"/>
                    <a:pt x="1119" y="18608"/>
                  </a:cubicBezTo>
                  <a:lnTo>
                    <a:pt x="1152" y="18516"/>
                  </a:lnTo>
                  <a:close/>
                  <a:moveTo>
                    <a:pt x="3008" y="18922"/>
                  </a:moveTo>
                  <a:cubicBezTo>
                    <a:pt x="3146" y="18921"/>
                    <a:pt x="3146" y="18921"/>
                    <a:pt x="3146" y="18921"/>
                  </a:cubicBezTo>
                  <a:cubicBezTo>
                    <a:pt x="3146" y="18827"/>
                    <a:pt x="3146" y="18827"/>
                    <a:pt x="3146" y="18827"/>
                  </a:cubicBezTo>
                  <a:cubicBezTo>
                    <a:pt x="3146" y="18819"/>
                    <a:pt x="3146" y="18819"/>
                    <a:pt x="3146" y="18819"/>
                  </a:cubicBezTo>
                  <a:cubicBezTo>
                    <a:pt x="2993" y="18817"/>
                    <a:pt x="2993" y="18817"/>
                    <a:pt x="2993" y="18817"/>
                  </a:cubicBezTo>
                  <a:cubicBezTo>
                    <a:pt x="2993" y="18761"/>
                    <a:pt x="2993" y="18761"/>
                    <a:pt x="2993" y="18761"/>
                  </a:cubicBezTo>
                  <a:cubicBezTo>
                    <a:pt x="2845" y="18763"/>
                    <a:pt x="2845" y="18763"/>
                    <a:pt x="2845" y="18763"/>
                  </a:cubicBezTo>
                  <a:cubicBezTo>
                    <a:pt x="2844" y="18770"/>
                    <a:pt x="2844" y="18770"/>
                    <a:pt x="2844" y="18770"/>
                  </a:cubicBezTo>
                  <a:cubicBezTo>
                    <a:pt x="2843" y="18784"/>
                    <a:pt x="2843" y="18784"/>
                    <a:pt x="2843" y="18784"/>
                  </a:cubicBezTo>
                  <a:cubicBezTo>
                    <a:pt x="2491" y="18784"/>
                    <a:pt x="2491" y="18784"/>
                    <a:pt x="2491" y="18784"/>
                  </a:cubicBezTo>
                  <a:cubicBezTo>
                    <a:pt x="2490" y="19056"/>
                    <a:pt x="2490" y="19056"/>
                    <a:pt x="2490" y="19056"/>
                  </a:cubicBezTo>
                  <a:cubicBezTo>
                    <a:pt x="3003" y="18975"/>
                    <a:pt x="3003" y="18975"/>
                    <a:pt x="3003" y="18975"/>
                  </a:cubicBezTo>
                  <a:lnTo>
                    <a:pt x="3008" y="18922"/>
                  </a:lnTo>
                  <a:close/>
                  <a:moveTo>
                    <a:pt x="2990" y="18962"/>
                  </a:moveTo>
                  <a:cubicBezTo>
                    <a:pt x="2505" y="19038"/>
                    <a:pt x="2505" y="19038"/>
                    <a:pt x="2505" y="19038"/>
                  </a:cubicBezTo>
                  <a:cubicBezTo>
                    <a:pt x="2506" y="18798"/>
                    <a:pt x="2506" y="18798"/>
                    <a:pt x="2506" y="18798"/>
                  </a:cubicBezTo>
                  <a:cubicBezTo>
                    <a:pt x="2857" y="18799"/>
                    <a:pt x="2857" y="18799"/>
                    <a:pt x="2857" y="18799"/>
                  </a:cubicBezTo>
                  <a:cubicBezTo>
                    <a:pt x="2857" y="18792"/>
                    <a:pt x="2857" y="18792"/>
                    <a:pt x="2857" y="18792"/>
                  </a:cubicBezTo>
                  <a:cubicBezTo>
                    <a:pt x="2858" y="18778"/>
                    <a:pt x="2858" y="18778"/>
                    <a:pt x="2858" y="18778"/>
                  </a:cubicBezTo>
                  <a:cubicBezTo>
                    <a:pt x="2978" y="18776"/>
                    <a:pt x="2978" y="18776"/>
                    <a:pt x="2978" y="18776"/>
                  </a:cubicBezTo>
                  <a:cubicBezTo>
                    <a:pt x="2978" y="18832"/>
                    <a:pt x="2978" y="18832"/>
                    <a:pt x="2978" y="18832"/>
                  </a:cubicBezTo>
                  <a:cubicBezTo>
                    <a:pt x="3131" y="18834"/>
                    <a:pt x="3131" y="18834"/>
                    <a:pt x="3131" y="18834"/>
                  </a:cubicBezTo>
                  <a:cubicBezTo>
                    <a:pt x="3132" y="18906"/>
                    <a:pt x="3132" y="18906"/>
                    <a:pt x="3132" y="18906"/>
                  </a:cubicBezTo>
                  <a:cubicBezTo>
                    <a:pt x="2995" y="18908"/>
                    <a:pt x="2995" y="18908"/>
                    <a:pt x="2995" y="18908"/>
                  </a:cubicBezTo>
                  <a:lnTo>
                    <a:pt x="2990" y="18962"/>
                  </a:lnTo>
                  <a:close/>
                  <a:moveTo>
                    <a:pt x="18008" y="19864"/>
                  </a:moveTo>
                  <a:cubicBezTo>
                    <a:pt x="17948" y="19913"/>
                    <a:pt x="17886" y="19964"/>
                    <a:pt x="17827" y="20012"/>
                  </a:cubicBezTo>
                  <a:cubicBezTo>
                    <a:pt x="17658" y="20149"/>
                    <a:pt x="17506" y="20272"/>
                    <a:pt x="17434" y="20329"/>
                  </a:cubicBezTo>
                  <a:cubicBezTo>
                    <a:pt x="17384" y="20277"/>
                    <a:pt x="17344" y="20230"/>
                    <a:pt x="17310" y="20195"/>
                  </a:cubicBezTo>
                  <a:cubicBezTo>
                    <a:pt x="17292" y="20173"/>
                    <a:pt x="16827" y="19638"/>
                    <a:pt x="16205" y="19271"/>
                  </a:cubicBezTo>
                  <a:cubicBezTo>
                    <a:pt x="16015" y="19158"/>
                    <a:pt x="15776" y="19016"/>
                    <a:pt x="15536" y="18888"/>
                  </a:cubicBezTo>
                  <a:cubicBezTo>
                    <a:pt x="15411" y="18822"/>
                    <a:pt x="15286" y="18757"/>
                    <a:pt x="15167" y="18696"/>
                  </a:cubicBezTo>
                  <a:cubicBezTo>
                    <a:pt x="15182" y="18694"/>
                    <a:pt x="15182" y="18694"/>
                    <a:pt x="15182" y="18694"/>
                  </a:cubicBezTo>
                  <a:cubicBezTo>
                    <a:pt x="15178" y="18672"/>
                    <a:pt x="15164" y="18617"/>
                    <a:pt x="15142" y="18533"/>
                  </a:cubicBezTo>
                  <a:cubicBezTo>
                    <a:pt x="15120" y="18450"/>
                    <a:pt x="15090" y="18342"/>
                    <a:pt x="15058" y="18223"/>
                  </a:cubicBezTo>
                  <a:cubicBezTo>
                    <a:pt x="15038" y="18152"/>
                    <a:pt x="15017" y="18076"/>
                    <a:pt x="14996" y="18000"/>
                  </a:cubicBezTo>
                  <a:cubicBezTo>
                    <a:pt x="14928" y="18000"/>
                    <a:pt x="14928" y="18000"/>
                    <a:pt x="14928" y="18000"/>
                  </a:cubicBezTo>
                  <a:cubicBezTo>
                    <a:pt x="14985" y="18207"/>
                    <a:pt x="15042" y="18413"/>
                    <a:pt x="15079" y="18550"/>
                  </a:cubicBezTo>
                  <a:cubicBezTo>
                    <a:pt x="15092" y="18598"/>
                    <a:pt x="15102" y="18639"/>
                    <a:pt x="15109" y="18666"/>
                  </a:cubicBezTo>
                  <a:cubicBezTo>
                    <a:pt x="14878" y="18549"/>
                    <a:pt x="14676" y="18449"/>
                    <a:pt x="14556" y="18390"/>
                  </a:cubicBezTo>
                  <a:cubicBezTo>
                    <a:pt x="14498" y="18361"/>
                    <a:pt x="14458" y="18341"/>
                    <a:pt x="14446" y="18335"/>
                  </a:cubicBezTo>
                  <a:cubicBezTo>
                    <a:pt x="14439" y="18329"/>
                    <a:pt x="14431" y="18328"/>
                    <a:pt x="14427" y="18327"/>
                  </a:cubicBezTo>
                  <a:cubicBezTo>
                    <a:pt x="13990" y="18280"/>
                    <a:pt x="13990" y="18280"/>
                    <a:pt x="13990" y="18280"/>
                  </a:cubicBezTo>
                  <a:cubicBezTo>
                    <a:pt x="13988" y="18254"/>
                    <a:pt x="13978" y="18150"/>
                    <a:pt x="13963" y="18000"/>
                  </a:cubicBezTo>
                  <a:cubicBezTo>
                    <a:pt x="13810" y="18000"/>
                    <a:pt x="13810" y="18000"/>
                    <a:pt x="13810" y="18000"/>
                  </a:cubicBezTo>
                  <a:cubicBezTo>
                    <a:pt x="13822" y="18121"/>
                    <a:pt x="13831" y="18215"/>
                    <a:pt x="13835" y="18263"/>
                  </a:cubicBezTo>
                  <a:cubicBezTo>
                    <a:pt x="13383" y="18214"/>
                    <a:pt x="13383" y="18214"/>
                    <a:pt x="13383" y="18214"/>
                  </a:cubicBezTo>
                  <a:cubicBezTo>
                    <a:pt x="13002" y="18000"/>
                    <a:pt x="13002" y="18000"/>
                    <a:pt x="13002" y="18000"/>
                  </a:cubicBezTo>
                  <a:cubicBezTo>
                    <a:pt x="12867" y="18000"/>
                    <a:pt x="12867" y="18000"/>
                    <a:pt x="12867" y="18000"/>
                  </a:cubicBezTo>
                  <a:cubicBezTo>
                    <a:pt x="13363" y="18278"/>
                    <a:pt x="13363" y="18278"/>
                    <a:pt x="13363" y="18278"/>
                  </a:cubicBezTo>
                  <a:cubicBezTo>
                    <a:pt x="13822" y="18328"/>
                    <a:pt x="13822" y="18328"/>
                    <a:pt x="13822" y="18328"/>
                  </a:cubicBezTo>
                  <a:cubicBezTo>
                    <a:pt x="13138" y="20295"/>
                    <a:pt x="13138" y="20295"/>
                    <a:pt x="13138" y="20295"/>
                  </a:cubicBezTo>
                  <a:cubicBezTo>
                    <a:pt x="12170" y="19912"/>
                    <a:pt x="12170" y="19912"/>
                    <a:pt x="12170" y="19912"/>
                  </a:cubicBezTo>
                  <a:cubicBezTo>
                    <a:pt x="11977" y="18640"/>
                    <a:pt x="11977" y="18640"/>
                    <a:pt x="11977" y="18640"/>
                  </a:cubicBezTo>
                  <a:cubicBezTo>
                    <a:pt x="11847" y="18036"/>
                    <a:pt x="11847" y="18036"/>
                    <a:pt x="11847" y="18036"/>
                  </a:cubicBezTo>
                  <a:cubicBezTo>
                    <a:pt x="11834" y="18029"/>
                    <a:pt x="11834" y="18029"/>
                    <a:pt x="11834" y="18029"/>
                  </a:cubicBezTo>
                  <a:cubicBezTo>
                    <a:pt x="11834" y="18029"/>
                    <a:pt x="11834" y="18029"/>
                    <a:pt x="11834" y="18029"/>
                  </a:cubicBezTo>
                  <a:cubicBezTo>
                    <a:pt x="11834" y="18029"/>
                    <a:pt x="11833" y="18029"/>
                    <a:pt x="11833" y="18029"/>
                  </a:cubicBezTo>
                  <a:cubicBezTo>
                    <a:pt x="11853" y="18000"/>
                    <a:pt x="11853" y="18000"/>
                    <a:pt x="11853" y="18000"/>
                  </a:cubicBezTo>
                  <a:cubicBezTo>
                    <a:pt x="11720" y="18000"/>
                    <a:pt x="11720" y="18000"/>
                    <a:pt x="11720" y="18000"/>
                  </a:cubicBezTo>
                  <a:cubicBezTo>
                    <a:pt x="11752" y="18044"/>
                    <a:pt x="11775" y="18066"/>
                    <a:pt x="11788" y="18077"/>
                  </a:cubicBezTo>
                  <a:cubicBezTo>
                    <a:pt x="11903" y="18610"/>
                    <a:pt x="11903" y="18610"/>
                    <a:pt x="11903" y="18610"/>
                  </a:cubicBezTo>
                  <a:cubicBezTo>
                    <a:pt x="11006" y="18771"/>
                    <a:pt x="11006" y="18771"/>
                    <a:pt x="11006" y="18771"/>
                  </a:cubicBezTo>
                  <a:cubicBezTo>
                    <a:pt x="10984" y="18642"/>
                    <a:pt x="10984" y="18642"/>
                    <a:pt x="10984" y="18642"/>
                  </a:cubicBezTo>
                  <a:cubicBezTo>
                    <a:pt x="11213" y="18603"/>
                    <a:pt x="11213" y="18603"/>
                    <a:pt x="11213" y="18603"/>
                  </a:cubicBezTo>
                  <a:cubicBezTo>
                    <a:pt x="11205" y="18553"/>
                    <a:pt x="11205" y="18553"/>
                    <a:pt x="11205" y="18553"/>
                  </a:cubicBezTo>
                  <a:cubicBezTo>
                    <a:pt x="11299" y="18537"/>
                    <a:pt x="11299" y="18537"/>
                    <a:pt x="11299" y="18537"/>
                  </a:cubicBezTo>
                  <a:cubicBezTo>
                    <a:pt x="11277" y="18406"/>
                    <a:pt x="11277" y="18406"/>
                    <a:pt x="11277" y="18406"/>
                  </a:cubicBezTo>
                  <a:cubicBezTo>
                    <a:pt x="11182" y="18422"/>
                    <a:pt x="11182" y="18422"/>
                    <a:pt x="11182" y="18422"/>
                  </a:cubicBezTo>
                  <a:cubicBezTo>
                    <a:pt x="11153" y="18254"/>
                    <a:pt x="11153" y="18254"/>
                    <a:pt x="11153" y="18254"/>
                  </a:cubicBezTo>
                  <a:cubicBezTo>
                    <a:pt x="11112" y="18261"/>
                    <a:pt x="11112" y="18261"/>
                    <a:pt x="11112" y="18261"/>
                  </a:cubicBezTo>
                  <a:cubicBezTo>
                    <a:pt x="11094" y="18170"/>
                    <a:pt x="11094" y="18170"/>
                    <a:pt x="11094" y="18170"/>
                  </a:cubicBezTo>
                  <a:cubicBezTo>
                    <a:pt x="11093" y="18163"/>
                    <a:pt x="11093" y="18163"/>
                    <a:pt x="11093" y="18163"/>
                  </a:cubicBezTo>
                  <a:cubicBezTo>
                    <a:pt x="11009" y="18177"/>
                    <a:pt x="11009" y="18177"/>
                    <a:pt x="11009" y="18177"/>
                  </a:cubicBezTo>
                  <a:cubicBezTo>
                    <a:pt x="11026" y="18275"/>
                    <a:pt x="11026" y="18275"/>
                    <a:pt x="11026" y="18275"/>
                  </a:cubicBezTo>
                  <a:cubicBezTo>
                    <a:pt x="10876" y="18300"/>
                    <a:pt x="10876" y="18300"/>
                    <a:pt x="10876" y="18300"/>
                  </a:cubicBezTo>
                  <a:cubicBezTo>
                    <a:pt x="10884" y="18348"/>
                    <a:pt x="10884" y="18348"/>
                    <a:pt x="10884" y="18348"/>
                  </a:cubicBezTo>
                  <a:cubicBezTo>
                    <a:pt x="10725" y="18375"/>
                    <a:pt x="10725" y="18375"/>
                    <a:pt x="10725" y="18375"/>
                  </a:cubicBezTo>
                  <a:cubicBezTo>
                    <a:pt x="10744" y="18484"/>
                    <a:pt x="10744" y="18484"/>
                    <a:pt x="10744" y="18484"/>
                  </a:cubicBezTo>
                  <a:cubicBezTo>
                    <a:pt x="10899" y="18458"/>
                    <a:pt x="10899" y="18458"/>
                    <a:pt x="10899" y="18458"/>
                  </a:cubicBezTo>
                  <a:cubicBezTo>
                    <a:pt x="10919" y="18574"/>
                    <a:pt x="10919" y="18574"/>
                    <a:pt x="10919" y="18574"/>
                  </a:cubicBezTo>
                  <a:cubicBezTo>
                    <a:pt x="10804" y="18594"/>
                    <a:pt x="10804" y="18594"/>
                    <a:pt x="10804" y="18594"/>
                  </a:cubicBezTo>
                  <a:cubicBezTo>
                    <a:pt x="10839" y="18801"/>
                    <a:pt x="10839" y="18801"/>
                    <a:pt x="10839" y="18801"/>
                  </a:cubicBezTo>
                  <a:cubicBezTo>
                    <a:pt x="10317" y="18894"/>
                    <a:pt x="10317" y="18894"/>
                    <a:pt x="10317" y="18894"/>
                  </a:cubicBezTo>
                  <a:cubicBezTo>
                    <a:pt x="10315" y="18878"/>
                    <a:pt x="10313" y="18856"/>
                    <a:pt x="10311" y="18831"/>
                  </a:cubicBezTo>
                  <a:cubicBezTo>
                    <a:pt x="10305" y="18773"/>
                    <a:pt x="10298" y="18697"/>
                    <a:pt x="10290" y="18620"/>
                  </a:cubicBezTo>
                  <a:cubicBezTo>
                    <a:pt x="10278" y="18498"/>
                    <a:pt x="10266" y="18376"/>
                    <a:pt x="10261" y="18332"/>
                  </a:cubicBezTo>
                  <a:cubicBezTo>
                    <a:pt x="10300" y="18298"/>
                    <a:pt x="10395" y="18195"/>
                    <a:pt x="10396" y="18014"/>
                  </a:cubicBezTo>
                  <a:cubicBezTo>
                    <a:pt x="10396" y="18009"/>
                    <a:pt x="10395" y="18005"/>
                    <a:pt x="10395" y="18000"/>
                  </a:cubicBezTo>
                  <a:cubicBezTo>
                    <a:pt x="10329" y="18000"/>
                    <a:pt x="10329" y="18000"/>
                    <a:pt x="10329" y="18000"/>
                  </a:cubicBezTo>
                  <a:cubicBezTo>
                    <a:pt x="10329" y="18005"/>
                    <a:pt x="10330" y="18010"/>
                    <a:pt x="10330" y="18014"/>
                  </a:cubicBezTo>
                  <a:cubicBezTo>
                    <a:pt x="10330" y="18174"/>
                    <a:pt x="10242" y="18262"/>
                    <a:pt x="10216" y="18285"/>
                  </a:cubicBezTo>
                  <a:cubicBezTo>
                    <a:pt x="9255" y="18271"/>
                    <a:pt x="9255" y="18271"/>
                    <a:pt x="9255" y="18271"/>
                  </a:cubicBezTo>
                  <a:cubicBezTo>
                    <a:pt x="9239" y="18000"/>
                    <a:pt x="9239" y="18000"/>
                    <a:pt x="9239" y="18000"/>
                  </a:cubicBezTo>
                  <a:cubicBezTo>
                    <a:pt x="9173" y="18000"/>
                    <a:pt x="9173" y="18000"/>
                    <a:pt x="9173" y="18000"/>
                  </a:cubicBezTo>
                  <a:cubicBezTo>
                    <a:pt x="9189" y="18270"/>
                    <a:pt x="9189" y="18270"/>
                    <a:pt x="9189" y="18270"/>
                  </a:cubicBezTo>
                  <a:cubicBezTo>
                    <a:pt x="9164" y="18270"/>
                    <a:pt x="9164" y="18270"/>
                    <a:pt x="9164" y="18270"/>
                  </a:cubicBezTo>
                  <a:cubicBezTo>
                    <a:pt x="9154" y="18285"/>
                    <a:pt x="9154" y="18285"/>
                    <a:pt x="9154" y="18285"/>
                  </a:cubicBezTo>
                  <a:cubicBezTo>
                    <a:pt x="9154" y="18285"/>
                    <a:pt x="9106" y="18360"/>
                    <a:pt x="9049" y="18446"/>
                  </a:cubicBezTo>
                  <a:cubicBezTo>
                    <a:pt x="8993" y="18533"/>
                    <a:pt x="8928" y="18631"/>
                    <a:pt x="8895" y="18677"/>
                  </a:cubicBezTo>
                  <a:cubicBezTo>
                    <a:pt x="8895" y="18677"/>
                    <a:pt x="8895" y="18678"/>
                    <a:pt x="8894" y="18678"/>
                  </a:cubicBezTo>
                  <a:cubicBezTo>
                    <a:pt x="7753" y="18000"/>
                    <a:pt x="7753" y="18000"/>
                    <a:pt x="7753" y="18000"/>
                  </a:cubicBezTo>
                  <a:cubicBezTo>
                    <a:pt x="7599" y="18000"/>
                    <a:pt x="7599" y="18000"/>
                    <a:pt x="7599" y="18000"/>
                  </a:cubicBezTo>
                  <a:cubicBezTo>
                    <a:pt x="7532" y="18121"/>
                    <a:pt x="7532" y="18121"/>
                    <a:pt x="7532" y="18121"/>
                  </a:cubicBezTo>
                  <a:cubicBezTo>
                    <a:pt x="7532" y="18123"/>
                    <a:pt x="7532" y="18123"/>
                    <a:pt x="7532" y="18123"/>
                  </a:cubicBezTo>
                  <a:cubicBezTo>
                    <a:pt x="7530" y="18126"/>
                    <a:pt x="7507" y="18181"/>
                    <a:pt x="7507" y="18275"/>
                  </a:cubicBezTo>
                  <a:cubicBezTo>
                    <a:pt x="7507" y="18343"/>
                    <a:pt x="7519" y="18430"/>
                    <a:pt x="7560" y="18532"/>
                  </a:cubicBezTo>
                  <a:cubicBezTo>
                    <a:pt x="7646" y="18746"/>
                    <a:pt x="7756" y="18965"/>
                    <a:pt x="7775" y="19002"/>
                  </a:cubicBezTo>
                  <a:cubicBezTo>
                    <a:pt x="7851" y="19703"/>
                    <a:pt x="7851" y="19703"/>
                    <a:pt x="7851" y="19703"/>
                  </a:cubicBezTo>
                  <a:cubicBezTo>
                    <a:pt x="7763" y="19945"/>
                    <a:pt x="7763" y="19945"/>
                    <a:pt x="7763" y="19945"/>
                  </a:cubicBezTo>
                  <a:cubicBezTo>
                    <a:pt x="7726" y="19943"/>
                    <a:pt x="7698" y="19942"/>
                    <a:pt x="7688" y="19941"/>
                  </a:cubicBezTo>
                  <a:cubicBezTo>
                    <a:pt x="7687" y="19941"/>
                    <a:pt x="7686" y="19941"/>
                    <a:pt x="7685" y="19941"/>
                  </a:cubicBezTo>
                  <a:cubicBezTo>
                    <a:pt x="7685" y="19941"/>
                    <a:pt x="7561" y="19936"/>
                    <a:pt x="7377" y="19930"/>
                  </a:cubicBezTo>
                  <a:cubicBezTo>
                    <a:pt x="7335" y="19928"/>
                    <a:pt x="7290" y="19927"/>
                    <a:pt x="7243" y="19925"/>
                  </a:cubicBezTo>
                  <a:cubicBezTo>
                    <a:pt x="6722" y="18439"/>
                    <a:pt x="6722" y="18439"/>
                    <a:pt x="6722" y="18439"/>
                  </a:cubicBezTo>
                  <a:cubicBezTo>
                    <a:pt x="6729" y="18395"/>
                    <a:pt x="6763" y="18187"/>
                    <a:pt x="6794" y="18000"/>
                  </a:cubicBezTo>
                  <a:cubicBezTo>
                    <a:pt x="6727" y="18000"/>
                    <a:pt x="6727" y="18000"/>
                    <a:pt x="6727" y="18000"/>
                  </a:cubicBezTo>
                  <a:cubicBezTo>
                    <a:pt x="6724" y="18020"/>
                    <a:pt x="6721" y="18039"/>
                    <a:pt x="6718" y="18059"/>
                  </a:cubicBezTo>
                  <a:cubicBezTo>
                    <a:pt x="6693" y="18209"/>
                    <a:pt x="6668" y="18359"/>
                    <a:pt x="6659" y="18414"/>
                  </a:cubicBezTo>
                  <a:cubicBezTo>
                    <a:pt x="6566" y="18433"/>
                    <a:pt x="6485" y="18441"/>
                    <a:pt x="6415" y="18441"/>
                  </a:cubicBezTo>
                  <a:cubicBezTo>
                    <a:pt x="6263" y="18441"/>
                    <a:pt x="6155" y="18408"/>
                    <a:pt x="6055" y="18385"/>
                  </a:cubicBezTo>
                  <a:cubicBezTo>
                    <a:pt x="5983" y="18369"/>
                    <a:pt x="5740" y="18306"/>
                    <a:pt x="5516" y="18247"/>
                  </a:cubicBezTo>
                  <a:cubicBezTo>
                    <a:pt x="5320" y="18195"/>
                    <a:pt x="5139" y="18147"/>
                    <a:pt x="5095" y="18135"/>
                  </a:cubicBezTo>
                  <a:cubicBezTo>
                    <a:pt x="5096" y="18092"/>
                    <a:pt x="5097" y="18047"/>
                    <a:pt x="5098" y="18000"/>
                  </a:cubicBezTo>
                  <a:cubicBezTo>
                    <a:pt x="5033" y="18000"/>
                    <a:pt x="5033" y="18000"/>
                    <a:pt x="5033" y="18000"/>
                  </a:cubicBezTo>
                  <a:cubicBezTo>
                    <a:pt x="5031" y="18079"/>
                    <a:pt x="5029" y="18154"/>
                    <a:pt x="5027" y="18219"/>
                  </a:cubicBezTo>
                  <a:cubicBezTo>
                    <a:pt x="5024" y="18325"/>
                    <a:pt x="5021" y="18406"/>
                    <a:pt x="5020" y="18440"/>
                  </a:cubicBezTo>
                  <a:cubicBezTo>
                    <a:pt x="4602" y="18162"/>
                    <a:pt x="4602" y="18162"/>
                    <a:pt x="4602" y="18162"/>
                  </a:cubicBezTo>
                  <a:cubicBezTo>
                    <a:pt x="4595" y="18174"/>
                    <a:pt x="4595" y="18174"/>
                    <a:pt x="4595" y="18174"/>
                  </a:cubicBezTo>
                  <a:cubicBezTo>
                    <a:pt x="5020" y="18456"/>
                    <a:pt x="5020" y="18456"/>
                    <a:pt x="5020" y="18456"/>
                  </a:cubicBezTo>
                  <a:cubicBezTo>
                    <a:pt x="5020" y="18456"/>
                    <a:pt x="5020" y="18457"/>
                    <a:pt x="5020" y="18457"/>
                  </a:cubicBezTo>
                  <a:cubicBezTo>
                    <a:pt x="5019" y="18459"/>
                    <a:pt x="5019" y="18459"/>
                    <a:pt x="5019" y="18459"/>
                  </a:cubicBezTo>
                  <a:cubicBezTo>
                    <a:pt x="5084" y="19026"/>
                    <a:pt x="5084" y="19026"/>
                    <a:pt x="5084" y="19026"/>
                  </a:cubicBezTo>
                  <a:cubicBezTo>
                    <a:pt x="4612" y="18716"/>
                    <a:pt x="4612" y="18716"/>
                    <a:pt x="4612" y="18716"/>
                  </a:cubicBezTo>
                  <a:cubicBezTo>
                    <a:pt x="4358" y="18244"/>
                    <a:pt x="4358" y="18244"/>
                    <a:pt x="4358" y="18244"/>
                  </a:cubicBezTo>
                  <a:cubicBezTo>
                    <a:pt x="4385" y="18237"/>
                    <a:pt x="4423" y="18225"/>
                    <a:pt x="4461" y="18213"/>
                  </a:cubicBezTo>
                  <a:cubicBezTo>
                    <a:pt x="4527" y="18193"/>
                    <a:pt x="4592" y="18172"/>
                    <a:pt x="4592" y="18172"/>
                  </a:cubicBezTo>
                  <a:cubicBezTo>
                    <a:pt x="4596" y="18171"/>
                    <a:pt x="4596" y="18171"/>
                    <a:pt x="4596" y="18171"/>
                  </a:cubicBezTo>
                  <a:cubicBezTo>
                    <a:pt x="4650" y="18000"/>
                    <a:pt x="4650" y="18000"/>
                    <a:pt x="4650" y="18000"/>
                  </a:cubicBezTo>
                  <a:cubicBezTo>
                    <a:pt x="4636" y="18000"/>
                    <a:pt x="4636" y="18000"/>
                    <a:pt x="4636" y="18000"/>
                  </a:cubicBezTo>
                  <a:cubicBezTo>
                    <a:pt x="4585" y="18160"/>
                    <a:pt x="4585" y="18160"/>
                    <a:pt x="4585" y="18160"/>
                  </a:cubicBezTo>
                  <a:cubicBezTo>
                    <a:pt x="4570" y="18165"/>
                    <a:pt x="4514" y="18182"/>
                    <a:pt x="4457" y="18200"/>
                  </a:cubicBezTo>
                  <a:cubicBezTo>
                    <a:pt x="4418" y="18212"/>
                    <a:pt x="4378" y="18224"/>
                    <a:pt x="4351" y="18232"/>
                  </a:cubicBezTo>
                  <a:cubicBezTo>
                    <a:pt x="4298" y="18132"/>
                    <a:pt x="4298" y="18132"/>
                    <a:pt x="4298" y="18132"/>
                  </a:cubicBezTo>
                  <a:cubicBezTo>
                    <a:pt x="4311" y="18000"/>
                    <a:pt x="4311" y="18000"/>
                    <a:pt x="4311" y="18000"/>
                  </a:cubicBezTo>
                  <a:cubicBezTo>
                    <a:pt x="4266" y="18000"/>
                    <a:pt x="4266" y="18000"/>
                    <a:pt x="4266" y="18000"/>
                  </a:cubicBezTo>
                  <a:cubicBezTo>
                    <a:pt x="4252" y="18142"/>
                    <a:pt x="4252" y="18142"/>
                    <a:pt x="4252" y="18142"/>
                  </a:cubicBezTo>
                  <a:cubicBezTo>
                    <a:pt x="4394" y="18407"/>
                    <a:pt x="4394" y="18407"/>
                    <a:pt x="4394" y="18407"/>
                  </a:cubicBezTo>
                  <a:cubicBezTo>
                    <a:pt x="4378" y="18417"/>
                    <a:pt x="4350" y="18435"/>
                    <a:pt x="4321" y="18453"/>
                  </a:cubicBezTo>
                  <a:cubicBezTo>
                    <a:pt x="4282" y="18479"/>
                    <a:pt x="4243" y="18504"/>
                    <a:pt x="4229" y="18515"/>
                  </a:cubicBezTo>
                  <a:cubicBezTo>
                    <a:pt x="4228" y="18514"/>
                    <a:pt x="4227" y="18514"/>
                    <a:pt x="4226" y="18513"/>
                  </a:cubicBezTo>
                  <a:cubicBezTo>
                    <a:pt x="4221" y="18509"/>
                    <a:pt x="4214" y="18504"/>
                    <a:pt x="4205" y="18498"/>
                  </a:cubicBezTo>
                  <a:cubicBezTo>
                    <a:pt x="4186" y="18485"/>
                    <a:pt x="4160" y="18467"/>
                    <a:pt x="4128" y="18446"/>
                  </a:cubicBezTo>
                  <a:cubicBezTo>
                    <a:pt x="4065" y="18403"/>
                    <a:pt x="3981" y="18346"/>
                    <a:pt x="3895" y="18289"/>
                  </a:cubicBezTo>
                  <a:cubicBezTo>
                    <a:pt x="3863" y="18267"/>
                    <a:pt x="3830" y="18245"/>
                    <a:pt x="3799" y="18224"/>
                  </a:cubicBezTo>
                  <a:cubicBezTo>
                    <a:pt x="3898" y="18000"/>
                    <a:pt x="3898" y="18000"/>
                    <a:pt x="3898" y="18000"/>
                  </a:cubicBezTo>
                  <a:cubicBezTo>
                    <a:pt x="3882" y="18000"/>
                    <a:pt x="3882" y="18000"/>
                    <a:pt x="3882" y="18000"/>
                  </a:cubicBezTo>
                  <a:cubicBezTo>
                    <a:pt x="3787" y="18216"/>
                    <a:pt x="3787" y="18216"/>
                    <a:pt x="3787" y="18216"/>
                  </a:cubicBezTo>
                  <a:cubicBezTo>
                    <a:pt x="3667" y="18135"/>
                    <a:pt x="3563" y="18066"/>
                    <a:pt x="3541" y="18050"/>
                  </a:cubicBezTo>
                  <a:cubicBezTo>
                    <a:pt x="3541" y="18049"/>
                    <a:pt x="3541" y="18048"/>
                    <a:pt x="3542" y="18046"/>
                  </a:cubicBezTo>
                  <a:cubicBezTo>
                    <a:pt x="3542" y="18040"/>
                    <a:pt x="3543" y="18033"/>
                    <a:pt x="3543" y="18024"/>
                  </a:cubicBezTo>
                  <a:cubicBezTo>
                    <a:pt x="3544" y="18017"/>
                    <a:pt x="3544" y="18009"/>
                    <a:pt x="3544" y="18000"/>
                  </a:cubicBezTo>
                  <a:cubicBezTo>
                    <a:pt x="3530" y="18000"/>
                    <a:pt x="3530" y="18000"/>
                    <a:pt x="3530" y="18000"/>
                  </a:cubicBezTo>
                  <a:cubicBezTo>
                    <a:pt x="3529" y="18024"/>
                    <a:pt x="3528" y="18043"/>
                    <a:pt x="3527" y="18049"/>
                  </a:cubicBezTo>
                  <a:cubicBezTo>
                    <a:pt x="3526" y="18050"/>
                    <a:pt x="3526" y="18051"/>
                    <a:pt x="3526" y="18052"/>
                  </a:cubicBezTo>
                  <a:cubicBezTo>
                    <a:pt x="3524" y="18060"/>
                    <a:pt x="3524" y="18060"/>
                    <a:pt x="3524" y="18060"/>
                  </a:cubicBezTo>
                  <a:cubicBezTo>
                    <a:pt x="3530" y="18060"/>
                    <a:pt x="3530" y="18060"/>
                    <a:pt x="3530" y="18060"/>
                  </a:cubicBezTo>
                  <a:cubicBezTo>
                    <a:pt x="3530" y="18060"/>
                    <a:pt x="3530" y="18060"/>
                    <a:pt x="3530" y="18060"/>
                  </a:cubicBezTo>
                  <a:cubicBezTo>
                    <a:pt x="3532" y="18061"/>
                    <a:pt x="3534" y="18062"/>
                    <a:pt x="3536" y="18064"/>
                  </a:cubicBezTo>
                  <a:cubicBezTo>
                    <a:pt x="3541" y="18067"/>
                    <a:pt x="3548" y="18072"/>
                    <a:pt x="3557" y="18078"/>
                  </a:cubicBezTo>
                  <a:cubicBezTo>
                    <a:pt x="3576" y="18091"/>
                    <a:pt x="3602" y="18108"/>
                    <a:pt x="3633" y="18130"/>
                  </a:cubicBezTo>
                  <a:cubicBezTo>
                    <a:pt x="3696" y="18172"/>
                    <a:pt x="3780" y="18228"/>
                    <a:pt x="3865" y="18285"/>
                  </a:cubicBezTo>
                  <a:cubicBezTo>
                    <a:pt x="4033" y="18398"/>
                    <a:pt x="4206" y="18514"/>
                    <a:pt x="4224" y="18528"/>
                  </a:cubicBezTo>
                  <a:cubicBezTo>
                    <a:pt x="4225" y="18531"/>
                    <a:pt x="4228" y="18531"/>
                    <a:pt x="4230" y="18531"/>
                  </a:cubicBezTo>
                  <a:cubicBezTo>
                    <a:pt x="4230" y="18531"/>
                    <a:pt x="4234" y="18532"/>
                    <a:pt x="4236" y="18528"/>
                  </a:cubicBezTo>
                  <a:cubicBezTo>
                    <a:pt x="4236" y="18528"/>
                    <a:pt x="4236" y="18528"/>
                    <a:pt x="4236" y="18527"/>
                  </a:cubicBezTo>
                  <a:cubicBezTo>
                    <a:pt x="4237" y="18527"/>
                    <a:pt x="4239" y="18525"/>
                    <a:pt x="4241" y="18523"/>
                  </a:cubicBezTo>
                  <a:cubicBezTo>
                    <a:pt x="4246" y="18520"/>
                    <a:pt x="4253" y="18515"/>
                    <a:pt x="4262" y="18509"/>
                  </a:cubicBezTo>
                  <a:cubicBezTo>
                    <a:pt x="4279" y="18498"/>
                    <a:pt x="4302" y="18483"/>
                    <a:pt x="4324" y="18468"/>
                  </a:cubicBezTo>
                  <a:cubicBezTo>
                    <a:pt x="4354" y="18449"/>
                    <a:pt x="4384" y="18430"/>
                    <a:pt x="4401" y="18419"/>
                  </a:cubicBezTo>
                  <a:cubicBezTo>
                    <a:pt x="4570" y="18734"/>
                    <a:pt x="4570" y="18734"/>
                    <a:pt x="4570" y="18734"/>
                  </a:cubicBezTo>
                  <a:cubicBezTo>
                    <a:pt x="4210" y="19801"/>
                    <a:pt x="4210" y="19801"/>
                    <a:pt x="4210" y="19801"/>
                  </a:cubicBezTo>
                  <a:cubicBezTo>
                    <a:pt x="4192" y="19802"/>
                    <a:pt x="4171" y="19803"/>
                    <a:pt x="4148" y="19803"/>
                  </a:cubicBezTo>
                  <a:cubicBezTo>
                    <a:pt x="4117" y="19803"/>
                    <a:pt x="4084" y="19801"/>
                    <a:pt x="4057" y="19798"/>
                  </a:cubicBezTo>
                  <a:cubicBezTo>
                    <a:pt x="4029" y="19794"/>
                    <a:pt x="4007" y="19787"/>
                    <a:pt x="4001" y="19784"/>
                  </a:cubicBezTo>
                  <a:cubicBezTo>
                    <a:pt x="3993" y="19781"/>
                    <a:pt x="3963" y="19752"/>
                    <a:pt x="3936" y="19715"/>
                  </a:cubicBezTo>
                  <a:cubicBezTo>
                    <a:pt x="3909" y="19677"/>
                    <a:pt x="3882" y="19631"/>
                    <a:pt x="3859" y="19592"/>
                  </a:cubicBezTo>
                  <a:cubicBezTo>
                    <a:pt x="3852" y="19579"/>
                    <a:pt x="3830" y="19534"/>
                    <a:pt x="3806" y="19479"/>
                  </a:cubicBezTo>
                  <a:cubicBezTo>
                    <a:pt x="3787" y="19433"/>
                    <a:pt x="3764" y="19379"/>
                    <a:pt x="3741" y="19324"/>
                  </a:cubicBezTo>
                  <a:cubicBezTo>
                    <a:pt x="3743" y="19289"/>
                    <a:pt x="3753" y="19110"/>
                    <a:pt x="3759" y="19038"/>
                  </a:cubicBezTo>
                  <a:cubicBezTo>
                    <a:pt x="3760" y="19026"/>
                    <a:pt x="3760" y="19014"/>
                    <a:pt x="3760" y="19000"/>
                  </a:cubicBezTo>
                  <a:cubicBezTo>
                    <a:pt x="3760" y="18945"/>
                    <a:pt x="3754" y="18864"/>
                    <a:pt x="3737" y="18777"/>
                  </a:cubicBezTo>
                  <a:cubicBezTo>
                    <a:pt x="3720" y="18691"/>
                    <a:pt x="3694" y="18600"/>
                    <a:pt x="3645" y="18525"/>
                  </a:cubicBezTo>
                  <a:cubicBezTo>
                    <a:pt x="3611" y="18475"/>
                    <a:pt x="3558" y="18432"/>
                    <a:pt x="3494" y="18384"/>
                  </a:cubicBezTo>
                  <a:cubicBezTo>
                    <a:pt x="3430" y="18337"/>
                    <a:pt x="3355" y="18289"/>
                    <a:pt x="3284" y="18244"/>
                  </a:cubicBezTo>
                  <a:cubicBezTo>
                    <a:pt x="3154" y="18164"/>
                    <a:pt x="3034" y="18099"/>
                    <a:pt x="3013" y="18088"/>
                  </a:cubicBezTo>
                  <a:cubicBezTo>
                    <a:pt x="3013" y="18086"/>
                    <a:pt x="3013" y="18085"/>
                    <a:pt x="3013" y="18083"/>
                  </a:cubicBezTo>
                  <a:cubicBezTo>
                    <a:pt x="3013" y="18055"/>
                    <a:pt x="3009" y="18027"/>
                    <a:pt x="3003" y="18000"/>
                  </a:cubicBezTo>
                  <a:cubicBezTo>
                    <a:pt x="2838" y="18000"/>
                    <a:pt x="2838" y="18000"/>
                    <a:pt x="2838" y="18000"/>
                  </a:cubicBezTo>
                  <a:cubicBezTo>
                    <a:pt x="2849" y="18026"/>
                    <a:pt x="2855" y="18054"/>
                    <a:pt x="2855" y="18083"/>
                  </a:cubicBezTo>
                  <a:cubicBezTo>
                    <a:pt x="2855" y="18198"/>
                    <a:pt x="2762" y="18291"/>
                    <a:pt x="2648" y="18291"/>
                  </a:cubicBezTo>
                  <a:cubicBezTo>
                    <a:pt x="2533" y="18291"/>
                    <a:pt x="2440" y="18198"/>
                    <a:pt x="2440" y="18083"/>
                  </a:cubicBezTo>
                  <a:cubicBezTo>
                    <a:pt x="2440" y="18054"/>
                    <a:pt x="2446" y="18026"/>
                    <a:pt x="2458" y="18000"/>
                  </a:cubicBezTo>
                  <a:cubicBezTo>
                    <a:pt x="2293" y="18000"/>
                    <a:pt x="2293" y="18000"/>
                    <a:pt x="2293" y="18000"/>
                  </a:cubicBezTo>
                  <a:cubicBezTo>
                    <a:pt x="2287" y="18027"/>
                    <a:pt x="2282" y="18055"/>
                    <a:pt x="2282" y="18083"/>
                  </a:cubicBezTo>
                  <a:cubicBezTo>
                    <a:pt x="2282" y="18095"/>
                    <a:pt x="2283" y="18106"/>
                    <a:pt x="2284" y="18118"/>
                  </a:cubicBezTo>
                  <a:cubicBezTo>
                    <a:pt x="2231" y="18110"/>
                    <a:pt x="2157" y="18098"/>
                    <a:pt x="2077" y="18086"/>
                  </a:cubicBezTo>
                  <a:cubicBezTo>
                    <a:pt x="1923" y="18061"/>
                    <a:pt x="1745" y="18031"/>
                    <a:pt x="1660" y="18011"/>
                  </a:cubicBezTo>
                  <a:cubicBezTo>
                    <a:pt x="1647" y="18008"/>
                    <a:pt x="1635" y="18004"/>
                    <a:pt x="1623" y="18000"/>
                  </a:cubicBezTo>
                  <a:cubicBezTo>
                    <a:pt x="1262" y="18000"/>
                    <a:pt x="1262" y="18000"/>
                    <a:pt x="1262" y="18000"/>
                  </a:cubicBezTo>
                  <a:cubicBezTo>
                    <a:pt x="1373" y="18066"/>
                    <a:pt x="1481" y="18125"/>
                    <a:pt x="1625" y="18159"/>
                  </a:cubicBezTo>
                  <a:cubicBezTo>
                    <a:pt x="1721" y="18181"/>
                    <a:pt x="1897" y="18211"/>
                    <a:pt x="2053" y="18236"/>
                  </a:cubicBezTo>
                  <a:cubicBezTo>
                    <a:pt x="2174" y="18255"/>
                    <a:pt x="2294" y="18274"/>
                    <a:pt x="2341" y="18281"/>
                  </a:cubicBezTo>
                  <a:cubicBezTo>
                    <a:pt x="2355" y="18304"/>
                    <a:pt x="2372" y="18325"/>
                    <a:pt x="2391" y="18343"/>
                  </a:cubicBezTo>
                  <a:cubicBezTo>
                    <a:pt x="2371" y="18370"/>
                    <a:pt x="2329" y="18424"/>
                    <a:pt x="2278" y="18490"/>
                  </a:cubicBezTo>
                  <a:cubicBezTo>
                    <a:pt x="2204" y="18584"/>
                    <a:pt x="2112" y="18701"/>
                    <a:pt x="2035" y="18788"/>
                  </a:cubicBezTo>
                  <a:cubicBezTo>
                    <a:pt x="1986" y="18846"/>
                    <a:pt x="1939" y="18894"/>
                    <a:pt x="1923" y="18906"/>
                  </a:cubicBezTo>
                  <a:cubicBezTo>
                    <a:pt x="1916" y="18911"/>
                    <a:pt x="1895" y="18923"/>
                    <a:pt x="1868" y="18937"/>
                  </a:cubicBezTo>
                  <a:cubicBezTo>
                    <a:pt x="1840" y="18952"/>
                    <a:pt x="1805" y="18968"/>
                    <a:pt x="1764" y="18987"/>
                  </a:cubicBezTo>
                  <a:cubicBezTo>
                    <a:pt x="1683" y="19023"/>
                    <a:pt x="1581" y="19066"/>
                    <a:pt x="1476" y="19109"/>
                  </a:cubicBezTo>
                  <a:cubicBezTo>
                    <a:pt x="1265" y="19195"/>
                    <a:pt x="1038" y="19282"/>
                    <a:pt x="921" y="19329"/>
                  </a:cubicBezTo>
                  <a:cubicBezTo>
                    <a:pt x="684" y="19422"/>
                    <a:pt x="346" y="19579"/>
                    <a:pt x="344" y="19580"/>
                  </a:cubicBezTo>
                  <a:cubicBezTo>
                    <a:pt x="344" y="19580"/>
                    <a:pt x="208" y="19645"/>
                    <a:pt x="4" y="19743"/>
                  </a:cubicBezTo>
                  <a:cubicBezTo>
                    <a:pt x="4" y="19913"/>
                    <a:pt x="4" y="19913"/>
                    <a:pt x="4" y="19913"/>
                  </a:cubicBezTo>
                  <a:cubicBezTo>
                    <a:pt x="28" y="19901"/>
                    <a:pt x="51" y="19890"/>
                    <a:pt x="73" y="19880"/>
                  </a:cubicBezTo>
                  <a:cubicBezTo>
                    <a:pt x="275" y="19782"/>
                    <a:pt x="409" y="19718"/>
                    <a:pt x="409" y="19718"/>
                  </a:cubicBezTo>
                  <a:cubicBezTo>
                    <a:pt x="410" y="19718"/>
                    <a:pt x="445" y="19701"/>
                    <a:pt x="500" y="19676"/>
                  </a:cubicBezTo>
                  <a:cubicBezTo>
                    <a:pt x="517" y="19711"/>
                    <a:pt x="546" y="19775"/>
                    <a:pt x="583" y="19857"/>
                  </a:cubicBezTo>
                  <a:cubicBezTo>
                    <a:pt x="641" y="19984"/>
                    <a:pt x="719" y="20155"/>
                    <a:pt x="797" y="20329"/>
                  </a:cubicBezTo>
                  <a:cubicBezTo>
                    <a:pt x="955" y="20675"/>
                    <a:pt x="1117" y="21033"/>
                    <a:pt x="1132" y="21071"/>
                  </a:cubicBezTo>
                  <a:cubicBezTo>
                    <a:pt x="1146" y="21105"/>
                    <a:pt x="1191" y="21265"/>
                    <a:pt x="1235" y="21438"/>
                  </a:cubicBezTo>
                  <a:cubicBezTo>
                    <a:pt x="1248" y="21491"/>
                    <a:pt x="1261" y="21546"/>
                    <a:pt x="1274" y="21600"/>
                  </a:cubicBezTo>
                  <a:cubicBezTo>
                    <a:pt x="1341" y="21600"/>
                    <a:pt x="1341" y="21600"/>
                    <a:pt x="1341" y="21600"/>
                  </a:cubicBezTo>
                  <a:cubicBezTo>
                    <a:pt x="1328" y="21541"/>
                    <a:pt x="1313" y="21481"/>
                    <a:pt x="1298" y="21422"/>
                  </a:cubicBezTo>
                  <a:cubicBezTo>
                    <a:pt x="1254" y="21246"/>
                    <a:pt x="1210" y="21091"/>
                    <a:pt x="1193" y="21046"/>
                  </a:cubicBezTo>
                  <a:cubicBezTo>
                    <a:pt x="1176" y="21004"/>
                    <a:pt x="1015" y="20649"/>
                    <a:pt x="857" y="20301"/>
                  </a:cubicBezTo>
                  <a:cubicBezTo>
                    <a:pt x="835" y="20252"/>
                    <a:pt x="813" y="20204"/>
                    <a:pt x="791" y="20156"/>
                  </a:cubicBezTo>
                  <a:cubicBezTo>
                    <a:pt x="2318" y="19770"/>
                    <a:pt x="2318" y="19770"/>
                    <a:pt x="2318" y="19770"/>
                  </a:cubicBezTo>
                  <a:cubicBezTo>
                    <a:pt x="2326" y="19811"/>
                    <a:pt x="2335" y="19847"/>
                    <a:pt x="2346" y="19872"/>
                  </a:cubicBezTo>
                  <a:cubicBezTo>
                    <a:pt x="2377" y="19937"/>
                    <a:pt x="2450" y="19969"/>
                    <a:pt x="2534" y="19969"/>
                  </a:cubicBezTo>
                  <a:cubicBezTo>
                    <a:pt x="2534" y="19969"/>
                    <a:pt x="2535" y="19969"/>
                    <a:pt x="2535" y="19969"/>
                  </a:cubicBezTo>
                  <a:cubicBezTo>
                    <a:pt x="2541" y="19969"/>
                    <a:pt x="2546" y="19968"/>
                    <a:pt x="2552" y="19968"/>
                  </a:cubicBezTo>
                  <a:cubicBezTo>
                    <a:pt x="2590" y="19966"/>
                    <a:pt x="2652" y="19965"/>
                    <a:pt x="2719" y="19962"/>
                  </a:cubicBezTo>
                  <a:cubicBezTo>
                    <a:pt x="2824" y="20460"/>
                    <a:pt x="2824" y="20460"/>
                    <a:pt x="2824" y="20460"/>
                  </a:cubicBezTo>
                  <a:cubicBezTo>
                    <a:pt x="2824" y="20461"/>
                    <a:pt x="2824" y="20461"/>
                    <a:pt x="2824" y="20462"/>
                  </a:cubicBezTo>
                  <a:cubicBezTo>
                    <a:pt x="2824" y="20468"/>
                    <a:pt x="2825" y="20473"/>
                    <a:pt x="2828" y="20477"/>
                  </a:cubicBezTo>
                  <a:cubicBezTo>
                    <a:pt x="3048" y="21519"/>
                    <a:pt x="3048" y="21519"/>
                    <a:pt x="3048" y="21519"/>
                  </a:cubicBezTo>
                  <a:cubicBezTo>
                    <a:pt x="1526" y="21600"/>
                    <a:pt x="1526" y="21600"/>
                    <a:pt x="1526" y="21600"/>
                  </a:cubicBezTo>
                  <a:cubicBezTo>
                    <a:pt x="2371" y="21600"/>
                    <a:pt x="2371" y="21600"/>
                    <a:pt x="2371" y="21600"/>
                  </a:cubicBezTo>
                  <a:cubicBezTo>
                    <a:pt x="3057" y="21564"/>
                    <a:pt x="3057" y="21564"/>
                    <a:pt x="3057" y="21564"/>
                  </a:cubicBezTo>
                  <a:cubicBezTo>
                    <a:pt x="3065" y="21600"/>
                    <a:pt x="3065" y="21600"/>
                    <a:pt x="3065" y="21600"/>
                  </a:cubicBezTo>
                  <a:cubicBezTo>
                    <a:pt x="3132" y="21600"/>
                    <a:pt x="3132" y="21600"/>
                    <a:pt x="3132" y="21600"/>
                  </a:cubicBezTo>
                  <a:cubicBezTo>
                    <a:pt x="3127" y="21577"/>
                    <a:pt x="3127" y="21577"/>
                    <a:pt x="3127" y="21577"/>
                  </a:cubicBezTo>
                  <a:cubicBezTo>
                    <a:pt x="3174" y="21578"/>
                    <a:pt x="3260" y="21579"/>
                    <a:pt x="3347" y="21580"/>
                  </a:cubicBezTo>
                  <a:cubicBezTo>
                    <a:pt x="3476" y="21581"/>
                    <a:pt x="3609" y="21583"/>
                    <a:pt x="3620" y="21585"/>
                  </a:cubicBezTo>
                  <a:cubicBezTo>
                    <a:pt x="3624" y="21586"/>
                    <a:pt x="3648" y="21592"/>
                    <a:pt x="3680" y="21600"/>
                  </a:cubicBezTo>
                  <a:cubicBezTo>
                    <a:pt x="3738" y="21600"/>
                    <a:pt x="3738" y="21600"/>
                    <a:pt x="3738" y="21600"/>
                  </a:cubicBezTo>
                  <a:cubicBezTo>
                    <a:pt x="3677" y="21585"/>
                    <a:pt x="3626" y="21572"/>
                    <a:pt x="3624" y="21571"/>
                  </a:cubicBezTo>
                  <a:cubicBezTo>
                    <a:pt x="3619" y="21570"/>
                    <a:pt x="3612" y="21570"/>
                    <a:pt x="3597" y="21570"/>
                  </a:cubicBezTo>
                  <a:cubicBezTo>
                    <a:pt x="3581" y="21569"/>
                    <a:pt x="3560" y="21569"/>
                    <a:pt x="3535" y="21569"/>
                  </a:cubicBezTo>
                  <a:cubicBezTo>
                    <a:pt x="3485" y="21568"/>
                    <a:pt x="3419" y="21567"/>
                    <a:pt x="3353" y="21566"/>
                  </a:cubicBezTo>
                  <a:cubicBezTo>
                    <a:pt x="3262" y="21565"/>
                    <a:pt x="3171" y="21564"/>
                    <a:pt x="3124" y="21563"/>
                  </a:cubicBezTo>
                  <a:cubicBezTo>
                    <a:pt x="3084" y="21374"/>
                    <a:pt x="3084" y="21374"/>
                    <a:pt x="3084" y="21374"/>
                  </a:cubicBezTo>
                  <a:cubicBezTo>
                    <a:pt x="3585" y="21366"/>
                    <a:pt x="3585" y="21366"/>
                    <a:pt x="3585" y="21366"/>
                  </a:cubicBezTo>
                  <a:cubicBezTo>
                    <a:pt x="3608" y="21376"/>
                    <a:pt x="3933" y="21505"/>
                    <a:pt x="3973" y="21520"/>
                  </a:cubicBezTo>
                  <a:cubicBezTo>
                    <a:pt x="3973" y="21539"/>
                    <a:pt x="3973" y="21552"/>
                    <a:pt x="3973" y="21555"/>
                  </a:cubicBezTo>
                  <a:cubicBezTo>
                    <a:pt x="3962" y="21600"/>
                    <a:pt x="3962" y="21600"/>
                    <a:pt x="3962" y="21600"/>
                  </a:cubicBezTo>
                  <a:cubicBezTo>
                    <a:pt x="3976" y="21600"/>
                    <a:pt x="3976" y="21600"/>
                    <a:pt x="3976" y="21600"/>
                  </a:cubicBezTo>
                  <a:cubicBezTo>
                    <a:pt x="3986" y="21557"/>
                    <a:pt x="3986" y="21557"/>
                    <a:pt x="3986" y="21557"/>
                  </a:cubicBezTo>
                  <a:cubicBezTo>
                    <a:pt x="3986" y="21556"/>
                    <a:pt x="3986" y="21556"/>
                    <a:pt x="3986" y="21556"/>
                  </a:cubicBezTo>
                  <a:cubicBezTo>
                    <a:pt x="3986" y="21556"/>
                    <a:pt x="3987" y="21544"/>
                    <a:pt x="3987" y="21523"/>
                  </a:cubicBezTo>
                  <a:cubicBezTo>
                    <a:pt x="4022" y="21529"/>
                    <a:pt x="4150" y="21546"/>
                    <a:pt x="4278" y="21563"/>
                  </a:cubicBezTo>
                  <a:cubicBezTo>
                    <a:pt x="4398" y="21578"/>
                    <a:pt x="4518" y="21594"/>
                    <a:pt x="4558" y="21599"/>
                  </a:cubicBezTo>
                  <a:cubicBezTo>
                    <a:pt x="4558" y="21600"/>
                    <a:pt x="4558" y="21600"/>
                    <a:pt x="4558" y="21600"/>
                  </a:cubicBezTo>
                  <a:cubicBezTo>
                    <a:pt x="4711" y="21600"/>
                    <a:pt x="4711" y="21600"/>
                    <a:pt x="4711" y="21600"/>
                  </a:cubicBezTo>
                  <a:cubicBezTo>
                    <a:pt x="4927" y="19907"/>
                    <a:pt x="4927" y="19907"/>
                    <a:pt x="4927" y="19907"/>
                  </a:cubicBezTo>
                  <a:cubicBezTo>
                    <a:pt x="4991" y="19895"/>
                    <a:pt x="4991" y="19895"/>
                    <a:pt x="4991" y="19895"/>
                  </a:cubicBezTo>
                  <a:cubicBezTo>
                    <a:pt x="4980" y="19986"/>
                    <a:pt x="4959" y="20149"/>
                    <a:pt x="4932" y="20362"/>
                  </a:cubicBezTo>
                  <a:cubicBezTo>
                    <a:pt x="4891" y="20688"/>
                    <a:pt x="4835" y="21129"/>
                    <a:pt x="4775" y="21600"/>
                  </a:cubicBezTo>
                  <a:cubicBezTo>
                    <a:pt x="4929" y="21600"/>
                    <a:pt x="4929" y="21600"/>
                    <a:pt x="4929" y="21600"/>
                  </a:cubicBezTo>
                  <a:cubicBezTo>
                    <a:pt x="4936" y="21547"/>
                    <a:pt x="4942" y="21495"/>
                    <a:pt x="4949" y="21443"/>
                  </a:cubicBezTo>
                  <a:cubicBezTo>
                    <a:pt x="5519" y="21527"/>
                    <a:pt x="5519" y="21527"/>
                    <a:pt x="5519" y="21527"/>
                  </a:cubicBezTo>
                  <a:cubicBezTo>
                    <a:pt x="5511" y="21600"/>
                    <a:pt x="5511" y="21600"/>
                    <a:pt x="5511" y="21600"/>
                  </a:cubicBezTo>
                  <a:cubicBezTo>
                    <a:pt x="5577" y="21600"/>
                    <a:pt x="5577" y="21600"/>
                    <a:pt x="5577" y="21600"/>
                  </a:cubicBezTo>
                  <a:cubicBezTo>
                    <a:pt x="5579" y="21579"/>
                    <a:pt x="5579" y="21579"/>
                    <a:pt x="5579" y="21579"/>
                  </a:cubicBezTo>
                  <a:cubicBezTo>
                    <a:pt x="5583" y="21580"/>
                    <a:pt x="5586" y="21580"/>
                    <a:pt x="5590" y="21581"/>
                  </a:cubicBezTo>
                  <a:cubicBezTo>
                    <a:pt x="5611" y="21584"/>
                    <a:pt x="5640" y="21589"/>
                    <a:pt x="5674" y="21594"/>
                  </a:cubicBezTo>
                  <a:cubicBezTo>
                    <a:pt x="5688" y="21596"/>
                    <a:pt x="5704" y="21598"/>
                    <a:pt x="5719" y="21600"/>
                  </a:cubicBezTo>
                  <a:cubicBezTo>
                    <a:pt x="6047" y="21600"/>
                    <a:pt x="6047" y="21600"/>
                    <a:pt x="6047" y="21600"/>
                  </a:cubicBezTo>
                  <a:cubicBezTo>
                    <a:pt x="5929" y="21584"/>
                    <a:pt x="5790" y="21565"/>
                    <a:pt x="5690" y="21551"/>
                  </a:cubicBezTo>
                  <a:cubicBezTo>
                    <a:pt x="5644" y="21544"/>
                    <a:pt x="5606" y="21538"/>
                    <a:pt x="5584" y="21534"/>
                  </a:cubicBezTo>
                  <a:cubicBezTo>
                    <a:pt x="5737" y="20024"/>
                    <a:pt x="5737" y="20024"/>
                    <a:pt x="5737" y="20024"/>
                  </a:cubicBezTo>
                  <a:cubicBezTo>
                    <a:pt x="5864" y="20028"/>
                    <a:pt x="6370" y="20046"/>
                    <a:pt x="6834" y="20063"/>
                  </a:cubicBezTo>
                  <a:cubicBezTo>
                    <a:pt x="6295" y="21600"/>
                    <a:pt x="6295" y="21600"/>
                    <a:pt x="6295" y="21600"/>
                  </a:cubicBezTo>
                  <a:cubicBezTo>
                    <a:pt x="6343" y="21600"/>
                    <a:pt x="6343" y="21600"/>
                    <a:pt x="6343" y="21600"/>
                  </a:cubicBezTo>
                  <a:cubicBezTo>
                    <a:pt x="6882" y="20065"/>
                    <a:pt x="6882" y="20065"/>
                    <a:pt x="6882" y="20065"/>
                  </a:cubicBezTo>
                  <a:cubicBezTo>
                    <a:pt x="7280" y="20079"/>
                    <a:pt x="7636" y="20092"/>
                    <a:pt x="7676" y="20093"/>
                  </a:cubicBezTo>
                  <a:cubicBezTo>
                    <a:pt x="7676" y="20093"/>
                    <a:pt x="7677" y="20093"/>
                    <a:pt x="7677" y="20093"/>
                  </a:cubicBezTo>
                  <a:cubicBezTo>
                    <a:pt x="7678" y="20093"/>
                    <a:pt x="7679" y="20093"/>
                    <a:pt x="7679" y="20093"/>
                  </a:cubicBezTo>
                  <a:cubicBezTo>
                    <a:pt x="7680" y="20094"/>
                    <a:pt x="7682" y="20094"/>
                    <a:pt x="7683" y="20094"/>
                  </a:cubicBezTo>
                  <a:cubicBezTo>
                    <a:pt x="7687" y="20094"/>
                    <a:pt x="7691" y="20094"/>
                    <a:pt x="7697" y="20094"/>
                  </a:cubicBezTo>
                  <a:cubicBezTo>
                    <a:pt x="7702" y="20094"/>
                    <a:pt x="7708" y="20095"/>
                    <a:pt x="7714" y="20095"/>
                  </a:cubicBezTo>
                  <a:cubicBezTo>
                    <a:pt x="7416" y="21445"/>
                    <a:pt x="7416" y="21445"/>
                    <a:pt x="7416" y="21445"/>
                  </a:cubicBezTo>
                  <a:cubicBezTo>
                    <a:pt x="7415" y="21447"/>
                    <a:pt x="7412" y="21460"/>
                    <a:pt x="7412" y="21479"/>
                  </a:cubicBezTo>
                  <a:cubicBezTo>
                    <a:pt x="7412" y="21508"/>
                    <a:pt x="7420" y="21555"/>
                    <a:pt x="7455" y="21600"/>
                  </a:cubicBezTo>
                  <a:cubicBezTo>
                    <a:pt x="7550" y="21600"/>
                    <a:pt x="7550" y="21600"/>
                    <a:pt x="7550" y="21600"/>
                  </a:cubicBezTo>
                  <a:cubicBezTo>
                    <a:pt x="7536" y="21591"/>
                    <a:pt x="7525" y="21581"/>
                    <a:pt x="7516" y="21571"/>
                  </a:cubicBezTo>
                  <a:cubicBezTo>
                    <a:pt x="7483" y="21535"/>
                    <a:pt x="7478" y="21500"/>
                    <a:pt x="7478" y="21479"/>
                  </a:cubicBezTo>
                  <a:cubicBezTo>
                    <a:pt x="7478" y="21470"/>
                    <a:pt x="7479" y="21463"/>
                    <a:pt x="7479" y="21462"/>
                  </a:cubicBezTo>
                  <a:cubicBezTo>
                    <a:pt x="7479" y="21462"/>
                    <a:pt x="7479" y="21461"/>
                    <a:pt x="7480" y="21460"/>
                  </a:cubicBezTo>
                  <a:cubicBezTo>
                    <a:pt x="7780" y="20099"/>
                    <a:pt x="7780" y="20099"/>
                    <a:pt x="7780" y="20099"/>
                  </a:cubicBezTo>
                  <a:cubicBezTo>
                    <a:pt x="7810" y="20101"/>
                    <a:pt x="7841" y="20104"/>
                    <a:pt x="7868" y="20108"/>
                  </a:cubicBezTo>
                  <a:cubicBezTo>
                    <a:pt x="7933" y="20117"/>
                    <a:pt x="9332" y="20325"/>
                    <a:pt x="10026" y="20429"/>
                  </a:cubicBezTo>
                  <a:cubicBezTo>
                    <a:pt x="10258" y="20463"/>
                    <a:pt x="10411" y="20486"/>
                    <a:pt x="10411" y="20486"/>
                  </a:cubicBezTo>
                  <a:cubicBezTo>
                    <a:pt x="10412" y="20486"/>
                    <a:pt x="10412" y="20486"/>
                    <a:pt x="10412" y="20486"/>
                  </a:cubicBezTo>
                  <a:cubicBezTo>
                    <a:pt x="10414" y="20486"/>
                    <a:pt x="10414" y="20486"/>
                    <a:pt x="10414" y="20486"/>
                  </a:cubicBezTo>
                  <a:cubicBezTo>
                    <a:pt x="10414" y="20486"/>
                    <a:pt x="10415" y="20486"/>
                    <a:pt x="10420" y="20487"/>
                  </a:cubicBezTo>
                  <a:cubicBezTo>
                    <a:pt x="10424" y="20488"/>
                    <a:pt x="10430" y="20488"/>
                    <a:pt x="10439" y="20490"/>
                  </a:cubicBezTo>
                  <a:cubicBezTo>
                    <a:pt x="10455" y="20492"/>
                    <a:pt x="10480" y="20497"/>
                    <a:pt x="10508" y="20503"/>
                  </a:cubicBezTo>
                  <a:cubicBezTo>
                    <a:pt x="10566" y="20516"/>
                    <a:pt x="10642" y="20537"/>
                    <a:pt x="10713" y="20569"/>
                  </a:cubicBezTo>
                  <a:cubicBezTo>
                    <a:pt x="10786" y="20602"/>
                    <a:pt x="10969" y="20699"/>
                    <a:pt x="11148" y="20799"/>
                  </a:cubicBezTo>
                  <a:cubicBezTo>
                    <a:pt x="11327" y="20899"/>
                    <a:pt x="11507" y="21002"/>
                    <a:pt x="11579" y="21047"/>
                  </a:cubicBezTo>
                  <a:cubicBezTo>
                    <a:pt x="12441" y="21600"/>
                    <a:pt x="12441" y="21600"/>
                    <a:pt x="12441" y="21600"/>
                  </a:cubicBezTo>
                  <a:cubicBezTo>
                    <a:pt x="12718" y="21600"/>
                    <a:pt x="12718" y="21600"/>
                    <a:pt x="12718" y="21600"/>
                  </a:cubicBezTo>
                  <a:cubicBezTo>
                    <a:pt x="12699" y="21587"/>
                    <a:pt x="12699" y="21587"/>
                    <a:pt x="12699" y="21587"/>
                  </a:cubicBezTo>
                  <a:cubicBezTo>
                    <a:pt x="12960" y="21043"/>
                    <a:pt x="13191" y="20549"/>
                    <a:pt x="13252" y="20418"/>
                  </a:cubicBezTo>
                  <a:cubicBezTo>
                    <a:pt x="13257" y="20421"/>
                    <a:pt x="13262" y="20424"/>
                    <a:pt x="13266" y="20427"/>
                  </a:cubicBezTo>
                  <a:cubicBezTo>
                    <a:pt x="13326" y="20464"/>
                    <a:pt x="13397" y="20523"/>
                    <a:pt x="13446" y="20609"/>
                  </a:cubicBezTo>
                  <a:cubicBezTo>
                    <a:pt x="13499" y="20701"/>
                    <a:pt x="13538" y="20766"/>
                    <a:pt x="13592" y="20822"/>
                  </a:cubicBezTo>
                  <a:cubicBezTo>
                    <a:pt x="13647" y="20878"/>
                    <a:pt x="13714" y="20921"/>
                    <a:pt x="13820" y="20969"/>
                  </a:cubicBezTo>
                  <a:cubicBezTo>
                    <a:pt x="14027" y="21062"/>
                    <a:pt x="15218" y="21563"/>
                    <a:pt x="15273" y="21585"/>
                  </a:cubicBezTo>
                  <a:cubicBezTo>
                    <a:pt x="15273" y="21585"/>
                    <a:pt x="15274" y="21586"/>
                    <a:pt x="15275" y="21587"/>
                  </a:cubicBezTo>
                  <a:cubicBezTo>
                    <a:pt x="15278" y="21588"/>
                    <a:pt x="15281" y="21591"/>
                    <a:pt x="15286" y="21594"/>
                  </a:cubicBezTo>
                  <a:cubicBezTo>
                    <a:pt x="15289" y="21596"/>
                    <a:pt x="15292" y="21598"/>
                    <a:pt x="15295" y="21600"/>
                  </a:cubicBezTo>
                  <a:cubicBezTo>
                    <a:pt x="15408" y="21600"/>
                    <a:pt x="15408" y="21600"/>
                    <a:pt x="15408" y="21600"/>
                  </a:cubicBezTo>
                  <a:cubicBezTo>
                    <a:pt x="15364" y="21568"/>
                    <a:pt x="15329" y="21543"/>
                    <a:pt x="15312" y="21532"/>
                  </a:cubicBezTo>
                  <a:cubicBezTo>
                    <a:pt x="15307" y="21529"/>
                    <a:pt x="15305" y="21528"/>
                    <a:pt x="15299" y="21525"/>
                  </a:cubicBezTo>
                  <a:cubicBezTo>
                    <a:pt x="15280" y="21517"/>
                    <a:pt x="14054" y="21002"/>
                    <a:pt x="13847" y="20909"/>
                  </a:cubicBezTo>
                  <a:cubicBezTo>
                    <a:pt x="13745" y="20863"/>
                    <a:pt x="13686" y="20825"/>
                    <a:pt x="13639" y="20777"/>
                  </a:cubicBezTo>
                  <a:cubicBezTo>
                    <a:pt x="13593" y="20729"/>
                    <a:pt x="13556" y="20668"/>
                    <a:pt x="13503" y="20576"/>
                  </a:cubicBezTo>
                  <a:cubicBezTo>
                    <a:pt x="13439" y="20466"/>
                    <a:pt x="13347" y="20397"/>
                    <a:pt x="13278" y="20357"/>
                  </a:cubicBezTo>
                  <a:cubicBezTo>
                    <a:pt x="13978" y="18345"/>
                    <a:pt x="13978" y="18345"/>
                    <a:pt x="13978" y="18345"/>
                  </a:cubicBezTo>
                  <a:cubicBezTo>
                    <a:pt x="14414" y="18392"/>
                    <a:pt x="14414" y="18392"/>
                    <a:pt x="14414" y="18392"/>
                  </a:cubicBezTo>
                  <a:cubicBezTo>
                    <a:pt x="14414" y="18392"/>
                    <a:pt x="14415" y="18393"/>
                    <a:pt x="14416" y="18393"/>
                  </a:cubicBezTo>
                  <a:cubicBezTo>
                    <a:pt x="14420" y="18396"/>
                    <a:pt x="14427" y="18399"/>
                    <a:pt x="14435" y="18403"/>
                  </a:cubicBezTo>
                  <a:cubicBezTo>
                    <a:pt x="14451" y="18411"/>
                    <a:pt x="14475" y="18423"/>
                    <a:pt x="14505" y="18438"/>
                  </a:cubicBezTo>
                  <a:cubicBezTo>
                    <a:pt x="14565" y="18468"/>
                    <a:pt x="14651" y="18510"/>
                    <a:pt x="14754" y="18561"/>
                  </a:cubicBezTo>
                  <a:cubicBezTo>
                    <a:pt x="14960" y="18664"/>
                    <a:pt x="15233" y="18801"/>
                    <a:pt x="15505" y="18946"/>
                  </a:cubicBezTo>
                  <a:cubicBezTo>
                    <a:pt x="15744" y="19073"/>
                    <a:pt x="15982" y="19215"/>
                    <a:pt x="16172" y="19327"/>
                  </a:cubicBezTo>
                  <a:cubicBezTo>
                    <a:pt x="16639" y="19603"/>
                    <a:pt x="17019" y="19978"/>
                    <a:pt x="17179" y="20148"/>
                  </a:cubicBezTo>
                  <a:cubicBezTo>
                    <a:pt x="17232" y="20205"/>
                    <a:pt x="17261" y="20238"/>
                    <a:pt x="17261" y="20238"/>
                  </a:cubicBezTo>
                  <a:cubicBezTo>
                    <a:pt x="17262" y="20239"/>
                    <a:pt x="17262" y="20239"/>
                    <a:pt x="17262" y="20239"/>
                  </a:cubicBezTo>
                  <a:cubicBezTo>
                    <a:pt x="17262" y="20239"/>
                    <a:pt x="17262" y="20239"/>
                    <a:pt x="17262" y="20239"/>
                  </a:cubicBezTo>
                  <a:cubicBezTo>
                    <a:pt x="17294" y="20273"/>
                    <a:pt x="17334" y="20319"/>
                    <a:pt x="17383" y="20370"/>
                  </a:cubicBezTo>
                  <a:cubicBezTo>
                    <a:pt x="17357" y="20394"/>
                    <a:pt x="17264" y="20479"/>
                    <a:pt x="17164" y="20592"/>
                  </a:cubicBezTo>
                  <a:cubicBezTo>
                    <a:pt x="17046" y="20726"/>
                    <a:pt x="16917" y="20896"/>
                    <a:pt x="16875" y="21058"/>
                  </a:cubicBezTo>
                  <a:cubicBezTo>
                    <a:pt x="16835" y="21214"/>
                    <a:pt x="16840" y="21342"/>
                    <a:pt x="16810" y="21455"/>
                  </a:cubicBezTo>
                  <a:cubicBezTo>
                    <a:pt x="16797" y="21505"/>
                    <a:pt x="16779" y="21552"/>
                    <a:pt x="16747" y="21600"/>
                  </a:cubicBezTo>
                  <a:cubicBezTo>
                    <a:pt x="16823" y="21600"/>
                    <a:pt x="16823" y="21600"/>
                    <a:pt x="16823" y="21600"/>
                  </a:cubicBezTo>
                  <a:cubicBezTo>
                    <a:pt x="16847" y="21558"/>
                    <a:pt x="16863" y="21515"/>
                    <a:pt x="16874" y="21471"/>
                  </a:cubicBezTo>
                  <a:cubicBezTo>
                    <a:pt x="16906" y="21345"/>
                    <a:pt x="16901" y="21220"/>
                    <a:pt x="16938" y="21074"/>
                  </a:cubicBezTo>
                  <a:cubicBezTo>
                    <a:pt x="16991" y="20862"/>
                    <a:pt x="17244" y="20593"/>
                    <a:pt x="17367" y="20475"/>
                  </a:cubicBezTo>
                  <a:cubicBezTo>
                    <a:pt x="17399" y="20445"/>
                    <a:pt x="17421" y="20425"/>
                    <a:pt x="17429" y="20417"/>
                  </a:cubicBezTo>
                  <a:cubicBezTo>
                    <a:pt x="17559" y="20545"/>
                    <a:pt x="17744" y="20698"/>
                    <a:pt x="18008" y="20813"/>
                  </a:cubicBezTo>
                  <a:cubicBezTo>
                    <a:pt x="18008" y="20741"/>
                    <a:pt x="18008" y="20741"/>
                    <a:pt x="18008" y="20741"/>
                  </a:cubicBezTo>
                  <a:cubicBezTo>
                    <a:pt x="17771" y="20633"/>
                    <a:pt x="17602" y="20495"/>
                    <a:pt x="17481" y="20376"/>
                  </a:cubicBezTo>
                  <a:cubicBezTo>
                    <a:pt x="17575" y="20300"/>
                    <a:pt x="17793" y="20125"/>
                    <a:pt x="18008" y="19949"/>
                  </a:cubicBezTo>
                  <a:lnTo>
                    <a:pt x="18008" y="19864"/>
                  </a:lnTo>
                  <a:close/>
                  <a:moveTo>
                    <a:pt x="2977" y="18242"/>
                  </a:moveTo>
                  <a:cubicBezTo>
                    <a:pt x="2979" y="18243"/>
                    <a:pt x="2982" y="18244"/>
                    <a:pt x="2984" y="18246"/>
                  </a:cubicBezTo>
                  <a:cubicBezTo>
                    <a:pt x="3014" y="18263"/>
                    <a:pt x="3056" y="18286"/>
                    <a:pt x="3103" y="18314"/>
                  </a:cubicBezTo>
                  <a:cubicBezTo>
                    <a:pt x="3198" y="18370"/>
                    <a:pt x="3316" y="18442"/>
                    <a:pt x="3403" y="18507"/>
                  </a:cubicBezTo>
                  <a:cubicBezTo>
                    <a:pt x="3461" y="18549"/>
                    <a:pt x="3507" y="18592"/>
                    <a:pt x="3518" y="18609"/>
                  </a:cubicBezTo>
                  <a:cubicBezTo>
                    <a:pt x="3548" y="18655"/>
                    <a:pt x="3573" y="18731"/>
                    <a:pt x="3587" y="18806"/>
                  </a:cubicBezTo>
                  <a:cubicBezTo>
                    <a:pt x="3601" y="18876"/>
                    <a:pt x="3607" y="18946"/>
                    <a:pt x="3607" y="18991"/>
                  </a:cubicBezTo>
                  <a:cubicBezTo>
                    <a:pt x="3606" y="18987"/>
                    <a:pt x="3605" y="18984"/>
                    <a:pt x="3604" y="18982"/>
                  </a:cubicBezTo>
                  <a:cubicBezTo>
                    <a:pt x="3591" y="18945"/>
                    <a:pt x="3567" y="18880"/>
                    <a:pt x="3542" y="18815"/>
                  </a:cubicBezTo>
                  <a:cubicBezTo>
                    <a:pt x="3516" y="18749"/>
                    <a:pt x="3489" y="18685"/>
                    <a:pt x="3467" y="18645"/>
                  </a:cubicBezTo>
                  <a:cubicBezTo>
                    <a:pt x="3427" y="18571"/>
                    <a:pt x="3377" y="18504"/>
                    <a:pt x="3307" y="18458"/>
                  </a:cubicBezTo>
                  <a:cubicBezTo>
                    <a:pt x="3286" y="18444"/>
                    <a:pt x="3256" y="18428"/>
                    <a:pt x="3215" y="18408"/>
                  </a:cubicBezTo>
                  <a:cubicBezTo>
                    <a:pt x="3175" y="18387"/>
                    <a:pt x="3128" y="18364"/>
                    <a:pt x="3082" y="18342"/>
                  </a:cubicBezTo>
                  <a:cubicBezTo>
                    <a:pt x="3034" y="18319"/>
                    <a:pt x="2987" y="18297"/>
                    <a:pt x="2955" y="18281"/>
                  </a:cubicBezTo>
                  <a:cubicBezTo>
                    <a:pt x="2963" y="18268"/>
                    <a:pt x="2970" y="18255"/>
                    <a:pt x="2977" y="18242"/>
                  </a:cubicBezTo>
                  <a:close/>
                  <a:moveTo>
                    <a:pt x="2289" y="19567"/>
                  </a:moveTo>
                  <a:cubicBezTo>
                    <a:pt x="2289" y="19570"/>
                    <a:pt x="2289" y="19575"/>
                    <a:pt x="2290" y="19579"/>
                  </a:cubicBezTo>
                  <a:cubicBezTo>
                    <a:pt x="2292" y="19604"/>
                    <a:pt x="2298" y="19654"/>
                    <a:pt x="2306" y="19706"/>
                  </a:cubicBezTo>
                  <a:cubicBezTo>
                    <a:pt x="763" y="20095"/>
                    <a:pt x="763" y="20095"/>
                    <a:pt x="763" y="20095"/>
                  </a:cubicBezTo>
                  <a:cubicBezTo>
                    <a:pt x="671" y="19892"/>
                    <a:pt x="592" y="19718"/>
                    <a:pt x="560" y="19649"/>
                  </a:cubicBezTo>
                  <a:cubicBezTo>
                    <a:pt x="575" y="19642"/>
                    <a:pt x="590" y="19635"/>
                    <a:pt x="607" y="19628"/>
                  </a:cubicBezTo>
                  <a:cubicBezTo>
                    <a:pt x="720" y="19578"/>
                    <a:pt x="862" y="19516"/>
                    <a:pt x="977" y="19471"/>
                  </a:cubicBezTo>
                  <a:cubicBezTo>
                    <a:pt x="1078" y="19430"/>
                    <a:pt x="1266" y="19358"/>
                    <a:pt x="1453" y="19283"/>
                  </a:cubicBezTo>
                  <a:cubicBezTo>
                    <a:pt x="1641" y="19207"/>
                    <a:pt x="1829" y="19129"/>
                    <a:pt x="1937" y="19073"/>
                  </a:cubicBezTo>
                  <a:cubicBezTo>
                    <a:pt x="1969" y="19057"/>
                    <a:pt x="1993" y="19043"/>
                    <a:pt x="2014" y="19028"/>
                  </a:cubicBezTo>
                  <a:cubicBezTo>
                    <a:pt x="2053" y="18998"/>
                    <a:pt x="2097" y="18950"/>
                    <a:pt x="2151" y="18888"/>
                  </a:cubicBezTo>
                  <a:cubicBezTo>
                    <a:pt x="2204" y="18827"/>
                    <a:pt x="2263" y="18755"/>
                    <a:pt x="2318" y="18685"/>
                  </a:cubicBezTo>
                  <a:cubicBezTo>
                    <a:pt x="2413" y="18567"/>
                    <a:pt x="2497" y="18456"/>
                    <a:pt x="2520" y="18425"/>
                  </a:cubicBezTo>
                  <a:cubicBezTo>
                    <a:pt x="2560" y="18440"/>
                    <a:pt x="2603" y="18449"/>
                    <a:pt x="2648" y="18449"/>
                  </a:cubicBezTo>
                  <a:cubicBezTo>
                    <a:pt x="2718" y="18449"/>
                    <a:pt x="2783" y="18429"/>
                    <a:pt x="2838" y="18395"/>
                  </a:cubicBezTo>
                  <a:cubicBezTo>
                    <a:pt x="2859" y="18405"/>
                    <a:pt x="2908" y="18428"/>
                    <a:pt x="2951" y="18448"/>
                  </a:cubicBezTo>
                  <a:cubicBezTo>
                    <a:pt x="3012" y="18477"/>
                    <a:pt x="3088" y="18514"/>
                    <a:pt x="3146" y="18544"/>
                  </a:cubicBezTo>
                  <a:cubicBezTo>
                    <a:pt x="3184" y="18563"/>
                    <a:pt x="3216" y="18580"/>
                    <a:pt x="3223" y="18585"/>
                  </a:cubicBezTo>
                  <a:cubicBezTo>
                    <a:pt x="3264" y="18612"/>
                    <a:pt x="3300" y="18656"/>
                    <a:pt x="3333" y="18718"/>
                  </a:cubicBezTo>
                  <a:cubicBezTo>
                    <a:pt x="3348" y="18744"/>
                    <a:pt x="3375" y="18808"/>
                    <a:pt x="3400" y="18871"/>
                  </a:cubicBezTo>
                  <a:cubicBezTo>
                    <a:pt x="3425" y="18934"/>
                    <a:pt x="3448" y="18998"/>
                    <a:pt x="3460" y="19032"/>
                  </a:cubicBezTo>
                  <a:cubicBezTo>
                    <a:pt x="3471" y="19062"/>
                    <a:pt x="3503" y="19144"/>
                    <a:pt x="3543" y="19243"/>
                  </a:cubicBezTo>
                  <a:cubicBezTo>
                    <a:pt x="3582" y="19341"/>
                    <a:pt x="3629" y="19453"/>
                    <a:pt x="3667" y="19540"/>
                  </a:cubicBezTo>
                  <a:cubicBezTo>
                    <a:pt x="3692" y="19598"/>
                    <a:pt x="3712" y="19641"/>
                    <a:pt x="3727" y="19668"/>
                  </a:cubicBezTo>
                  <a:cubicBezTo>
                    <a:pt x="3746" y="19700"/>
                    <a:pt x="3768" y="19737"/>
                    <a:pt x="3792" y="19774"/>
                  </a:cubicBezTo>
                  <a:cubicBezTo>
                    <a:pt x="3762" y="19783"/>
                    <a:pt x="3722" y="19796"/>
                    <a:pt x="3677" y="19808"/>
                  </a:cubicBezTo>
                  <a:cubicBezTo>
                    <a:pt x="3587" y="19834"/>
                    <a:pt x="3479" y="19859"/>
                    <a:pt x="3423" y="19859"/>
                  </a:cubicBezTo>
                  <a:cubicBezTo>
                    <a:pt x="3417" y="19859"/>
                    <a:pt x="3412" y="19858"/>
                    <a:pt x="3407" y="19858"/>
                  </a:cubicBezTo>
                  <a:cubicBezTo>
                    <a:pt x="3361" y="19853"/>
                    <a:pt x="3291" y="19835"/>
                    <a:pt x="3231" y="19817"/>
                  </a:cubicBezTo>
                  <a:cubicBezTo>
                    <a:pt x="3187" y="19803"/>
                    <a:pt x="3145" y="19788"/>
                    <a:pt x="3124" y="19780"/>
                  </a:cubicBezTo>
                  <a:cubicBezTo>
                    <a:pt x="3131" y="19767"/>
                    <a:pt x="3136" y="19753"/>
                    <a:pt x="3138" y="19740"/>
                  </a:cubicBezTo>
                  <a:cubicBezTo>
                    <a:pt x="3141" y="19723"/>
                    <a:pt x="3142" y="19703"/>
                    <a:pt x="3142" y="19682"/>
                  </a:cubicBezTo>
                  <a:cubicBezTo>
                    <a:pt x="3141" y="19615"/>
                    <a:pt x="3133" y="19533"/>
                    <a:pt x="3107" y="19480"/>
                  </a:cubicBezTo>
                  <a:cubicBezTo>
                    <a:pt x="3077" y="19418"/>
                    <a:pt x="3017" y="19351"/>
                    <a:pt x="2900" y="19344"/>
                  </a:cubicBezTo>
                  <a:cubicBezTo>
                    <a:pt x="2887" y="19343"/>
                    <a:pt x="2871" y="19342"/>
                    <a:pt x="2855" y="19342"/>
                  </a:cubicBezTo>
                  <a:cubicBezTo>
                    <a:pt x="2732" y="19342"/>
                    <a:pt x="2535" y="19367"/>
                    <a:pt x="2440" y="19394"/>
                  </a:cubicBezTo>
                  <a:cubicBezTo>
                    <a:pt x="2332" y="19422"/>
                    <a:pt x="2288" y="19502"/>
                    <a:pt x="2289" y="19567"/>
                  </a:cubicBezTo>
                  <a:close/>
                  <a:moveTo>
                    <a:pt x="2549" y="19903"/>
                  </a:moveTo>
                  <a:cubicBezTo>
                    <a:pt x="2544" y="19903"/>
                    <a:pt x="2540" y="19903"/>
                    <a:pt x="2535" y="19903"/>
                  </a:cubicBezTo>
                  <a:cubicBezTo>
                    <a:pt x="2464" y="19903"/>
                    <a:pt x="2420" y="19878"/>
                    <a:pt x="2405" y="19844"/>
                  </a:cubicBezTo>
                  <a:cubicBezTo>
                    <a:pt x="2396" y="19825"/>
                    <a:pt x="2383" y="19767"/>
                    <a:pt x="2374" y="19712"/>
                  </a:cubicBezTo>
                  <a:cubicBezTo>
                    <a:pt x="2364" y="19655"/>
                    <a:pt x="2357" y="19598"/>
                    <a:pt x="2355" y="19574"/>
                  </a:cubicBezTo>
                  <a:cubicBezTo>
                    <a:pt x="2355" y="19572"/>
                    <a:pt x="2355" y="19569"/>
                    <a:pt x="2355" y="19567"/>
                  </a:cubicBezTo>
                  <a:cubicBezTo>
                    <a:pt x="2356" y="19528"/>
                    <a:pt x="2374" y="19482"/>
                    <a:pt x="2458" y="19457"/>
                  </a:cubicBezTo>
                  <a:cubicBezTo>
                    <a:pt x="2542" y="19433"/>
                    <a:pt x="2741" y="19407"/>
                    <a:pt x="2855" y="19408"/>
                  </a:cubicBezTo>
                  <a:cubicBezTo>
                    <a:pt x="2870" y="19408"/>
                    <a:pt x="2884" y="19408"/>
                    <a:pt x="2895" y="19409"/>
                  </a:cubicBezTo>
                  <a:cubicBezTo>
                    <a:pt x="2990" y="19418"/>
                    <a:pt x="3020" y="19457"/>
                    <a:pt x="3048" y="19509"/>
                  </a:cubicBezTo>
                  <a:cubicBezTo>
                    <a:pt x="3065" y="19542"/>
                    <a:pt x="3077" y="19622"/>
                    <a:pt x="3076" y="19682"/>
                  </a:cubicBezTo>
                  <a:cubicBezTo>
                    <a:pt x="3076" y="19701"/>
                    <a:pt x="3075" y="19718"/>
                    <a:pt x="3073" y="19731"/>
                  </a:cubicBezTo>
                  <a:cubicBezTo>
                    <a:pt x="3106" y="19735"/>
                    <a:pt x="3106" y="19735"/>
                    <a:pt x="3106" y="19735"/>
                  </a:cubicBezTo>
                  <a:cubicBezTo>
                    <a:pt x="3073" y="19731"/>
                    <a:pt x="3073" y="19731"/>
                    <a:pt x="3073" y="19731"/>
                  </a:cubicBezTo>
                  <a:cubicBezTo>
                    <a:pt x="3073" y="19741"/>
                    <a:pt x="3058" y="19772"/>
                    <a:pt x="3031" y="19799"/>
                  </a:cubicBezTo>
                  <a:cubicBezTo>
                    <a:pt x="3005" y="19827"/>
                    <a:pt x="2969" y="19854"/>
                    <a:pt x="2928" y="19868"/>
                  </a:cubicBezTo>
                  <a:cubicBezTo>
                    <a:pt x="2887" y="19882"/>
                    <a:pt x="2813" y="19891"/>
                    <a:pt x="2740" y="19895"/>
                  </a:cubicBezTo>
                  <a:cubicBezTo>
                    <a:pt x="2666" y="19900"/>
                    <a:pt x="2593" y="19900"/>
                    <a:pt x="2549" y="19903"/>
                  </a:cubicBezTo>
                  <a:close/>
                  <a:moveTo>
                    <a:pt x="3103" y="19832"/>
                  </a:moveTo>
                  <a:cubicBezTo>
                    <a:pt x="3099" y="19820"/>
                    <a:pt x="3099" y="19820"/>
                    <a:pt x="3099" y="19820"/>
                  </a:cubicBezTo>
                  <a:cubicBezTo>
                    <a:pt x="3099" y="19820"/>
                    <a:pt x="3099" y="19820"/>
                    <a:pt x="3099" y="19820"/>
                  </a:cubicBezTo>
                  <a:lnTo>
                    <a:pt x="3103" y="19832"/>
                  </a:lnTo>
                  <a:close/>
                  <a:moveTo>
                    <a:pt x="2785" y="19957"/>
                  </a:moveTo>
                  <a:cubicBezTo>
                    <a:pt x="2846" y="19952"/>
                    <a:pt x="2905" y="19945"/>
                    <a:pt x="2949" y="19930"/>
                  </a:cubicBezTo>
                  <a:cubicBezTo>
                    <a:pt x="3002" y="19911"/>
                    <a:pt x="3047" y="19878"/>
                    <a:pt x="3079" y="19844"/>
                  </a:cubicBezTo>
                  <a:cubicBezTo>
                    <a:pt x="3082" y="19841"/>
                    <a:pt x="3084" y="19838"/>
                    <a:pt x="3087" y="19835"/>
                  </a:cubicBezTo>
                  <a:cubicBezTo>
                    <a:pt x="3087" y="19835"/>
                    <a:pt x="3088" y="19836"/>
                    <a:pt x="3088" y="19836"/>
                  </a:cubicBezTo>
                  <a:cubicBezTo>
                    <a:pt x="3095" y="19839"/>
                    <a:pt x="3104" y="19842"/>
                    <a:pt x="3114" y="19846"/>
                  </a:cubicBezTo>
                  <a:cubicBezTo>
                    <a:pt x="3136" y="19854"/>
                    <a:pt x="3165" y="19864"/>
                    <a:pt x="3197" y="19875"/>
                  </a:cubicBezTo>
                  <a:cubicBezTo>
                    <a:pt x="3262" y="19895"/>
                    <a:pt x="3341" y="19917"/>
                    <a:pt x="3400" y="19923"/>
                  </a:cubicBezTo>
                  <a:cubicBezTo>
                    <a:pt x="3407" y="19924"/>
                    <a:pt x="3415" y="19924"/>
                    <a:pt x="3423" y="19924"/>
                  </a:cubicBezTo>
                  <a:cubicBezTo>
                    <a:pt x="3495" y="19924"/>
                    <a:pt x="3602" y="19897"/>
                    <a:pt x="3695" y="19871"/>
                  </a:cubicBezTo>
                  <a:cubicBezTo>
                    <a:pt x="3752" y="19855"/>
                    <a:pt x="3802" y="19840"/>
                    <a:pt x="3833" y="19830"/>
                  </a:cubicBezTo>
                  <a:cubicBezTo>
                    <a:pt x="3860" y="19865"/>
                    <a:pt x="3889" y="19896"/>
                    <a:pt x="3930" y="19919"/>
                  </a:cubicBezTo>
                  <a:cubicBezTo>
                    <a:pt x="3964" y="19937"/>
                    <a:pt x="3999" y="19944"/>
                    <a:pt x="4037" y="19949"/>
                  </a:cubicBezTo>
                  <a:cubicBezTo>
                    <a:pt x="4074" y="19954"/>
                    <a:pt x="4112" y="19955"/>
                    <a:pt x="4148" y="19955"/>
                  </a:cubicBezTo>
                  <a:cubicBezTo>
                    <a:pt x="4181" y="19955"/>
                    <a:pt x="4211" y="19954"/>
                    <a:pt x="4236" y="19952"/>
                  </a:cubicBezTo>
                  <a:cubicBezTo>
                    <a:pt x="4259" y="19950"/>
                    <a:pt x="4342" y="19946"/>
                    <a:pt x="4439" y="19941"/>
                  </a:cubicBezTo>
                  <a:cubicBezTo>
                    <a:pt x="4404" y="19976"/>
                    <a:pt x="4358" y="20021"/>
                    <a:pt x="4302" y="20068"/>
                  </a:cubicBezTo>
                  <a:cubicBezTo>
                    <a:pt x="4176" y="20175"/>
                    <a:pt x="4006" y="20291"/>
                    <a:pt x="3833" y="20332"/>
                  </a:cubicBezTo>
                  <a:cubicBezTo>
                    <a:pt x="3708" y="20361"/>
                    <a:pt x="3643" y="20361"/>
                    <a:pt x="3486" y="20376"/>
                  </a:cubicBezTo>
                  <a:cubicBezTo>
                    <a:pt x="3349" y="20389"/>
                    <a:pt x="3194" y="20402"/>
                    <a:pt x="3073" y="20411"/>
                  </a:cubicBezTo>
                  <a:cubicBezTo>
                    <a:pt x="2988" y="20418"/>
                    <a:pt x="2921" y="20423"/>
                    <a:pt x="2884" y="20426"/>
                  </a:cubicBezTo>
                  <a:lnTo>
                    <a:pt x="2785" y="19957"/>
                  </a:lnTo>
                  <a:close/>
                  <a:moveTo>
                    <a:pt x="2898" y="20491"/>
                  </a:moveTo>
                  <a:cubicBezTo>
                    <a:pt x="2904" y="20491"/>
                    <a:pt x="2911" y="20490"/>
                    <a:pt x="2918" y="20489"/>
                  </a:cubicBezTo>
                  <a:cubicBezTo>
                    <a:pt x="2956" y="20487"/>
                    <a:pt x="3008" y="20482"/>
                    <a:pt x="3070" y="20478"/>
                  </a:cubicBezTo>
                  <a:cubicBezTo>
                    <a:pt x="3193" y="20468"/>
                    <a:pt x="3351" y="20455"/>
                    <a:pt x="3492" y="20441"/>
                  </a:cubicBezTo>
                  <a:cubicBezTo>
                    <a:pt x="3600" y="20431"/>
                    <a:pt x="3667" y="20428"/>
                    <a:pt x="3743" y="20416"/>
                  </a:cubicBezTo>
                  <a:cubicBezTo>
                    <a:pt x="3825" y="20784"/>
                    <a:pt x="3825" y="20784"/>
                    <a:pt x="3825" y="20784"/>
                  </a:cubicBezTo>
                  <a:cubicBezTo>
                    <a:pt x="3823" y="20784"/>
                    <a:pt x="3820" y="20784"/>
                    <a:pt x="3818" y="20784"/>
                  </a:cubicBezTo>
                  <a:cubicBezTo>
                    <a:pt x="3450" y="20804"/>
                    <a:pt x="3310" y="20825"/>
                    <a:pt x="3309" y="20825"/>
                  </a:cubicBezTo>
                  <a:cubicBezTo>
                    <a:pt x="3295" y="20827"/>
                    <a:pt x="3295" y="20827"/>
                    <a:pt x="3295" y="20827"/>
                  </a:cubicBezTo>
                  <a:cubicBezTo>
                    <a:pt x="3299" y="20854"/>
                    <a:pt x="3299" y="20854"/>
                    <a:pt x="3299" y="20854"/>
                  </a:cubicBezTo>
                  <a:cubicBezTo>
                    <a:pt x="3289" y="20855"/>
                    <a:pt x="3274" y="20856"/>
                    <a:pt x="3257" y="20858"/>
                  </a:cubicBezTo>
                  <a:cubicBezTo>
                    <a:pt x="3223" y="20861"/>
                    <a:pt x="3176" y="20866"/>
                    <a:pt x="3130" y="20870"/>
                  </a:cubicBezTo>
                  <a:cubicBezTo>
                    <a:pt x="3073" y="20876"/>
                    <a:pt x="3016" y="20881"/>
                    <a:pt x="2981" y="20884"/>
                  </a:cubicBezTo>
                  <a:lnTo>
                    <a:pt x="2898" y="20491"/>
                  </a:lnTo>
                  <a:close/>
                  <a:moveTo>
                    <a:pt x="2984" y="20898"/>
                  </a:moveTo>
                  <a:cubicBezTo>
                    <a:pt x="3062" y="20891"/>
                    <a:pt x="3246" y="20873"/>
                    <a:pt x="3301" y="20868"/>
                  </a:cubicBezTo>
                  <a:cubicBezTo>
                    <a:pt x="3304" y="20892"/>
                    <a:pt x="3304" y="20892"/>
                    <a:pt x="3304" y="20892"/>
                  </a:cubicBezTo>
                  <a:cubicBezTo>
                    <a:pt x="3319" y="20890"/>
                    <a:pt x="3352" y="20885"/>
                    <a:pt x="3432" y="20877"/>
                  </a:cubicBezTo>
                  <a:cubicBezTo>
                    <a:pt x="3512" y="20870"/>
                    <a:pt x="3638" y="20860"/>
                    <a:pt x="3822" y="20850"/>
                  </a:cubicBezTo>
                  <a:cubicBezTo>
                    <a:pt x="3835" y="20849"/>
                    <a:pt x="3849" y="20848"/>
                    <a:pt x="3863" y="20848"/>
                  </a:cubicBezTo>
                  <a:cubicBezTo>
                    <a:pt x="3899" y="20848"/>
                    <a:pt x="3936" y="20851"/>
                    <a:pt x="3973" y="20855"/>
                  </a:cubicBezTo>
                  <a:cubicBezTo>
                    <a:pt x="3974" y="20867"/>
                    <a:pt x="3974" y="20881"/>
                    <a:pt x="3974" y="20899"/>
                  </a:cubicBezTo>
                  <a:cubicBezTo>
                    <a:pt x="3975" y="20941"/>
                    <a:pt x="3975" y="20998"/>
                    <a:pt x="3975" y="21060"/>
                  </a:cubicBezTo>
                  <a:cubicBezTo>
                    <a:pt x="3932" y="21058"/>
                    <a:pt x="3548" y="21046"/>
                    <a:pt x="3537" y="21046"/>
                  </a:cubicBezTo>
                  <a:cubicBezTo>
                    <a:pt x="3525" y="21046"/>
                    <a:pt x="3195" y="21054"/>
                    <a:pt x="3195" y="21054"/>
                  </a:cubicBezTo>
                  <a:cubicBezTo>
                    <a:pt x="3019" y="21064"/>
                    <a:pt x="3019" y="21064"/>
                    <a:pt x="3019" y="21064"/>
                  </a:cubicBezTo>
                  <a:lnTo>
                    <a:pt x="2984" y="20898"/>
                  </a:lnTo>
                  <a:close/>
                  <a:moveTo>
                    <a:pt x="3973" y="21505"/>
                  </a:moveTo>
                  <a:cubicBezTo>
                    <a:pt x="3917" y="21483"/>
                    <a:pt x="3589" y="21353"/>
                    <a:pt x="3589" y="21353"/>
                  </a:cubicBezTo>
                  <a:cubicBezTo>
                    <a:pt x="3587" y="21352"/>
                    <a:pt x="3587" y="21352"/>
                    <a:pt x="3587" y="21352"/>
                  </a:cubicBezTo>
                  <a:cubicBezTo>
                    <a:pt x="3081" y="21360"/>
                    <a:pt x="3081" y="21360"/>
                    <a:pt x="3081" y="21360"/>
                  </a:cubicBezTo>
                  <a:cubicBezTo>
                    <a:pt x="3055" y="21235"/>
                    <a:pt x="3055" y="21235"/>
                    <a:pt x="3055" y="21235"/>
                  </a:cubicBezTo>
                  <a:cubicBezTo>
                    <a:pt x="3604" y="21238"/>
                    <a:pt x="3604" y="21238"/>
                    <a:pt x="3604" y="21238"/>
                  </a:cubicBezTo>
                  <a:cubicBezTo>
                    <a:pt x="3975" y="21305"/>
                    <a:pt x="3975" y="21305"/>
                    <a:pt x="3975" y="21305"/>
                  </a:cubicBezTo>
                  <a:cubicBezTo>
                    <a:pt x="3974" y="21387"/>
                    <a:pt x="3974" y="21459"/>
                    <a:pt x="3973" y="21505"/>
                  </a:cubicBezTo>
                  <a:close/>
                  <a:moveTo>
                    <a:pt x="3975" y="21291"/>
                  </a:moveTo>
                  <a:cubicBezTo>
                    <a:pt x="3606" y="21224"/>
                    <a:pt x="3606" y="21224"/>
                    <a:pt x="3606" y="21224"/>
                  </a:cubicBezTo>
                  <a:cubicBezTo>
                    <a:pt x="3052" y="21221"/>
                    <a:pt x="3052" y="21221"/>
                    <a:pt x="3052" y="21221"/>
                  </a:cubicBezTo>
                  <a:cubicBezTo>
                    <a:pt x="3022" y="21078"/>
                    <a:pt x="3022" y="21078"/>
                    <a:pt x="3022" y="21078"/>
                  </a:cubicBezTo>
                  <a:cubicBezTo>
                    <a:pt x="3195" y="21068"/>
                    <a:pt x="3195" y="21068"/>
                    <a:pt x="3195" y="21068"/>
                  </a:cubicBezTo>
                  <a:cubicBezTo>
                    <a:pt x="3196" y="21068"/>
                    <a:pt x="3526" y="21060"/>
                    <a:pt x="3537" y="21060"/>
                  </a:cubicBezTo>
                  <a:cubicBezTo>
                    <a:pt x="3547" y="21060"/>
                    <a:pt x="3939" y="21073"/>
                    <a:pt x="3975" y="21074"/>
                  </a:cubicBezTo>
                  <a:cubicBezTo>
                    <a:pt x="3975" y="21075"/>
                    <a:pt x="3976" y="21077"/>
                    <a:pt x="3976" y="21079"/>
                  </a:cubicBezTo>
                  <a:cubicBezTo>
                    <a:pt x="3976" y="21148"/>
                    <a:pt x="3975" y="21222"/>
                    <a:pt x="3975" y="21291"/>
                  </a:cubicBezTo>
                  <a:close/>
                  <a:moveTo>
                    <a:pt x="4559" y="21586"/>
                  </a:moveTo>
                  <a:cubicBezTo>
                    <a:pt x="4520" y="21580"/>
                    <a:pt x="4400" y="21565"/>
                    <a:pt x="4280" y="21549"/>
                  </a:cubicBezTo>
                  <a:cubicBezTo>
                    <a:pt x="4148" y="21531"/>
                    <a:pt x="4014" y="21513"/>
                    <a:pt x="3987" y="21509"/>
                  </a:cubicBezTo>
                  <a:cubicBezTo>
                    <a:pt x="3987" y="21464"/>
                    <a:pt x="3988" y="21390"/>
                    <a:pt x="3989" y="21307"/>
                  </a:cubicBezTo>
                  <a:cubicBezTo>
                    <a:pt x="4058" y="21317"/>
                    <a:pt x="4475" y="21376"/>
                    <a:pt x="4584" y="21390"/>
                  </a:cubicBezTo>
                  <a:lnTo>
                    <a:pt x="4559" y="21586"/>
                  </a:lnTo>
                  <a:close/>
                  <a:moveTo>
                    <a:pt x="4586" y="21376"/>
                  </a:moveTo>
                  <a:cubicBezTo>
                    <a:pt x="4535" y="21370"/>
                    <a:pt x="4413" y="21353"/>
                    <a:pt x="4293" y="21336"/>
                  </a:cubicBezTo>
                  <a:cubicBezTo>
                    <a:pt x="4157" y="21317"/>
                    <a:pt x="4022" y="21298"/>
                    <a:pt x="3989" y="21293"/>
                  </a:cubicBezTo>
                  <a:cubicBezTo>
                    <a:pt x="3989" y="21224"/>
                    <a:pt x="3989" y="21148"/>
                    <a:pt x="3989" y="21079"/>
                  </a:cubicBezTo>
                  <a:cubicBezTo>
                    <a:pt x="3989" y="21078"/>
                    <a:pt x="3989" y="21077"/>
                    <a:pt x="3989" y="21075"/>
                  </a:cubicBezTo>
                  <a:cubicBezTo>
                    <a:pt x="4613" y="21169"/>
                    <a:pt x="4613" y="21169"/>
                    <a:pt x="4613" y="21169"/>
                  </a:cubicBezTo>
                  <a:lnTo>
                    <a:pt x="4586" y="21376"/>
                  </a:lnTo>
                  <a:close/>
                  <a:moveTo>
                    <a:pt x="4614" y="21156"/>
                  </a:moveTo>
                  <a:cubicBezTo>
                    <a:pt x="3989" y="21061"/>
                    <a:pt x="3989" y="21061"/>
                    <a:pt x="3989" y="21061"/>
                  </a:cubicBezTo>
                  <a:cubicBezTo>
                    <a:pt x="3989" y="20974"/>
                    <a:pt x="3989" y="20899"/>
                    <a:pt x="3987" y="20857"/>
                  </a:cubicBezTo>
                  <a:cubicBezTo>
                    <a:pt x="4216" y="20887"/>
                    <a:pt x="4456" y="20988"/>
                    <a:pt x="4573" y="21043"/>
                  </a:cubicBezTo>
                  <a:cubicBezTo>
                    <a:pt x="4595" y="21053"/>
                    <a:pt x="4613" y="21062"/>
                    <a:pt x="4625" y="21068"/>
                  </a:cubicBezTo>
                  <a:lnTo>
                    <a:pt x="4614" y="21156"/>
                  </a:lnTo>
                  <a:close/>
                  <a:moveTo>
                    <a:pt x="4634" y="20999"/>
                  </a:moveTo>
                  <a:cubicBezTo>
                    <a:pt x="4520" y="20943"/>
                    <a:pt x="4190" y="20793"/>
                    <a:pt x="3892" y="20783"/>
                  </a:cubicBezTo>
                  <a:cubicBezTo>
                    <a:pt x="3807" y="20405"/>
                    <a:pt x="3807" y="20405"/>
                    <a:pt x="3807" y="20405"/>
                  </a:cubicBezTo>
                  <a:cubicBezTo>
                    <a:pt x="3820" y="20402"/>
                    <a:pt x="3834" y="20399"/>
                    <a:pt x="3848" y="20396"/>
                  </a:cubicBezTo>
                  <a:cubicBezTo>
                    <a:pt x="4166" y="20319"/>
                    <a:pt x="4449" y="20029"/>
                    <a:pt x="4534" y="19936"/>
                  </a:cubicBezTo>
                  <a:cubicBezTo>
                    <a:pt x="4545" y="19936"/>
                    <a:pt x="4555" y="19935"/>
                    <a:pt x="4566" y="19934"/>
                  </a:cubicBezTo>
                  <a:cubicBezTo>
                    <a:pt x="4644" y="19931"/>
                    <a:pt x="4719" y="19927"/>
                    <a:pt x="4771" y="19925"/>
                  </a:cubicBezTo>
                  <a:lnTo>
                    <a:pt x="4634" y="20999"/>
                  </a:lnTo>
                  <a:close/>
                  <a:moveTo>
                    <a:pt x="4832" y="19769"/>
                  </a:moveTo>
                  <a:cubicBezTo>
                    <a:pt x="4807" y="19770"/>
                    <a:pt x="4687" y="19776"/>
                    <a:pt x="4559" y="19782"/>
                  </a:cubicBezTo>
                  <a:cubicBezTo>
                    <a:pt x="4443" y="19788"/>
                    <a:pt x="4323" y="19794"/>
                    <a:pt x="4259" y="19798"/>
                  </a:cubicBezTo>
                  <a:cubicBezTo>
                    <a:pt x="4606" y="18766"/>
                    <a:pt x="4606" y="18766"/>
                    <a:pt x="4606" y="18766"/>
                  </a:cubicBezTo>
                  <a:cubicBezTo>
                    <a:pt x="5091" y="19084"/>
                    <a:pt x="5091" y="19084"/>
                    <a:pt x="5091" y="19084"/>
                  </a:cubicBezTo>
                  <a:cubicBezTo>
                    <a:pt x="5097" y="19136"/>
                    <a:pt x="5097" y="19136"/>
                    <a:pt x="5097" y="19136"/>
                  </a:cubicBezTo>
                  <a:cubicBezTo>
                    <a:pt x="5058" y="19728"/>
                    <a:pt x="5058" y="19728"/>
                    <a:pt x="5058" y="19728"/>
                  </a:cubicBezTo>
                  <a:lnTo>
                    <a:pt x="4832" y="19769"/>
                  </a:lnTo>
                  <a:close/>
                  <a:moveTo>
                    <a:pt x="5520" y="21513"/>
                  </a:moveTo>
                  <a:cubicBezTo>
                    <a:pt x="4951" y="21429"/>
                    <a:pt x="4951" y="21429"/>
                    <a:pt x="4951" y="21429"/>
                  </a:cubicBezTo>
                  <a:cubicBezTo>
                    <a:pt x="4960" y="21357"/>
                    <a:pt x="4969" y="21287"/>
                    <a:pt x="4978" y="21218"/>
                  </a:cubicBezTo>
                  <a:cubicBezTo>
                    <a:pt x="5542" y="21302"/>
                    <a:pt x="5542" y="21302"/>
                    <a:pt x="5542" y="21302"/>
                  </a:cubicBezTo>
                  <a:lnTo>
                    <a:pt x="5520" y="21513"/>
                  </a:lnTo>
                  <a:close/>
                  <a:moveTo>
                    <a:pt x="5543" y="21288"/>
                  </a:moveTo>
                  <a:cubicBezTo>
                    <a:pt x="4979" y="21204"/>
                    <a:pt x="4979" y="21204"/>
                    <a:pt x="4979" y="21204"/>
                  </a:cubicBezTo>
                  <a:cubicBezTo>
                    <a:pt x="5009" y="20972"/>
                    <a:pt x="5036" y="20755"/>
                    <a:pt x="5060" y="20566"/>
                  </a:cubicBezTo>
                  <a:cubicBezTo>
                    <a:pt x="5607" y="20656"/>
                    <a:pt x="5607" y="20656"/>
                    <a:pt x="5607" y="20656"/>
                  </a:cubicBezTo>
                  <a:lnTo>
                    <a:pt x="5543" y="21288"/>
                  </a:lnTo>
                  <a:close/>
                  <a:moveTo>
                    <a:pt x="5609" y="20642"/>
                  </a:moveTo>
                  <a:cubicBezTo>
                    <a:pt x="5062" y="20552"/>
                    <a:pt x="5062" y="20552"/>
                    <a:pt x="5062" y="20552"/>
                  </a:cubicBezTo>
                  <a:cubicBezTo>
                    <a:pt x="5102" y="20239"/>
                    <a:pt x="5131" y="20003"/>
                    <a:pt x="5145" y="19896"/>
                  </a:cubicBezTo>
                  <a:cubicBezTo>
                    <a:pt x="5206" y="19910"/>
                    <a:pt x="5292" y="19929"/>
                    <a:pt x="5378" y="19948"/>
                  </a:cubicBezTo>
                  <a:cubicBezTo>
                    <a:pt x="5501" y="19976"/>
                    <a:pt x="5625" y="20004"/>
                    <a:pt x="5671" y="20015"/>
                  </a:cubicBezTo>
                  <a:cubicBezTo>
                    <a:pt x="5672" y="20017"/>
                    <a:pt x="5672" y="20017"/>
                    <a:pt x="5672" y="20017"/>
                  </a:cubicBezTo>
                  <a:lnTo>
                    <a:pt x="5609" y="20642"/>
                  </a:lnTo>
                  <a:close/>
                  <a:moveTo>
                    <a:pt x="6699" y="19906"/>
                  </a:moveTo>
                  <a:cubicBezTo>
                    <a:pt x="6245" y="19889"/>
                    <a:pt x="5791" y="19873"/>
                    <a:pt x="5722" y="19871"/>
                  </a:cubicBezTo>
                  <a:cubicBezTo>
                    <a:pt x="5717" y="19870"/>
                    <a:pt x="5710" y="19868"/>
                    <a:pt x="5702" y="19866"/>
                  </a:cubicBezTo>
                  <a:cubicBezTo>
                    <a:pt x="5686" y="19862"/>
                    <a:pt x="5663" y="19857"/>
                    <a:pt x="5636" y="19851"/>
                  </a:cubicBezTo>
                  <a:cubicBezTo>
                    <a:pt x="5581" y="19838"/>
                    <a:pt x="5509" y="19822"/>
                    <a:pt x="5434" y="19805"/>
                  </a:cubicBezTo>
                  <a:cubicBezTo>
                    <a:pt x="5310" y="19777"/>
                    <a:pt x="5182" y="19748"/>
                    <a:pt x="5123" y="19735"/>
                  </a:cubicBezTo>
                  <a:cubicBezTo>
                    <a:pt x="5163" y="19135"/>
                    <a:pt x="5163" y="19135"/>
                    <a:pt x="5163" y="19135"/>
                  </a:cubicBezTo>
                  <a:cubicBezTo>
                    <a:pt x="5085" y="18457"/>
                    <a:pt x="5085" y="18457"/>
                    <a:pt x="5085" y="18457"/>
                  </a:cubicBezTo>
                  <a:cubicBezTo>
                    <a:pt x="5086" y="18440"/>
                    <a:pt x="5090" y="18339"/>
                    <a:pt x="5094" y="18203"/>
                  </a:cubicBezTo>
                  <a:cubicBezTo>
                    <a:pt x="5232" y="18240"/>
                    <a:pt x="5907" y="18420"/>
                    <a:pt x="6041" y="18449"/>
                  </a:cubicBezTo>
                  <a:cubicBezTo>
                    <a:pt x="6137" y="18471"/>
                    <a:pt x="6253" y="18506"/>
                    <a:pt x="6414" y="18506"/>
                  </a:cubicBezTo>
                  <a:cubicBezTo>
                    <a:pt x="6415" y="18506"/>
                    <a:pt x="6415" y="18506"/>
                    <a:pt x="6415" y="18506"/>
                  </a:cubicBezTo>
                  <a:cubicBezTo>
                    <a:pt x="6488" y="18506"/>
                    <a:pt x="6572" y="18498"/>
                    <a:pt x="6666" y="18479"/>
                  </a:cubicBezTo>
                  <a:cubicBezTo>
                    <a:pt x="7173" y="19923"/>
                    <a:pt x="7173" y="19923"/>
                    <a:pt x="7173" y="19923"/>
                  </a:cubicBezTo>
                  <a:cubicBezTo>
                    <a:pt x="7027" y="19917"/>
                    <a:pt x="6863" y="19911"/>
                    <a:pt x="6699" y="19906"/>
                  </a:cubicBezTo>
                  <a:close/>
                  <a:moveTo>
                    <a:pt x="10821" y="18606"/>
                  </a:moveTo>
                  <a:cubicBezTo>
                    <a:pt x="10936" y="18586"/>
                    <a:pt x="10936" y="18586"/>
                    <a:pt x="10936" y="18586"/>
                  </a:cubicBezTo>
                  <a:cubicBezTo>
                    <a:pt x="10911" y="18441"/>
                    <a:pt x="10911" y="18441"/>
                    <a:pt x="10911" y="18441"/>
                  </a:cubicBezTo>
                  <a:cubicBezTo>
                    <a:pt x="10756" y="18467"/>
                    <a:pt x="10756" y="18467"/>
                    <a:pt x="10756" y="18467"/>
                  </a:cubicBezTo>
                  <a:cubicBezTo>
                    <a:pt x="10742" y="18387"/>
                    <a:pt x="10742" y="18387"/>
                    <a:pt x="10742" y="18387"/>
                  </a:cubicBezTo>
                  <a:cubicBezTo>
                    <a:pt x="10901" y="18360"/>
                    <a:pt x="10901" y="18360"/>
                    <a:pt x="10901" y="18360"/>
                  </a:cubicBezTo>
                  <a:cubicBezTo>
                    <a:pt x="10893" y="18313"/>
                    <a:pt x="10893" y="18313"/>
                    <a:pt x="10893" y="18313"/>
                  </a:cubicBezTo>
                  <a:cubicBezTo>
                    <a:pt x="11043" y="18287"/>
                    <a:pt x="11043" y="18287"/>
                    <a:pt x="11043" y="18287"/>
                  </a:cubicBezTo>
                  <a:cubicBezTo>
                    <a:pt x="11026" y="18189"/>
                    <a:pt x="11026" y="18189"/>
                    <a:pt x="11026" y="18189"/>
                  </a:cubicBezTo>
                  <a:cubicBezTo>
                    <a:pt x="11081" y="18180"/>
                    <a:pt x="11081" y="18180"/>
                    <a:pt x="11081" y="18180"/>
                  </a:cubicBezTo>
                  <a:cubicBezTo>
                    <a:pt x="11100" y="18278"/>
                    <a:pt x="11100" y="18278"/>
                    <a:pt x="11100" y="18278"/>
                  </a:cubicBezTo>
                  <a:cubicBezTo>
                    <a:pt x="11141" y="18271"/>
                    <a:pt x="11141" y="18271"/>
                    <a:pt x="11141" y="18271"/>
                  </a:cubicBezTo>
                  <a:cubicBezTo>
                    <a:pt x="11169" y="18439"/>
                    <a:pt x="11169" y="18439"/>
                    <a:pt x="11169" y="18439"/>
                  </a:cubicBezTo>
                  <a:cubicBezTo>
                    <a:pt x="11264" y="18423"/>
                    <a:pt x="11264" y="18423"/>
                    <a:pt x="11264" y="18423"/>
                  </a:cubicBezTo>
                  <a:cubicBezTo>
                    <a:pt x="11282" y="18525"/>
                    <a:pt x="11282" y="18525"/>
                    <a:pt x="11282" y="18525"/>
                  </a:cubicBezTo>
                  <a:cubicBezTo>
                    <a:pt x="11188" y="18541"/>
                    <a:pt x="11188" y="18541"/>
                    <a:pt x="11188" y="18541"/>
                  </a:cubicBezTo>
                  <a:cubicBezTo>
                    <a:pt x="11196" y="18591"/>
                    <a:pt x="11196" y="18591"/>
                    <a:pt x="11196" y="18591"/>
                  </a:cubicBezTo>
                  <a:cubicBezTo>
                    <a:pt x="10967" y="18630"/>
                    <a:pt x="10967" y="18630"/>
                    <a:pt x="10967" y="18630"/>
                  </a:cubicBezTo>
                  <a:cubicBezTo>
                    <a:pt x="10990" y="18764"/>
                    <a:pt x="10990" y="18764"/>
                    <a:pt x="10990" y="18764"/>
                  </a:cubicBezTo>
                  <a:cubicBezTo>
                    <a:pt x="10851" y="18788"/>
                    <a:pt x="10851" y="18788"/>
                    <a:pt x="10851" y="18788"/>
                  </a:cubicBezTo>
                  <a:lnTo>
                    <a:pt x="10821" y="18606"/>
                  </a:lnTo>
                  <a:close/>
                  <a:moveTo>
                    <a:pt x="7763" y="18829"/>
                  </a:moveTo>
                  <a:cubicBezTo>
                    <a:pt x="7721" y="18740"/>
                    <a:pt x="7667" y="18622"/>
                    <a:pt x="7621" y="18507"/>
                  </a:cubicBezTo>
                  <a:cubicBezTo>
                    <a:pt x="7583" y="18414"/>
                    <a:pt x="7573" y="18335"/>
                    <a:pt x="7573" y="18275"/>
                  </a:cubicBezTo>
                  <a:cubicBezTo>
                    <a:pt x="7573" y="18203"/>
                    <a:pt x="7588" y="18158"/>
                    <a:pt x="7591" y="18150"/>
                  </a:cubicBezTo>
                  <a:cubicBezTo>
                    <a:pt x="7662" y="18022"/>
                    <a:pt x="7662" y="18022"/>
                    <a:pt x="7662" y="18022"/>
                  </a:cubicBezTo>
                  <a:cubicBezTo>
                    <a:pt x="8875" y="18743"/>
                    <a:pt x="8875" y="18743"/>
                    <a:pt x="8875" y="18743"/>
                  </a:cubicBezTo>
                  <a:cubicBezTo>
                    <a:pt x="8878" y="18765"/>
                    <a:pt x="8883" y="18807"/>
                    <a:pt x="8890" y="18863"/>
                  </a:cubicBezTo>
                  <a:cubicBezTo>
                    <a:pt x="8854" y="18865"/>
                    <a:pt x="8792" y="18870"/>
                    <a:pt x="8713" y="18877"/>
                  </a:cubicBezTo>
                  <a:cubicBezTo>
                    <a:pt x="8605" y="18886"/>
                    <a:pt x="8468" y="18899"/>
                    <a:pt x="8333" y="18911"/>
                  </a:cubicBezTo>
                  <a:cubicBezTo>
                    <a:pt x="8110" y="18931"/>
                    <a:pt x="7894" y="18952"/>
                    <a:pt x="7826" y="18958"/>
                  </a:cubicBezTo>
                  <a:cubicBezTo>
                    <a:pt x="7814" y="18934"/>
                    <a:pt x="7791" y="18888"/>
                    <a:pt x="7763" y="18829"/>
                  </a:cubicBezTo>
                  <a:close/>
                  <a:moveTo>
                    <a:pt x="7889" y="19957"/>
                  </a:moveTo>
                  <a:cubicBezTo>
                    <a:pt x="7870" y="19954"/>
                    <a:pt x="7850" y="19952"/>
                    <a:pt x="7831" y="19950"/>
                  </a:cubicBezTo>
                  <a:cubicBezTo>
                    <a:pt x="7918" y="19711"/>
                    <a:pt x="7918" y="19711"/>
                    <a:pt x="7918" y="19711"/>
                  </a:cubicBezTo>
                  <a:cubicBezTo>
                    <a:pt x="7843" y="19022"/>
                    <a:pt x="7843" y="19022"/>
                    <a:pt x="7843" y="19022"/>
                  </a:cubicBezTo>
                  <a:cubicBezTo>
                    <a:pt x="7896" y="19017"/>
                    <a:pt x="8009" y="19007"/>
                    <a:pt x="8143" y="18994"/>
                  </a:cubicBezTo>
                  <a:cubicBezTo>
                    <a:pt x="8330" y="18977"/>
                    <a:pt x="8557" y="18956"/>
                    <a:pt x="8718" y="18942"/>
                  </a:cubicBezTo>
                  <a:cubicBezTo>
                    <a:pt x="8799" y="18935"/>
                    <a:pt x="8865" y="18930"/>
                    <a:pt x="8899" y="18928"/>
                  </a:cubicBezTo>
                  <a:cubicBezTo>
                    <a:pt x="8904" y="18969"/>
                    <a:pt x="8909" y="19013"/>
                    <a:pt x="8915" y="19060"/>
                  </a:cubicBezTo>
                  <a:cubicBezTo>
                    <a:pt x="8938" y="19245"/>
                    <a:pt x="8966" y="19466"/>
                    <a:pt x="8982" y="19613"/>
                  </a:cubicBezTo>
                  <a:cubicBezTo>
                    <a:pt x="8985" y="19641"/>
                    <a:pt x="8987" y="19668"/>
                    <a:pt x="8987" y="19695"/>
                  </a:cubicBezTo>
                  <a:cubicBezTo>
                    <a:pt x="8987" y="19901"/>
                    <a:pt x="8902" y="20064"/>
                    <a:pt x="8879" y="20104"/>
                  </a:cubicBezTo>
                  <a:cubicBezTo>
                    <a:pt x="8371" y="20028"/>
                    <a:pt x="7927" y="19962"/>
                    <a:pt x="7889" y="19957"/>
                  </a:cubicBezTo>
                  <a:close/>
                  <a:moveTo>
                    <a:pt x="8948" y="20114"/>
                  </a:moveTo>
                  <a:cubicBezTo>
                    <a:pt x="8983" y="20047"/>
                    <a:pt x="9052" y="19891"/>
                    <a:pt x="9052" y="19695"/>
                  </a:cubicBezTo>
                  <a:cubicBezTo>
                    <a:pt x="9052" y="19666"/>
                    <a:pt x="9051" y="19636"/>
                    <a:pt x="9047" y="19605"/>
                  </a:cubicBezTo>
                  <a:cubicBezTo>
                    <a:pt x="9017" y="19332"/>
                    <a:pt x="8949" y="18802"/>
                    <a:pt x="8939" y="18728"/>
                  </a:cubicBezTo>
                  <a:cubicBezTo>
                    <a:pt x="8940" y="18726"/>
                    <a:pt x="8941" y="18725"/>
                    <a:pt x="8942" y="18723"/>
                  </a:cubicBezTo>
                  <a:cubicBezTo>
                    <a:pt x="8951" y="18711"/>
                    <a:pt x="8963" y="18694"/>
                    <a:pt x="8977" y="18674"/>
                  </a:cubicBezTo>
                  <a:cubicBezTo>
                    <a:pt x="9004" y="18635"/>
                    <a:pt x="9039" y="18582"/>
                    <a:pt x="9073" y="18530"/>
                  </a:cubicBezTo>
                  <a:cubicBezTo>
                    <a:pt x="9126" y="18449"/>
                    <a:pt x="9178" y="18369"/>
                    <a:pt x="9200" y="18336"/>
                  </a:cubicBezTo>
                  <a:cubicBezTo>
                    <a:pt x="10197" y="18350"/>
                    <a:pt x="10197" y="18350"/>
                    <a:pt x="10197" y="18350"/>
                  </a:cubicBezTo>
                  <a:cubicBezTo>
                    <a:pt x="10202" y="18400"/>
                    <a:pt x="10213" y="18509"/>
                    <a:pt x="10224" y="18619"/>
                  </a:cubicBezTo>
                  <a:cubicBezTo>
                    <a:pt x="10237" y="18749"/>
                    <a:pt x="10250" y="18882"/>
                    <a:pt x="10254" y="18923"/>
                  </a:cubicBezTo>
                  <a:cubicBezTo>
                    <a:pt x="10120" y="19096"/>
                    <a:pt x="10120" y="19096"/>
                    <a:pt x="10120" y="19096"/>
                  </a:cubicBezTo>
                  <a:cubicBezTo>
                    <a:pt x="10144" y="19765"/>
                    <a:pt x="10144" y="19765"/>
                    <a:pt x="10144" y="19765"/>
                  </a:cubicBezTo>
                  <a:cubicBezTo>
                    <a:pt x="9990" y="19891"/>
                    <a:pt x="9990" y="19891"/>
                    <a:pt x="9990" y="19891"/>
                  </a:cubicBezTo>
                  <a:cubicBezTo>
                    <a:pt x="9868" y="20251"/>
                    <a:pt x="9868" y="20251"/>
                    <a:pt x="9868" y="20251"/>
                  </a:cubicBezTo>
                  <a:cubicBezTo>
                    <a:pt x="9597" y="20210"/>
                    <a:pt x="9264" y="20161"/>
                    <a:pt x="8948" y="20114"/>
                  </a:cubicBezTo>
                  <a:close/>
                  <a:moveTo>
                    <a:pt x="12943" y="20718"/>
                  </a:moveTo>
                  <a:cubicBezTo>
                    <a:pt x="12842" y="20931"/>
                    <a:pt x="12711" y="21209"/>
                    <a:pt x="12570" y="21502"/>
                  </a:cubicBezTo>
                  <a:cubicBezTo>
                    <a:pt x="11661" y="20919"/>
                    <a:pt x="11661" y="20919"/>
                    <a:pt x="11661" y="20919"/>
                  </a:cubicBezTo>
                  <a:cubicBezTo>
                    <a:pt x="11582" y="20869"/>
                    <a:pt x="11403" y="20766"/>
                    <a:pt x="11222" y="20666"/>
                  </a:cubicBezTo>
                  <a:cubicBezTo>
                    <a:pt x="11040" y="20565"/>
                    <a:pt x="10860" y="20468"/>
                    <a:pt x="10776" y="20430"/>
                  </a:cubicBezTo>
                  <a:cubicBezTo>
                    <a:pt x="10616" y="20358"/>
                    <a:pt x="10456" y="20338"/>
                    <a:pt x="10433" y="20335"/>
                  </a:cubicBezTo>
                  <a:cubicBezTo>
                    <a:pt x="10428" y="20334"/>
                    <a:pt x="10224" y="20304"/>
                    <a:pt x="9934" y="20261"/>
                  </a:cubicBezTo>
                  <a:cubicBezTo>
                    <a:pt x="10046" y="19930"/>
                    <a:pt x="10046" y="19930"/>
                    <a:pt x="10046" y="19930"/>
                  </a:cubicBezTo>
                  <a:cubicBezTo>
                    <a:pt x="10211" y="19795"/>
                    <a:pt x="10211" y="19795"/>
                    <a:pt x="10211" y="19795"/>
                  </a:cubicBezTo>
                  <a:cubicBezTo>
                    <a:pt x="10186" y="19118"/>
                    <a:pt x="10186" y="19118"/>
                    <a:pt x="10186" y="19118"/>
                  </a:cubicBezTo>
                  <a:cubicBezTo>
                    <a:pt x="10306" y="18963"/>
                    <a:pt x="10306" y="18963"/>
                    <a:pt x="10306" y="18963"/>
                  </a:cubicBezTo>
                  <a:cubicBezTo>
                    <a:pt x="11916" y="18675"/>
                    <a:pt x="11916" y="18675"/>
                    <a:pt x="11916" y="18675"/>
                  </a:cubicBezTo>
                  <a:cubicBezTo>
                    <a:pt x="12111" y="19959"/>
                    <a:pt x="12111" y="19959"/>
                    <a:pt x="12111" y="19959"/>
                  </a:cubicBezTo>
                  <a:cubicBezTo>
                    <a:pt x="13113" y="20355"/>
                    <a:pt x="13113" y="20355"/>
                    <a:pt x="13113" y="20355"/>
                  </a:cubicBezTo>
                  <a:cubicBezTo>
                    <a:pt x="13086" y="20414"/>
                    <a:pt x="13025" y="20544"/>
                    <a:pt x="12943" y="20718"/>
                  </a:cubicBezTo>
                  <a:close/>
                  <a:moveTo>
                    <a:pt x="105" y="18552"/>
                  </a:moveTo>
                  <a:cubicBezTo>
                    <a:pt x="70" y="18564"/>
                    <a:pt x="37" y="18576"/>
                    <a:pt x="4" y="18587"/>
                  </a:cubicBezTo>
                  <a:cubicBezTo>
                    <a:pt x="4" y="18539"/>
                    <a:pt x="4" y="18539"/>
                    <a:pt x="4" y="18539"/>
                  </a:cubicBezTo>
                  <a:cubicBezTo>
                    <a:pt x="32" y="18529"/>
                    <a:pt x="61" y="18519"/>
                    <a:pt x="90" y="18509"/>
                  </a:cubicBezTo>
                  <a:cubicBezTo>
                    <a:pt x="215" y="18466"/>
                    <a:pt x="287" y="18418"/>
                    <a:pt x="329" y="18361"/>
                  </a:cubicBezTo>
                  <a:cubicBezTo>
                    <a:pt x="370" y="18305"/>
                    <a:pt x="384" y="18236"/>
                    <a:pt x="384" y="18146"/>
                  </a:cubicBezTo>
                  <a:cubicBezTo>
                    <a:pt x="384" y="18102"/>
                    <a:pt x="380" y="18054"/>
                    <a:pt x="376" y="18000"/>
                  </a:cubicBezTo>
                  <a:cubicBezTo>
                    <a:pt x="421" y="18000"/>
                    <a:pt x="421" y="18000"/>
                    <a:pt x="421" y="18000"/>
                  </a:cubicBezTo>
                  <a:cubicBezTo>
                    <a:pt x="426" y="18053"/>
                    <a:pt x="429" y="18101"/>
                    <a:pt x="429" y="18146"/>
                  </a:cubicBezTo>
                  <a:cubicBezTo>
                    <a:pt x="429" y="18240"/>
                    <a:pt x="415" y="18320"/>
                    <a:pt x="365" y="18388"/>
                  </a:cubicBezTo>
                  <a:cubicBezTo>
                    <a:pt x="316" y="18456"/>
                    <a:pt x="234" y="18508"/>
                    <a:pt x="105" y="18552"/>
                  </a:cubicBezTo>
                  <a:close/>
                  <a:moveTo>
                    <a:pt x="0" y="13274"/>
                  </a:moveTo>
                  <a:cubicBezTo>
                    <a:pt x="4" y="13275"/>
                    <a:pt x="4" y="13275"/>
                    <a:pt x="4" y="13275"/>
                  </a:cubicBezTo>
                  <a:cubicBezTo>
                    <a:pt x="108" y="13294"/>
                    <a:pt x="108" y="13294"/>
                    <a:pt x="108" y="13294"/>
                  </a:cubicBezTo>
                  <a:cubicBezTo>
                    <a:pt x="122" y="13222"/>
                    <a:pt x="122" y="13222"/>
                    <a:pt x="122" y="13222"/>
                  </a:cubicBezTo>
                  <a:cubicBezTo>
                    <a:pt x="172" y="13231"/>
                    <a:pt x="172" y="13231"/>
                    <a:pt x="172" y="13231"/>
                  </a:cubicBezTo>
                  <a:cubicBezTo>
                    <a:pt x="178" y="13233"/>
                    <a:pt x="178" y="13233"/>
                    <a:pt x="178" y="13233"/>
                  </a:cubicBezTo>
                  <a:cubicBezTo>
                    <a:pt x="203" y="13113"/>
                    <a:pt x="203" y="13113"/>
                    <a:pt x="203" y="13113"/>
                  </a:cubicBezTo>
                  <a:cubicBezTo>
                    <a:pt x="88" y="13091"/>
                    <a:pt x="88" y="13091"/>
                    <a:pt x="88" y="13091"/>
                  </a:cubicBezTo>
                  <a:cubicBezTo>
                    <a:pt x="87" y="13097"/>
                    <a:pt x="87" y="13097"/>
                    <a:pt x="87" y="13097"/>
                  </a:cubicBezTo>
                  <a:cubicBezTo>
                    <a:pt x="86" y="13101"/>
                    <a:pt x="86" y="13101"/>
                    <a:pt x="86" y="13101"/>
                  </a:cubicBezTo>
                  <a:cubicBezTo>
                    <a:pt x="35" y="13092"/>
                    <a:pt x="35" y="13092"/>
                    <a:pt x="35" y="13092"/>
                  </a:cubicBezTo>
                  <a:cubicBezTo>
                    <a:pt x="4" y="13253"/>
                    <a:pt x="4" y="13253"/>
                    <a:pt x="4" y="13253"/>
                  </a:cubicBezTo>
                  <a:lnTo>
                    <a:pt x="0" y="13274"/>
                  </a:lnTo>
                  <a:close/>
                  <a:moveTo>
                    <a:pt x="45" y="13107"/>
                  </a:moveTo>
                  <a:cubicBezTo>
                    <a:pt x="96" y="13116"/>
                    <a:pt x="96" y="13116"/>
                    <a:pt x="96" y="13116"/>
                  </a:cubicBezTo>
                  <a:cubicBezTo>
                    <a:pt x="98" y="13110"/>
                    <a:pt x="98" y="13110"/>
                    <a:pt x="98" y="13110"/>
                  </a:cubicBezTo>
                  <a:cubicBezTo>
                    <a:pt x="98" y="13106"/>
                    <a:pt x="98" y="13106"/>
                    <a:pt x="98" y="13106"/>
                  </a:cubicBezTo>
                  <a:cubicBezTo>
                    <a:pt x="188" y="13123"/>
                    <a:pt x="188" y="13123"/>
                    <a:pt x="188" y="13123"/>
                  </a:cubicBezTo>
                  <a:cubicBezTo>
                    <a:pt x="168" y="13217"/>
                    <a:pt x="168" y="13217"/>
                    <a:pt x="168" y="13217"/>
                  </a:cubicBezTo>
                  <a:cubicBezTo>
                    <a:pt x="111" y="13207"/>
                    <a:pt x="111" y="13207"/>
                    <a:pt x="111" y="13207"/>
                  </a:cubicBezTo>
                  <a:cubicBezTo>
                    <a:pt x="98" y="13279"/>
                    <a:pt x="98" y="13279"/>
                    <a:pt x="98" y="13279"/>
                  </a:cubicBezTo>
                  <a:cubicBezTo>
                    <a:pt x="16" y="13263"/>
                    <a:pt x="16" y="13263"/>
                    <a:pt x="16" y="13263"/>
                  </a:cubicBezTo>
                  <a:lnTo>
                    <a:pt x="45" y="13107"/>
                  </a:lnTo>
                  <a:close/>
                  <a:moveTo>
                    <a:pt x="9360" y="13139"/>
                  </a:moveTo>
                  <a:cubicBezTo>
                    <a:pt x="9360" y="13139"/>
                    <a:pt x="9360" y="13139"/>
                    <a:pt x="9360" y="13139"/>
                  </a:cubicBezTo>
                  <a:cubicBezTo>
                    <a:pt x="9360" y="13139"/>
                    <a:pt x="9360" y="13139"/>
                    <a:pt x="9360" y="13139"/>
                  </a:cubicBezTo>
                  <a:close/>
                  <a:moveTo>
                    <a:pt x="3412" y="5065"/>
                  </a:moveTo>
                  <a:cubicBezTo>
                    <a:pt x="3412" y="5065"/>
                    <a:pt x="3412" y="5065"/>
                    <a:pt x="3412" y="5065"/>
                  </a:cubicBezTo>
                  <a:cubicBezTo>
                    <a:pt x="3412" y="5065"/>
                    <a:pt x="3412" y="5065"/>
                    <a:pt x="3412" y="5065"/>
                  </a:cubicBezTo>
                  <a:close/>
                  <a:moveTo>
                    <a:pt x="3935" y="9746"/>
                  </a:moveTo>
                  <a:cubicBezTo>
                    <a:pt x="3935" y="9746"/>
                    <a:pt x="3935" y="9746"/>
                    <a:pt x="3935" y="9746"/>
                  </a:cubicBezTo>
                  <a:cubicBezTo>
                    <a:pt x="3935" y="9746"/>
                    <a:pt x="3935" y="9746"/>
                    <a:pt x="3935" y="9746"/>
                  </a:cubicBezTo>
                  <a:close/>
                  <a:moveTo>
                    <a:pt x="2792" y="14933"/>
                  </a:moveTo>
                  <a:cubicBezTo>
                    <a:pt x="2816" y="14931"/>
                    <a:pt x="2833" y="14882"/>
                    <a:pt x="2834" y="14845"/>
                  </a:cubicBezTo>
                  <a:cubicBezTo>
                    <a:pt x="2834" y="14827"/>
                    <a:pt x="2829" y="14810"/>
                    <a:pt x="2813" y="14805"/>
                  </a:cubicBezTo>
                  <a:cubicBezTo>
                    <a:pt x="2775" y="14795"/>
                    <a:pt x="2672" y="14795"/>
                    <a:pt x="2640" y="14773"/>
                  </a:cubicBezTo>
                  <a:cubicBezTo>
                    <a:pt x="2607" y="14753"/>
                    <a:pt x="2522" y="14585"/>
                    <a:pt x="2449" y="14558"/>
                  </a:cubicBezTo>
                  <a:cubicBezTo>
                    <a:pt x="2379" y="14533"/>
                    <a:pt x="2224" y="14496"/>
                    <a:pt x="2178" y="14469"/>
                  </a:cubicBezTo>
                  <a:cubicBezTo>
                    <a:pt x="2132" y="14442"/>
                    <a:pt x="2002" y="14315"/>
                    <a:pt x="2002" y="14315"/>
                  </a:cubicBezTo>
                  <a:cubicBezTo>
                    <a:pt x="1995" y="14320"/>
                    <a:pt x="1995" y="14320"/>
                    <a:pt x="1995" y="14320"/>
                  </a:cubicBezTo>
                  <a:cubicBezTo>
                    <a:pt x="1995" y="14320"/>
                    <a:pt x="2082" y="14470"/>
                    <a:pt x="2156" y="14511"/>
                  </a:cubicBezTo>
                  <a:cubicBezTo>
                    <a:pt x="2229" y="14551"/>
                    <a:pt x="2370" y="14589"/>
                    <a:pt x="2406" y="14615"/>
                  </a:cubicBezTo>
                  <a:cubicBezTo>
                    <a:pt x="2442" y="14641"/>
                    <a:pt x="2517" y="14774"/>
                    <a:pt x="2565" y="14810"/>
                  </a:cubicBezTo>
                  <a:cubicBezTo>
                    <a:pt x="2613" y="14845"/>
                    <a:pt x="2672" y="14861"/>
                    <a:pt x="2690" y="14877"/>
                  </a:cubicBezTo>
                  <a:cubicBezTo>
                    <a:pt x="2710" y="14895"/>
                    <a:pt x="2762" y="14933"/>
                    <a:pt x="2792" y="14933"/>
                  </a:cubicBezTo>
                  <a:close/>
                  <a:moveTo>
                    <a:pt x="2410" y="14609"/>
                  </a:moveTo>
                  <a:cubicBezTo>
                    <a:pt x="2371" y="14580"/>
                    <a:pt x="2232" y="14543"/>
                    <a:pt x="2160" y="14504"/>
                  </a:cubicBezTo>
                  <a:cubicBezTo>
                    <a:pt x="2109" y="14476"/>
                    <a:pt x="2048" y="14388"/>
                    <a:pt x="2019" y="14343"/>
                  </a:cubicBezTo>
                  <a:cubicBezTo>
                    <a:pt x="2059" y="14381"/>
                    <a:pt x="2138" y="14455"/>
                    <a:pt x="2174" y="14476"/>
                  </a:cubicBezTo>
                  <a:cubicBezTo>
                    <a:pt x="2223" y="14504"/>
                    <a:pt x="2377" y="14541"/>
                    <a:pt x="2446" y="14566"/>
                  </a:cubicBezTo>
                  <a:cubicBezTo>
                    <a:pt x="2514" y="14589"/>
                    <a:pt x="2598" y="14756"/>
                    <a:pt x="2635" y="14780"/>
                  </a:cubicBezTo>
                  <a:cubicBezTo>
                    <a:pt x="2672" y="14804"/>
                    <a:pt x="2775" y="14803"/>
                    <a:pt x="2811" y="14813"/>
                  </a:cubicBezTo>
                  <a:cubicBezTo>
                    <a:pt x="2821" y="14815"/>
                    <a:pt x="2826" y="14828"/>
                    <a:pt x="2826" y="14845"/>
                  </a:cubicBezTo>
                  <a:cubicBezTo>
                    <a:pt x="2826" y="14862"/>
                    <a:pt x="2821" y="14883"/>
                    <a:pt x="2814" y="14899"/>
                  </a:cubicBezTo>
                  <a:cubicBezTo>
                    <a:pt x="2807" y="14915"/>
                    <a:pt x="2798" y="14926"/>
                    <a:pt x="2792" y="14925"/>
                  </a:cubicBezTo>
                  <a:cubicBezTo>
                    <a:pt x="2768" y="14925"/>
                    <a:pt x="2714" y="14888"/>
                    <a:pt x="2695" y="14871"/>
                  </a:cubicBezTo>
                  <a:cubicBezTo>
                    <a:pt x="2673" y="14852"/>
                    <a:pt x="2617" y="14838"/>
                    <a:pt x="2570" y="14803"/>
                  </a:cubicBezTo>
                  <a:cubicBezTo>
                    <a:pt x="2524" y="14770"/>
                    <a:pt x="2449" y="14638"/>
                    <a:pt x="2410" y="14609"/>
                  </a:cubicBezTo>
                  <a:close/>
                  <a:moveTo>
                    <a:pt x="593" y="13868"/>
                  </a:moveTo>
                  <a:cubicBezTo>
                    <a:pt x="593" y="13865"/>
                    <a:pt x="592" y="13863"/>
                    <a:pt x="591" y="13860"/>
                  </a:cubicBezTo>
                  <a:cubicBezTo>
                    <a:pt x="587" y="13853"/>
                    <a:pt x="586" y="13834"/>
                    <a:pt x="585" y="13829"/>
                  </a:cubicBezTo>
                  <a:cubicBezTo>
                    <a:pt x="584" y="13828"/>
                    <a:pt x="586" y="13826"/>
                    <a:pt x="581" y="13824"/>
                  </a:cubicBezTo>
                  <a:cubicBezTo>
                    <a:pt x="579" y="13825"/>
                    <a:pt x="578" y="13825"/>
                    <a:pt x="578" y="13826"/>
                  </a:cubicBezTo>
                  <a:cubicBezTo>
                    <a:pt x="571" y="13829"/>
                    <a:pt x="510" y="13861"/>
                    <a:pt x="473" y="13867"/>
                  </a:cubicBezTo>
                  <a:cubicBezTo>
                    <a:pt x="462" y="13869"/>
                    <a:pt x="452" y="13869"/>
                    <a:pt x="442" y="13869"/>
                  </a:cubicBezTo>
                  <a:cubicBezTo>
                    <a:pt x="416" y="13869"/>
                    <a:pt x="393" y="13864"/>
                    <a:pt x="378" y="13862"/>
                  </a:cubicBezTo>
                  <a:cubicBezTo>
                    <a:pt x="364" y="13859"/>
                    <a:pt x="336" y="13856"/>
                    <a:pt x="314" y="13856"/>
                  </a:cubicBezTo>
                  <a:cubicBezTo>
                    <a:pt x="302" y="13856"/>
                    <a:pt x="293" y="13856"/>
                    <a:pt x="287" y="13861"/>
                  </a:cubicBezTo>
                  <a:cubicBezTo>
                    <a:pt x="283" y="13864"/>
                    <a:pt x="281" y="13867"/>
                    <a:pt x="281" y="13871"/>
                  </a:cubicBezTo>
                  <a:cubicBezTo>
                    <a:pt x="282" y="13881"/>
                    <a:pt x="291" y="13886"/>
                    <a:pt x="301" y="13889"/>
                  </a:cubicBezTo>
                  <a:cubicBezTo>
                    <a:pt x="314" y="13893"/>
                    <a:pt x="368" y="13895"/>
                    <a:pt x="384" y="13903"/>
                  </a:cubicBezTo>
                  <a:cubicBezTo>
                    <a:pt x="401" y="13911"/>
                    <a:pt x="441" y="13940"/>
                    <a:pt x="475" y="13942"/>
                  </a:cubicBezTo>
                  <a:cubicBezTo>
                    <a:pt x="477" y="13942"/>
                    <a:pt x="479" y="13942"/>
                    <a:pt x="481" y="13942"/>
                  </a:cubicBezTo>
                  <a:cubicBezTo>
                    <a:pt x="513" y="13942"/>
                    <a:pt x="548" y="13930"/>
                    <a:pt x="566" y="13914"/>
                  </a:cubicBezTo>
                  <a:cubicBezTo>
                    <a:pt x="581" y="13900"/>
                    <a:pt x="592" y="13882"/>
                    <a:pt x="593" y="13868"/>
                  </a:cubicBezTo>
                  <a:close/>
                  <a:moveTo>
                    <a:pt x="481" y="13934"/>
                  </a:moveTo>
                  <a:cubicBezTo>
                    <a:pt x="479" y="13934"/>
                    <a:pt x="477" y="13933"/>
                    <a:pt x="475" y="13933"/>
                  </a:cubicBezTo>
                  <a:cubicBezTo>
                    <a:pt x="446" y="13932"/>
                    <a:pt x="406" y="13904"/>
                    <a:pt x="388" y="13895"/>
                  </a:cubicBezTo>
                  <a:cubicBezTo>
                    <a:pt x="368" y="13886"/>
                    <a:pt x="314" y="13884"/>
                    <a:pt x="303" y="13881"/>
                  </a:cubicBezTo>
                  <a:cubicBezTo>
                    <a:pt x="295" y="13879"/>
                    <a:pt x="289" y="13873"/>
                    <a:pt x="289" y="13871"/>
                  </a:cubicBezTo>
                  <a:cubicBezTo>
                    <a:pt x="289" y="13870"/>
                    <a:pt x="290" y="13869"/>
                    <a:pt x="292" y="13867"/>
                  </a:cubicBezTo>
                  <a:cubicBezTo>
                    <a:pt x="294" y="13865"/>
                    <a:pt x="303" y="13864"/>
                    <a:pt x="314" y="13864"/>
                  </a:cubicBezTo>
                  <a:cubicBezTo>
                    <a:pt x="335" y="13864"/>
                    <a:pt x="363" y="13867"/>
                    <a:pt x="376" y="13870"/>
                  </a:cubicBezTo>
                  <a:cubicBezTo>
                    <a:pt x="391" y="13872"/>
                    <a:pt x="415" y="13878"/>
                    <a:pt x="442" y="13878"/>
                  </a:cubicBezTo>
                  <a:cubicBezTo>
                    <a:pt x="452" y="13878"/>
                    <a:pt x="463" y="13877"/>
                    <a:pt x="474" y="13875"/>
                  </a:cubicBezTo>
                  <a:cubicBezTo>
                    <a:pt x="509" y="13869"/>
                    <a:pt x="562" y="13843"/>
                    <a:pt x="578" y="13835"/>
                  </a:cubicBezTo>
                  <a:cubicBezTo>
                    <a:pt x="578" y="13837"/>
                    <a:pt x="578" y="13839"/>
                    <a:pt x="579" y="13842"/>
                  </a:cubicBezTo>
                  <a:cubicBezTo>
                    <a:pt x="579" y="13849"/>
                    <a:pt x="581" y="13858"/>
                    <a:pt x="584" y="13864"/>
                  </a:cubicBezTo>
                  <a:cubicBezTo>
                    <a:pt x="584" y="13865"/>
                    <a:pt x="584" y="13866"/>
                    <a:pt x="584" y="13868"/>
                  </a:cubicBezTo>
                  <a:cubicBezTo>
                    <a:pt x="585" y="13877"/>
                    <a:pt x="574" y="13896"/>
                    <a:pt x="560" y="13908"/>
                  </a:cubicBezTo>
                  <a:cubicBezTo>
                    <a:pt x="545" y="13922"/>
                    <a:pt x="510" y="13934"/>
                    <a:pt x="481" y="13934"/>
                  </a:cubicBezTo>
                  <a:close/>
                  <a:moveTo>
                    <a:pt x="1229" y="9829"/>
                  </a:moveTo>
                  <a:cubicBezTo>
                    <a:pt x="1228" y="9829"/>
                    <a:pt x="1228" y="9829"/>
                    <a:pt x="1228" y="9829"/>
                  </a:cubicBezTo>
                  <a:cubicBezTo>
                    <a:pt x="1228" y="9829"/>
                    <a:pt x="1228" y="9829"/>
                    <a:pt x="1228" y="9829"/>
                  </a:cubicBezTo>
                  <a:lnTo>
                    <a:pt x="1229" y="9829"/>
                  </a:lnTo>
                  <a:close/>
                  <a:moveTo>
                    <a:pt x="1231" y="9831"/>
                  </a:moveTo>
                  <a:cubicBezTo>
                    <a:pt x="1231" y="9831"/>
                    <a:pt x="1231" y="9831"/>
                    <a:pt x="1231" y="9831"/>
                  </a:cubicBezTo>
                  <a:cubicBezTo>
                    <a:pt x="1231" y="9831"/>
                    <a:pt x="1231" y="9831"/>
                    <a:pt x="1231" y="9831"/>
                  </a:cubicBezTo>
                  <a:cubicBezTo>
                    <a:pt x="1231" y="9831"/>
                    <a:pt x="1231" y="9831"/>
                    <a:pt x="1231" y="9831"/>
                  </a:cubicBezTo>
                  <a:close/>
                  <a:moveTo>
                    <a:pt x="1228" y="9828"/>
                  </a:moveTo>
                  <a:cubicBezTo>
                    <a:pt x="1228" y="9828"/>
                    <a:pt x="1228" y="9828"/>
                    <a:pt x="1227" y="9828"/>
                  </a:cubicBezTo>
                  <a:cubicBezTo>
                    <a:pt x="1227" y="9828"/>
                    <a:pt x="1227" y="9828"/>
                    <a:pt x="1227" y="9828"/>
                  </a:cubicBezTo>
                  <a:cubicBezTo>
                    <a:pt x="1227" y="9828"/>
                    <a:pt x="1227" y="9828"/>
                    <a:pt x="1228" y="9828"/>
                  </a:cubicBezTo>
                  <a:close/>
                  <a:moveTo>
                    <a:pt x="1227" y="9828"/>
                  </a:moveTo>
                  <a:cubicBezTo>
                    <a:pt x="1227" y="9828"/>
                    <a:pt x="1227" y="9828"/>
                    <a:pt x="1227" y="9828"/>
                  </a:cubicBezTo>
                  <a:cubicBezTo>
                    <a:pt x="1227" y="9828"/>
                    <a:pt x="1227" y="9828"/>
                    <a:pt x="1227" y="9828"/>
                  </a:cubicBezTo>
                  <a:cubicBezTo>
                    <a:pt x="1227" y="9828"/>
                    <a:pt x="1227" y="9828"/>
                    <a:pt x="1227" y="9828"/>
                  </a:cubicBezTo>
                  <a:close/>
                  <a:moveTo>
                    <a:pt x="1229" y="9829"/>
                  </a:moveTo>
                  <a:cubicBezTo>
                    <a:pt x="1229" y="9829"/>
                    <a:pt x="1229" y="9829"/>
                    <a:pt x="1229" y="9829"/>
                  </a:cubicBezTo>
                  <a:cubicBezTo>
                    <a:pt x="1229" y="9829"/>
                    <a:pt x="1229" y="9829"/>
                    <a:pt x="1229" y="9829"/>
                  </a:cubicBezTo>
                  <a:cubicBezTo>
                    <a:pt x="1229" y="9829"/>
                    <a:pt x="1229" y="9829"/>
                    <a:pt x="1229" y="9829"/>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4" y="701"/>
                  </a:cubicBezTo>
                  <a:cubicBezTo>
                    <a:pt x="14984" y="701"/>
                    <a:pt x="14984" y="701"/>
                    <a:pt x="14984" y="701"/>
                  </a:cubicBezTo>
                  <a:cubicBezTo>
                    <a:pt x="14984" y="700"/>
                    <a:pt x="14985" y="700"/>
                    <a:pt x="14985" y="700"/>
                  </a:cubicBezTo>
                  <a:close/>
                  <a:moveTo>
                    <a:pt x="4088" y="12929"/>
                  </a:moveTo>
                  <a:cubicBezTo>
                    <a:pt x="4114" y="12911"/>
                    <a:pt x="4137" y="12896"/>
                    <a:pt x="4142" y="12891"/>
                  </a:cubicBezTo>
                  <a:cubicBezTo>
                    <a:pt x="4146" y="12884"/>
                    <a:pt x="4156" y="12864"/>
                    <a:pt x="4156" y="12846"/>
                  </a:cubicBezTo>
                  <a:cubicBezTo>
                    <a:pt x="4156" y="12839"/>
                    <a:pt x="4155" y="12833"/>
                    <a:pt x="4151" y="12828"/>
                  </a:cubicBezTo>
                  <a:cubicBezTo>
                    <a:pt x="4148" y="12831"/>
                    <a:pt x="4148" y="12831"/>
                    <a:pt x="4148" y="12831"/>
                  </a:cubicBezTo>
                  <a:cubicBezTo>
                    <a:pt x="4150" y="12828"/>
                    <a:pt x="4150" y="12828"/>
                    <a:pt x="4150" y="12828"/>
                  </a:cubicBezTo>
                  <a:cubicBezTo>
                    <a:pt x="4150" y="12827"/>
                    <a:pt x="4124" y="12808"/>
                    <a:pt x="4081" y="12807"/>
                  </a:cubicBezTo>
                  <a:cubicBezTo>
                    <a:pt x="4077" y="12807"/>
                    <a:pt x="4071" y="12807"/>
                    <a:pt x="4065" y="12807"/>
                  </a:cubicBezTo>
                  <a:cubicBezTo>
                    <a:pt x="4007" y="12807"/>
                    <a:pt x="3862" y="12812"/>
                    <a:pt x="3848" y="12812"/>
                  </a:cubicBezTo>
                  <a:cubicBezTo>
                    <a:pt x="3844" y="12810"/>
                    <a:pt x="3829" y="12802"/>
                    <a:pt x="3818" y="12802"/>
                  </a:cubicBezTo>
                  <a:cubicBezTo>
                    <a:pt x="3814" y="12802"/>
                    <a:pt x="3809" y="12803"/>
                    <a:pt x="3806" y="12807"/>
                  </a:cubicBezTo>
                  <a:cubicBezTo>
                    <a:pt x="3804" y="12810"/>
                    <a:pt x="3804" y="12814"/>
                    <a:pt x="3804" y="12817"/>
                  </a:cubicBezTo>
                  <a:cubicBezTo>
                    <a:pt x="3804" y="12831"/>
                    <a:pt x="3817" y="12848"/>
                    <a:pt x="3841" y="12853"/>
                  </a:cubicBezTo>
                  <a:cubicBezTo>
                    <a:pt x="3864" y="12857"/>
                    <a:pt x="3987" y="12866"/>
                    <a:pt x="4016" y="12881"/>
                  </a:cubicBezTo>
                  <a:cubicBezTo>
                    <a:pt x="4020" y="12883"/>
                    <a:pt x="4020" y="12885"/>
                    <a:pt x="4020" y="12885"/>
                  </a:cubicBezTo>
                  <a:cubicBezTo>
                    <a:pt x="4020" y="12885"/>
                    <a:pt x="4020" y="12886"/>
                    <a:pt x="4020" y="12886"/>
                  </a:cubicBezTo>
                  <a:cubicBezTo>
                    <a:pt x="4012" y="12906"/>
                    <a:pt x="3970" y="12915"/>
                    <a:pt x="3940" y="12918"/>
                  </a:cubicBezTo>
                  <a:cubicBezTo>
                    <a:pt x="3911" y="12920"/>
                    <a:pt x="3876" y="12922"/>
                    <a:pt x="3852" y="12935"/>
                  </a:cubicBezTo>
                  <a:cubicBezTo>
                    <a:pt x="3835" y="12943"/>
                    <a:pt x="3820" y="12961"/>
                    <a:pt x="3820" y="12979"/>
                  </a:cubicBezTo>
                  <a:cubicBezTo>
                    <a:pt x="3820" y="12987"/>
                    <a:pt x="3823" y="12995"/>
                    <a:pt x="3831" y="13000"/>
                  </a:cubicBezTo>
                  <a:cubicBezTo>
                    <a:pt x="3840" y="13008"/>
                    <a:pt x="3850" y="13012"/>
                    <a:pt x="3859" y="13012"/>
                  </a:cubicBezTo>
                  <a:cubicBezTo>
                    <a:pt x="3870" y="13012"/>
                    <a:pt x="3880" y="13007"/>
                    <a:pt x="3889" y="13001"/>
                  </a:cubicBezTo>
                  <a:cubicBezTo>
                    <a:pt x="3902" y="12993"/>
                    <a:pt x="3930" y="12980"/>
                    <a:pt x="3939" y="12979"/>
                  </a:cubicBezTo>
                  <a:cubicBezTo>
                    <a:pt x="3939" y="12983"/>
                    <a:pt x="3938" y="12987"/>
                    <a:pt x="3938" y="12991"/>
                  </a:cubicBezTo>
                  <a:cubicBezTo>
                    <a:pt x="3939" y="13022"/>
                    <a:pt x="3950" y="13065"/>
                    <a:pt x="3970" y="13071"/>
                  </a:cubicBezTo>
                  <a:cubicBezTo>
                    <a:pt x="3977" y="13072"/>
                    <a:pt x="3984" y="13073"/>
                    <a:pt x="3989" y="13073"/>
                  </a:cubicBezTo>
                  <a:cubicBezTo>
                    <a:pt x="3990" y="13073"/>
                    <a:pt x="3990" y="13073"/>
                    <a:pt x="3990" y="13073"/>
                  </a:cubicBezTo>
                  <a:cubicBezTo>
                    <a:pt x="3999" y="13073"/>
                    <a:pt x="4007" y="13069"/>
                    <a:pt x="4009" y="13059"/>
                  </a:cubicBezTo>
                  <a:cubicBezTo>
                    <a:pt x="4013" y="13043"/>
                    <a:pt x="4011" y="12990"/>
                    <a:pt x="4026" y="12975"/>
                  </a:cubicBezTo>
                  <a:cubicBezTo>
                    <a:pt x="4034" y="12966"/>
                    <a:pt x="4062" y="12947"/>
                    <a:pt x="4088" y="12929"/>
                  </a:cubicBezTo>
                  <a:close/>
                  <a:moveTo>
                    <a:pt x="4001" y="13057"/>
                  </a:moveTo>
                  <a:cubicBezTo>
                    <a:pt x="3999" y="13064"/>
                    <a:pt x="3997" y="13065"/>
                    <a:pt x="3989" y="13065"/>
                  </a:cubicBezTo>
                  <a:cubicBezTo>
                    <a:pt x="3985" y="13065"/>
                    <a:pt x="3979" y="13064"/>
                    <a:pt x="3972" y="13063"/>
                  </a:cubicBezTo>
                  <a:cubicBezTo>
                    <a:pt x="3961" y="13063"/>
                    <a:pt x="3946" y="13020"/>
                    <a:pt x="3947" y="12991"/>
                  </a:cubicBezTo>
                  <a:cubicBezTo>
                    <a:pt x="3947" y="12986"/>
                    <a:pt x="3947" y="12982"/>
                    <a:pt x="3948" y="12978"/>
                  </a:cubicBezTo>
                  <a:cubicBezTo>
                    <a:pt x="3948" y="12978"/>
                    <a:pt x="3948" y="12977"/>
                    <a:pt x="3948" y="12976"/>
                  </a:cubicBezTo>
                  <a:cubicBezTo>
                    <a:pt x="3948" y="12972"/>
                    <a:pt x="3943" y="12970"/>
                    <a:pt x="3941" y="12970"/>
                  </a:cubicBezTo>
                  <a:cubicBezTo>
                    <a:pt x="3928" y="12971"/>
                    <a:pt x="3900" y="12985"/>
                    <a:pt x="3885" y="12994"/>
                  </a:cubicBezTo>
                  <a:cubicBezTo>
                    <a:pt x="3876" y="12999"/>
                    <a:pt x="3867" y="13003"/>
                    <a:pt x="3859" y="13003"/>
                  </a:cubicBezTo>
                  <a:cubicBezTo>
                    <a:pt x="3852" y="13003"/>
                    <a:pt x="3844" y="13001"/>
                    <a:pt x="3836" y="12994"/>
                  </a:cubicBezTo>
                  <a:cubicBezTo>
                    <a:pt x="3830" y="12990"/>
                    <a:pt x="3828" y="12985"/>
                    <a:pt x="3828" y="12979"/>
                  </a:cubicBezTo>
                  <a:cubicBezTo>
                    <a:pt x="3828" y="12966"/>
                    <a:pt x="3841" y="12949"/>
                    <a:pt x="3856" y="12942"/>
                  </a:cubicBezTo>
                  <a:cubicBezTo>
                    <a:pt x="3878" y="12931"/>
                    <a:pt x="3912" y="12929"/>
                    <a:pt x="3941" y="12926"/>
                  </a:cubicBezTo>
                  <a:cubicBezTo>
                    <a:pt x="3971" y="12922"/>
                    <a:pt x="4015" y="12916"/>
                    <a:pt x="4028" y="12889"/>
                  </a:cubicBezTo>
                  <a:cubicBezTo>
                    <a:pt x="4028" y="12888"/>
                    <a:pt x="4028" y="12887"/>
                    <a:pt x="4028" y="12885"/>
                  </a:cubicBezTo>
                  <a:cubicBezTo>
                    <a:pt x="4027" y="12875"/>
                    <a:pt x="4016" y="12872"/>
                    <a:pt x="4000" y="12867"/>
                  </a:cubicBezTo>
                  <a:cubicBezTo>
                    <a:pt x="3985" y="12863"/>
                    <a:pt x="3965" y="12860"/>
                    <a:pt x="3943" y="12857"/>
                  </a:cubicBezTo>
                  <a:cubicBezTo>
                    <a:pt x="3901" y="12851"/>
                    <a:pt x="3855" y="12847"/>
                    <a:pt x="3842" y="12845"/>
                  </a:cubicBezTo>
                  <a:cubicBezTo>
                    <a:pt x="3822" y="12841"/>
                    <a:pt x="3812" y="12826"/>
                    <a:pt x="3812" y="12817"/>
                  </a:cubicBezTo>
                  <a:cubicBezTo>
                    <a:pt x="3812" y="12815"/>
                    <a:pt x="3812" y="12813"/>
                    <a:pt x="3813" y="12812"/>
                  </a:cubicBezTo>
                  <a:cubicBezTo>
                    <a:pt x="3814" y="12811"/>
                    <a:pt x="3815" y="12810"/>
                    <a:pt x="3818" y="12810"/>
                  </a:cubicBezTo>
                  <a:cubicBezTo>
                    <a:pt x="3827" y="12810"/>
                    <a:pt x="3845" y="12820"/>
                    <a:pt x="3845" y="12820"/>
                  </a:cubicBezTo>
                  <a:cubicBezTo>
                    <a:pt x="3846" y="12820"/>
                    <a:pt x="3846" y="12820"/>
                    <a:pt x="3846" y="12820"/>
                  </a:cubicBezTo>
                  <a:cubicBezTo>
                    <a:pt x="3847" y="12820"/>
                    <a:pt x="3847" y="12820"/>
                    <a:pt x="3847" y="12820"/>
                  </a:cubicBezTo>
                  <a:cubicBezTo>
                    <a:pt x="3847" y="12820"/>
                    <a:pt x="4004" y="12815"/>
                    <a:pt x="4065" y="12815"/>
                  </a:cubicBezTo>
                  <a:cubicBezTo>
                    <a:pt x="4071" y="12815"/>
                    <a:pt x="4077" y="12815"/>
                    <a:pt x="4081" y="12815"/>
                  </a:cubicBezTo>
                  <a:cubicBezTo>
                    <a:pt x="4119" y="12816"/>
                    <a:pt x="4142" y="12832"/>
                    <a:pt x="4145" y="12834"/>
                  </a:cubicBezTo>
                  <a:cubicBezTo>
                    <a:pt x="4147" y="12837"/>
                    <a:pt x="4148" y="12841"/>
                    <a:pt x="4148" y="12846"/>
                  </a:cubicBezTo>
                  <a:cubicBezTo>
                    <a:pt x="4148" y="12860"/>
                    <a:pt x="4138" y="12882"/>
                    <a:pt x="4135" y="12886"/>
                  </a:cubicBezTo>
                  <a:cubicBezTo>
                    <a:pt x="4134" y="12888"/>
                    <a:pt x="4109" y="12905"/>
                    <a:pt x="4083" y="12923"/>
                  </a:cubicBezTo>
                  <a:cubicBezTo>
                    <a:pt x="4057" y="12940"/>
                    <a:pt x="4030" y="12959"/>
                    <a:pt x="4020" y="12969"/>
                  </a:cubicBezTo>
                  <a:cubicBezTo>
                    <a:pt x="4001" y="12990"/>
                    <a:pt x="4005" y="13044"/>
                    <a:pt x="4001" y="13057"/>
                  </a:cubicBezTo>
                  <a:close/>
                  <a:moveTo>
                    <a:pt x="2614" y="11344"/>
                  </a:moveTo>
                  <a:cubicBezTo>
                    <a:pt x="2614" y="11369"/>
                    <a:pt x="2621" y="11392"/>
                    <a:pt x="2621" y="11403"/>
                  </a:cubicBezTo>
                  <a:cubicBezTo>
                    <a:pt x="2621" y="11405"/>
                    <a:pt x="2620" y="11407"/>
                    <a:pt x="2620" y="11408"/>
                  </a:cubicBezTo>
                  <a:cubicBezTo>
                    <a:pt x="2615" y="11426"/>
                    <a:pt x="2625" y="11514"/>
                    <a:pt x="2572" y="11564"/>
                  </a:cubicBezTo>
                  <a:cubicBezTo>
                    <a:pt x="2543" y="11591"/>
                    <a:pt x="2539" y="11598"/>
                    <a:pt x="2539" y="11599"/>
                  </a:cubicBezTo>
                  <a:cubicBezTo>
                    <a:pt x="2536" y="11605"/>
                    <a:pt x="2536" y="11605"/>
                    <a:pt x="2536" y="11605"/>
                  </a:cubicBezTo>
                  <a:cubicBezTo>
                    <a:pt x="2543" y="11605"/>
                    <a:pt x="2543" y="11605"/>
                    <a:pt x="2543" y="11605"/>
                  </a:cubicBezTo>
                  <a:cubicBezTo>
                    <a:pt x="2543" y="11605"/>
                    <a:pt x="2595" y="11602"/>
                    <a:pt x="2653" y="11577"/>
                  </a:cubicBezTo>
                  <a:cubicBezTo>
                    <a:pt x="2710" y="11553"/>
                    <a:pt x="2778" y="11531"/>
                    <a:pt x="2790" y="11457"/>
                  </a:cubicBezTo>
                  <a:cubicBezTo>
                    <a:pt x="2790" y="11457"/>
                    <a:pt x="2789" y="11437"/>
                    <a:pt x="2789" y="11411"/>
                  </a:cubicBezTo>
                  <a:cubicBezTo>
                    <a:pt x="2789" y="11387"/>
                    <a:pt x="2790" y="11359"/>
                    <a:pt x="2795" y="11341"/>
                  </a:cubicBezTo>
                  <a:cubicBezTo>
                    <a:pt x="2806" y="11302"/>
                    <a:pt x="2849" y="11266"/>
                    <a:pt x="2849" y="11224"/>
                  </a:cubicBezTo>
                  <a:cubicBezTo>
                    <a:pt x="2849" y="11223"/>
                    <a:pt x="2849" y="11223"/>
                    <a:pt x="2849" y="11222"/>
                  </a:cubicBezTo>
                  <a:cubicBezTo>
                    <a:pt x="2848" y="11182"/>
                    <a:pt x="2840" y="11172"/>
                    <a:pt x="2827" y="11163"/>
                  </a:cubicBezTo>
                  <a:cubicBezTo>
                    <a:pt x="2820" y="11159"/>
                    <a:pt x="2812" y="11157"/>
                    <a:pt x="2801" y="11157"/>
                  </a:cubicBezTo>
                  <a:cubicBezTo>
                    <a:pt x="2760" y="11157"/>
                    <a:pt x="2689" y="11189"/>
                    <a:pt x="2621" y="11306"/>
                  </a:cubicBezTo>
                  <a:cubicBezTo>
                    <a:pt x="2616" y="11318"/>
                    <a:pt x="2614" y="11332"/>
                    <a:pt x="2614" y="11344"/>
                  </a:cubicBezTo>
                  <a:close/>
                  <a:moveTo>
                    <a:pt x="2628" y="11309"/>
                  </a:moveTo>
                  <a:cubicBezTo>
                    <a:pt x="2695" y="11195"/>
                    <a:pt x="2764" y="11165"/>
                    <a:pt x="2801" y="11165"/>
                  </a:cubicBezTo>
                  <a:cubicBezTo>
                    <a:pt x="2810" y="11165"/>
                    <a:pt x="2818" y="11167"/>
                    <a:pt x="2822" y="11170"/>
                  </a:cubicBezTo>
                  <a:cubicBezTo>
                    <a:pt x="2834" y="11178"/>
                    <a:pt x="2839" y="11183"/>
                    <a:pt x="2841" y="11223"/>
                  </a:cubicBezTo>
                  <a:cubicBezTo>
                    <a:pt x="2841" y="11223"/>
                    <a:pt x="2841" y="11223"/>
                    <a:pt x="2841" y="11224"/>
                  </a:cubicBezTo>
                  <a:cubicBezTo>
                    <a:pt x="2842" y="11260"/>
                    <a:pt x="2799" y="11297"/>
                    <a:pt x="2787" y="11338"/>
                  </a:cubicBezTo>
                  <a:cubicBezTo>
                    <a:pt x="2782" y="11359"/>
                    <a:pt x="2781" y="11387"/>
                    <a:pt x="2781" y="11411"/>
                  </a:cubicBezTo>
                  <a:cubicBezTo>
                    <a:pt x="2781" y="11436"/>
                    <a:pt x="2782" y="11457"/>
                    <a:pt x="2782" y="11457"/>
                  </a:cubicBezTo>
                  <a:cubicBezTo>
                    <a:pt x="2771" y="11524"/>
                    <a:pt x="2708" y="11545"/>
                    <a:pt x="2650" y="11570"/>
                  </a:cubicBezTo>
                  <a:cubicBezTo>
                    <a:pt x="2607" y="11588"/>
                    <a:pt x="2568" y="11594"/>
                    <a:pt x="2551" y="11596"/>
                  </a:cubicBezTo>
                  <a:cubicBezTo>
                    <a:pt x="2556" y="11591"/>
                    <a:pt x="2563" y="11583"/>
                    <a:pt x="2577" y="11570"/>
                  </a:cubicBezTo>
                  <a:cubicBezTo>
                    <a:pt x="2635" y="11517"/>
                    <a:pt x="2624" y="11423"/>
                    <a:pt x="2628" y="11410"/>
                  </a:cubicBezTo>
                  <a:cubicBezTo>
                    <a:pt x="2629" y="11408"/>
                    <a:pt x="2629" y="11406"/>
                    <a:pt x="2629" y="11403"/>
                  </a:cubicBezTo>
                  <a:cubicBezTo>
                    <a:pt x="2629" y="11389"/>
                    <a:pt x="2622" y="11368"/>
                    <a:pt x="2622" y="11344"/>
                  </a:cubicBezTo>
                  <a:cubicBezTo>
                    <a:pt x="2622" y="11332"/>
                    <a:pt x="2624" y="11320"/>
                    <a:pt x="2628" y="11309"/>
                  </a:cubicBezTo>
                  <a:close/>
                  <a:moveTo>
                    <a:pt x="550" y="9452"/>
                  </a:moveTo>
                  <a:cubicBezTo>
                    <a:pt x="583" y="9477"/>
                    <a:pt x="634" y="9504"/>
                    <a:pt x="644" y="9551"/>
                  </a:cubicBezTo>
                  <a:cubicBezTo>
                    <a:pt x="645" y="9556"/>
                    <a:pt x="646" y="9562"/>
                    <a:pt x="646" y="9567"/>
                  </a:cubicBezTo>
                  <a:cubicBezTo>
                    <a:pt x="646" y="9608"/>
                    <a:pt x="615" y="9644"/>
                    <a:pt x="615" y="9644"/>
                  </a:cubicBezTo>
                  <a:cubicBezTo>
                    <a:pt x="611" y="9649"/>
                    <a:pt x="611" y="9649"/>
                    <a:pt x="611" y="9649"/>
                  </a:cubicBezTo>
                  <a:cubicBezTo>
                    <a:pt x="616" y="9651"/>
                    <a:pt x="616" y="9651"/>
                    <a:pt x="616" y="9651"/>
                  </a:cubicBezTo>
                  <a:cubicBezTo>
                    <a:pt x="616" y="9651"/>
                    <a:pt x="676" y="9678"/>
                    <a:pt x="697" y="9686"/>
                  </a:cubicBezTo>
                  <a:cubicBezTo>
                    <a:pt x="705" y="9690"/>
                    <a:pt x="718" y="9692"/>
                    <a:pt x="734" y="9692"/>
                  </a:cubicBezTo>
                  <a:cubicBezTo>
                    <a:pt x="760" y="9692"/>
                    <a:pt x="794" y="9686"/>
                    <a:pt x="822" y="9667"/>
                  </a:cubicBezTo>
                  <a:cubicBezTo>
                    <a:pt x="866" y="9638"/>
                    <a:pt x="898" y="9608"/>
                    <a:pt x="913" y="9582"/>
                  </a:cubicBezTo>
                  <a:cubicBezTo>
                    <a:pt x="926" y="9558"/>
                    <a:pt x="940" y="9532"/>
                    <a:pt x="945" y="9530"/>
                  </a:cubicBezTo>
                  <a:cubicBezTo>
                    <a:pt x="948" y="9529"/>
                    <a:pt x="948" y="9529"/>
                    <a:pt x="948" y="9529"/>
                  </a:cubicBezTo>
                  <a:cubicBezTo>
                    <a:pt x="947" y="9526"/>
                    <a:pt x="947" y="9526"/>
                    <a:pt x="947" y="9526"/>
                  </a:cubicBezTo>
                  <a:cubicBezTo>
                    <a:pt x="947" y="9525"/>
                    <a:pt x="941" y="9509"/>
                    <a:pt x="919" y="9509"/>
                  </a:cubicBezTo>
                  <a:cubicBezTo>
                    <a:pt x="910" y="9509"/>
                    <a:pt x="899" y="9511"/>
                    <a:pt x="884" y="9519"/>
                  </a:cubicBezTo>
                  <a:cubicBezTo>
                    <a:pt x="847" y="9538"/>
                    <a:pt x="813" y="9556"/>
                    <a:pt x="791" y="9556"/>
                  </a:cubicBezTo>
                  <a:cubicBezTo>
                    <a:pt x="785" y="9556"/>
                    <a:pt x="780" y="9555"/>
                    <a:pt x="776" y="9552"/>
                  </a:cubicBezTo>
                  <a:cubicBezTo>
                    <a:pt x="752" y="9537"/>
                    <a:pt x="744" y="9533"/>
                    <a:pt x="738" y="9504"/>
                  </a:cubicBezTo>
                  <a:cubicBezTo>
                    <a:pt x="733" y="9474"/>
                    <a:pt x="722" y="9443"/>
                    <a:pt x="685" y="9433"/>
                  </a:cubicBezTo>
                  <a:cubicBezTo>
                    <a:pt x="649" y="9423"/>
                    <a:pt x="608" y="9420"/>
                    <a:pt x="599" y="9415"/>
                  </a:cubicBezTo>
                  <a:cubicBezTo>
                    <a:pt x="591" y="9411"/>
                    <a:pt x="557" y="9394"/>
                    <a:pt x="549" y="9389"/>
                  </a:cubicBezTo>
                  <a:cubicBezTo>
                    <a:pt x="548" y="9389"/>
                    <a:pt x="548" y="9388"/>
                    <a:pt x="548" y="9388"/>
                  </a:cubicBezTo>
                  <a:cubicBezTo>
                    <a:pt x="547" y="9386"/>
                    <a:pt x="545" y="9386"/>
                    <a:pt x="544" y="9386"/>
                  </a:cubicBezTo>
                  <a:cubicBezTo>
                    <a:pt x="544" y="9386"/>
                    <a:pt x="540" y="9386"/>
                    <a:pt x="540" y="9390"/>
                  </a:cubicBezTo>
                  <a:cubicBezTo>
                    <a:pt x="540" y="9391"/>
                    <a:pt x="540" y="9392"/>
                    <a:pt x="540" y="9392"/>
                  </a:cubicBezTo>
                  <a:cubicBezTo>
                    <a:pt x="539" y="9396"/>
                    <a:pt x="533" y="9408"/>
                    <a:pt x="533" y="9420"/>
                  </a:cubicBezTo>
                  <a:cubicBezTo>
                    <a:pt x="533" y="9431"/>
                    <a:pt x="537" y="9443"/>
                    <a:pt x="550" y="9452"/>
                  </a:cubicBezTo>
                  <a:close/>
                  <a:moveTo>
                    <a:pt x="547" y="9398"/>
                  </a:moveTo>
                  <a:cubicBezTo>
                    <a:pt x="547" y="9398"/>
                    <a:pt x="548" y="9398"/>
                    <a:pt x="549" y="9399"/>
                  </a:cubicBezTo>
                  <a:cubicBezTo>
                    <a:pt x="553" y="9401"/>
                    <a:pt x="559" y="9404"/>
                    <a:pt x="565" y="9407"/>
                  </a:cubicBezTo>
                  <a:cubicBezTo>
                    <a:pt x="577" y="9413"/>
                    <a:pt x="590" y="9420"/>
                    <a:pt x="596" y="9423"/>
                  </a:cubicBezTo>
                  <a:cubicBezTo>
                    <a:pt x="609" y="9429"/>
                    <a:pt x="647" y="9431"/>
                    <a:pt x="682" y="9441"/>
                  </a:cubicBezTo>
                  <a:cubicBezTo>
                    <a:pt x="716" y="9450"/>
                    <a:pt x="724" y="9476"/>
                    <a:pt x="730" y="9506"/>
                  </a:cubicBezTo>
                  <a:cubicBezTo>
                    <a:pt x="735" y="9537"/>
                    <a:pt x="749" y="9544"/>
                    <a:pt x="771" y="9559"/>
                  </a:cubicBezTo>
                  <a:cubicBezTo>
                    <a:pt x="777" y="9563"/>
                    <a:pt x="784" y="9564"/>
                    <a:pt x="791" y="9564"/>
                  </a:cubicBezTo>
                  <a:cubicBezTo>
                    <a:pt x="817" y="9564"/>
                    <a:pt x="850" y="9545"/>
                    <a:pt x="888" y="9526"/>
                  </a:cubicBezTo>
                  <a:cubicBezTo>
                    <a:pt x="902" y="9519"/>
                    <a:pt x="912" y="9517"/>
                    <a:pt x="919" y="9517"/>
                  </a:cubicBezTo>
                  <a:cubicBezTo>
                    <a:pt x="931" y="9517"/>
                    <a:pt x="936" y="9522"/>
                    <a:pt x="938" y="9526"/>
                  </a:cubicBezTo>
                  <a:cubicBezTo>
                    <a:pt x="928" y="9534"/>
                    <a:pt x="918" y="9556"/>
                    <a:pt x="905" y="9578"/>
                  </a:cubicBezTo>
                  <a:cubicBezTo>
                    <a:pt x="892" y="9602"/>
                    <a:pt x="861" y="9632"/>
                    <a:pt x="818" y="9660"/>
                  </a:cubicBezTo>
                  <a:cubicBezTo>
                    <a:pt x="791" y="9678"/>
                    <a:pt x="759" y="9684"/>
                    <a:pt x="734" y="9684"/>
                  </a:cubicBezTo>
                  <a:cubicBezTo>
                    <a:pt x="719" y="9684"/>
                    <a:pt x="707" y="9682"/>
                    <a:pt x="700" y="9679"/>
                  </a:cubicBezTo>
                  <a:cubicBezTo>
                    <a:pt x="683" y="9672"/>
                    <a:pt x="639" y="9652"/>
                    <a:pt x="624" y="9645"/>
                  </a:cubicBezTo>
                  <a:cubicBezTo>
                    <a:pt x="633" y="9634"/>
                    <a:pt x="654" y="9603"/>
                    <a:pt x="654" y="9567"/>
                  </a:cubicBezTo>
                  <a:cubicBezTo>
                    <a:pt x="654" y="9561"/>
                    <a:pt x="653" y="9555"/>
                    <a:pt x="652" y="9549"/>
                  </a:cubicBezTo>
                  <a:cubicBezTo>
                    <a:pt x="640" y="9497"/>
                    <a:pt x="587" y="9470"/>
                    <a:pt x="555" y="9446"/>
                  </a:cubicBezTo>
                  <a:cubicBezTo>
                    <a:pt x="544" y="9437"/>
                    <a:pt x="541" y="9429"/>
                    <a:pt x="541" y="9420"/>
                  </a:cubicBezTo>
                  <a:cubicBezTo>
                    <a:pt x="541" y="9411"/>
                    <a:pt x="544" y="9403"/>
                    <a:pt x="547" y="9398"/>
                  </a:cubicBezTo>
                  <a:close/>
                  <a:moveTo>
                    <a:pt x="1653" y="8749"/>
                  </a:moveTo>
                  <a:cubicBezTo>
                    <a:pt x="1654" y="8750"/>
                    <a:pt x="1654" y="8750"/>
                    <a:pt x="1654" y="8750"/>
                  </a:cubicBezTo>
                  <a:cubicBezTo>
                    <a:pt x="1656" y="8749"/>
                    <a:pt x="1656" y="8749"/>
                    <a:pt x="1656" y="8749"/>
                  </a:cubicBezTo>
                  <a:cubicBezTo>
                    <a:pt x="1656" y="8748"/>
                    <a:pt x="1684" y="8730"/>
                    <a:pt x="1696" y="8702"/>
                  </a:cubicBezTo>
                  <a:cubicBezTo>
                    <a:pt x="1707" y="8675"/>
                    <a:pt x="1717" y="8667"/>
                    <a:pt x="1740" y="8659"/>
                  </a:cubicBezTo>
                  <a:cubicBezTo>
                    <a:pt x="1762" y="8651"/>
                    <a:pt x="1811" y="8648"/>
                    <a:pt x="1855" y="8624"/>
                  </a:cubicBezTo>
                  <a:cubicBezTo>
                    <a:pt x="1883" y="8609"/>
                    <a:pt x="1898" y="8596"/>
                    <a:pt x="1899" y="8581"/>
                  </a:cubicBezTo>
                  <a:cubicBezTo>
                    <a:pt x="1899" y="8572"/>
                    <a:pt x="1893" y="8565"/>
                    <a:pt x="1882" y="8560"/>
                  </a:cubicBezTo>
                  <a:cubicBezTo>
                    <a:pt x="1855" y="8545"/>
                    <a:pt x="1798" y="8550"/>
                    <a:pt x="1782" y="8543"/>
                  </a:cubicBezTo>
                  <a:cubicBezTo>
                    <a:pt x="1772" y="8539"/>
                    <a:pt x="1760" y="8524"/>
                    <a:pt x="1760" y="8512"/>
                  </a:cubicBezTo>
                  <a:cubicBezTo>
                    <a:pt x="1760" y="8506"/>
                    <a:pt x="1762" y="8501"/>
                    <a:pt x="1768" y="8497"/>
                  </a:cubicBezTo>
                  <a:cubicBezTo>
                    <a:pt x="1788" y="8482"/>
                    <a:pt x="1835" y="8485"/>
                    <a:pt x="1842" y="8462"/>
                  </a:cubicBezTo>
                  <a:cubicBezTo>
                    <a:pt x="1843" y="8458"/>
                    <a:pt x="1844" y="8452"/>
                    <a:pt x="1844" y="8445"/>
                  </a:cubicBezTo>
                  <a:cubicBezTo>
                    <a:pt x="1844" y="8421"/>
                    <a:pt x="1836" y="8381"/>
                    <a:pt x="1802" y="8380"/>
                  </a:cubicBezTo>
                  <a:cubicBezTo>
                    <a:pt x="1801" y="8380"/>
                    <a:pt x="1800" y="8380"/>
                    <a:pt x="1798" y="8380"/>
                  </a:cubicBezTo>
                  <a:cubicBezTo>
                    <a:pt x="1754" y="8385"/>
                    <a:pt x="1749" y="8423"/>
                    <a:pt x="1744" y="8439"/>
                  </a:cubicBezTo>
                  <a:cubicBezTo>
                    <a:pt x="1741" y="8454"/>
                    <a:pt x="1703" y="8468"/>
                    <a:pt x="1689" y="8484"/>
                  </a:cubicBezTo>
                  <a:cubicBezTo>
                    <a:pt x="1680" y="8495"/>
                    <a:pt x="1671" y="8505"/>
                    <a:pt x="1671" y="8517"/>
                  </a:cubicBezTo>
                  <a:cubicBezTo>
                    <a:pt x="1670" y="8522"/>
                    <a:pt x="1673" y="8527"/>
                    <a:pt x="1677" y="8532"/>
                  </a:cubicBezTo>
                  <a:cubicBezTo>
                    <a:pt x="1685" y="8542"/>
                    <a:pt x="1694" y="8558"/>
                    <a:pt x="1694" y="8572"/>
                  </a:cubicBezTo>
                  <a:cubicBezTo>
                    <a:pt x="1694" y="8576"/>
                    <a:pt x="1693" y="8581"/>
                    <a:pt x="1691" y="8585"/>
                  </a:cubicBezTo>
                  <a:cubicBezTo>
                    <a:pt x="1683" y="8602"/>
                    <a:pt x="1657" y="8610"/>
                    <a:pt x="1643" y="8647"/>
                  </a:cubicBezTo>
                  <a:cubicBezTo>
                    <a:pt x="1636" y="8665"/>
                    <a:pt x="1631" y="8688"/>
                    <a:pt x="1631" y="8707"/>
                  </a:cubicBezTo>
                  <a:cubicBezTo>
                    <a:pt x="1631" y="8727"/>
                    <a:pt x="1636" y="8745"/>
                    <a:pt x="1653" y="8749"/>
                  </a:cubicBezTo>
                  <a:close/>
                  <a:moveTo>
                    <a:pt x="1651" y="8650"/>
                  </a:moveTo>
                  <a:cubicBezTo>
                    <a:pt x="1664" y="8616"/>
                    <a:pt x="1687" y="8610"/>
                    <a:pt x="1698" y="8588"/>
                  </a:cubicBezTo>
                  <a:cubicBezTo>
                    <a:pt x="1701" y="8583"/>
                    <a:pt x="1702" y="8577"/>
                    <a:pt x="1702" y="8572"/>
                  </a:cubicBezTo>
                  <a:cubicBezTo>
                    <a:pt x="1702" y="8554"/>
                    <a:pt x="1692" y="8537"/>
                    <a:pt x="1683" y="8527"/>
                  </a:cubicBezTo>
                  <a:cubicBezTo>
                    <a:pt x="1680" y="8523"/>
                    <a:pt x="1679" y="8520"/>
                    <a:pt x="1679" y="8517"/>
                  </a:cubicBezTo>
                  <a:cubicBezTo>
                    <a:pt x="1678" y="8510"/>
                    <a:pt x="1686" y="8500"/>
                    <a:pt x="1695" y="8489"/>
                  </a:cubicBezTo>
                  <a:cubicBezTo>
                    <a:pt x="1706" y="8476"/>
                    <a:pt x="1744" y="8463"/>
                    <a:pt x="1752" y="8442"/>
                  </a:cubicBezTo>
                  <a:cubicBezTo>
                    <a:pt x="1758" y="8423"/>
                    <a:pt x="1761" y="8392"/>
                    <a:pt x="1799" y="8388"/>
                  </a:cubicBezTo>
                  <a:cubicBezTo>
                    <a:pt x="1800" y="8388"/>
                    <a:pt x="1801" y="8388"/>
                    <a:pt x="1802" y="8388"/>
                  </a:cubicBezTo>
                  <a:cubicBezTo>
                    <a:pt x="1815" y="8388"/>
                    <a:pt x="1823" y="8396"/>
                    <a:pt x="1828" y="8407"/>
                  </a:cubicBezTo>
                  <a:cubicBezTo>
                    <a:pt x="1834" y="8419"/>
                    <a:pt x="1836" y="8434"/>
                    <a:pt x="1836" y="8445"/>
                  </a:cubicBezTo>
                  <a:cubicBezTo>
                    <a:pt x="1836" y="8452"/>
                    <a:pt x="1835" y="8457"/>
                    <a:pt x="1834" y="8460"/>
                  </a:cubicBezTo>
                  <a:cubicBezTo>
                    <a:pt x="1834" y="8473"/>
                    <a:pt x="1787" y="8475"/>
                    <a:pt x="1763" y="8490"/>
                  </a:cubicBezTo>
                  <a:cubicBezTo>
                    <a:pt x="1755" y="8496"/>
                    <a:pt x="1752" y="8504"/>
                    <a:pt x="1752" y="8512"/>
                  </a:cubicBezTo>
                  <a:cubicBezTo>
                    <a:pt x="1752" y="8529"/>
                    <a:pt x="1765" y="8545"/>
                    <a:pt x="1779" y="8551"/>
                  </a:cubicBezTo>
                  <a:cubicBezTo>
                    <a:pt x="1799" y="8558"/>
                    <a:pt x="1855" y="8554"/>
                    <a:pt x="1879" y="8567"/>
                  </a:cubicBezTo>
                  <a:cubicBezTo>
                    <a:pt x="1888" y="8572"/>
                    <a:pt x="1891" y="8577"/>
                    <a:pt x="1891" y="8581"/>
                  </a:cubicBezTo>
                  <a:cubicBezTo>
                    <a:pt x="1891" y="8589"/>
                    <a:pt x="1879" y="8603"/>
                    <a:pt x="1851" y="8617"/>
                  </a:cubicBezTo>
                  <a:cubicBezTo>
                    <a:pt x="1808" y="8640"/>
                    <a:pt x="1761" y="8643"/>
                    <a:pt x="1737" y="8651"/>
                  </a:cubicBezTo>
                  <a:cubicBezTo>
                    <a:pt x="1713" y="8659"/>
                    <a:pt x="1699" y="8671"/>
                    <a:pt x="1688" y="8699"/>
                  </a:cubicBezTo>
                  <a:cubicBezTo>
                    <a:pt x="1679" y="8721"/>
                    <a:pt x="1659" y="8737"/>
                    <a:pt x="1653" y="8741"/>
                  </a:cubicBezTo>
                  <a:cubicBezTo>
                    <a:pt x="1644" y="8737"/>
                    <a:pt x="1639" y="8725"/>
                    <a:pt x="1639" y="8707"/>
                  </a:cubicBezTo>
                  <a:cubicBezTo>
                    <a:pt x="1639" y="8689"/>
                    <a:pt x="1644" y="8667"/>
                    <a:pt x="1651" y="8650"/>
                  </a:cubicBezTo>
                  <a:close/>
                  <a:moveTo>
                    <a:pt x="3423" y="7980"/>
                  </a:moveTo>
                  <a:cubicBezTo>
                    <a:pt x="3470" y="7980"/>
                    <a:pt x="3514" y="7964"/>
                    <a:pt x="3524" y="7930"/>
                  </a:cubicBezTo>
                  <a:cubicBezTo>
                    <a:pt x="3526" y="7925"/>
                    <a:pt x="3527" y="7919"/>
                    <a:pt x="3527" y="7913"/>
                  </a:cubicBezTo>
                  <a:cubicBezTo>
                    <a:pt x="3527" y="7871"/>
                    <a:pt x="3488" y="7829"/>
                    <a:pt x="3431" y="7811"/>
                  </a:cubicBezTo>
                  <a:cubicBezTo>
                    <a:pt x="3404" y="7802"/>
                    <a:pt x="3378" y="7798"/>
                    <a:pt x="3356" y="7798"/>
                  </a:cubicBezTo>
                  <a:cubicBezTo>
                    <a:pt x="3311" y="7798"/>
                    <a:pt x="3278" y="7814"/>
                    <a:pt x="3267" y="7844"/>
                  </a:cubicBezTo>
                  <a:cubicBezTo>
                    <a:pt x="3264" y="7850"/>
                    <a:pt x="3263" y="7856"/>
                    <a:pt x="3263" y="7863"/>
                  </a:cubicBezTo>
                  <a:cubicBezTo>
                    <a:pt x="3263" y="7905"/>
                    <a:pt x="3309" y="7956"/>
                    <a:pt x="3366" y="7972"/>
                  </a:cubicBezTo>
                  <a:cubicBezTo>
                    <a:pt x="3384" y="7978"/>
                    <a:pt x="3404" y="7980"/>
                    <a:pt x="3423" y="7980"/>
                  </a:cubicBezTo>
                  <a:close/>
                  <a:moveTo>
                    <a:pt x="3271" y="7863"/>
                  </a:moveTo>
                  <a:cubicBezTo>
                    <a:pt x="3271" y="7857"/>
                    <a:pt x="3272" y="7852"/>
                    <a:pt x="3274" y="7847"/>
                  </a:cubicBezTo>
                  <a:cubicBezTo>
                    <a:pt x="3284" y="7822"/>
                    <a:pt x="3313" y="7806"/>
                    <a:pt x="3356" y="7806"/>
                  </a:cubicBezTo>
                  <a:cubicBezTo>
                    <a:pt x="3377" y="7806"/>
                    <a:pt x="3402" y="7810"/>
                    <a:pt x="3429" y="7819"/>
                  </a:cubicBezTo>
                  <a:cubicBezTo>
                    <a:pt x="3483" y="7836"/>
                    <a:pt x="3519" y="7877"/>
                    <a:pt x="3519" y="7913"/>
                  </a:cubicBezTo>
                  <a:cubicBezTo>
                    <a:pt x="3519" y="7918"/>
                    <a:pt x="3518" y="7923"/>
                    <a:pt x="3516" y="7928"/>
                  </a:cubicBezTo>
                  <a:cubicBezTo>
                    <a:pt x="3509" y="7956"/>
                    <a:pt x="3469" y="7972"/>
                    <a:pt x="3423" y="7972"/>
                  </a:cubicBezTo>
                  <a:cubicBezTo>
                    <a:pt x="3405" y="7972"/>
                    <a:pt x="3386" y="7970"/>
                    <a:pt x="3368" y="7964"/>
                  </a:cubicBezTo>
                  <a:cubicBezTo>
                    <a:pt x="3314" y="7949"/>
                    <a:pt x="3271" y="7899"/>
                    <a:pt x="3271" y="7863"/>
                  </a:cubicBezTo>
                  <a:close/>
                  <a:moveTo>
                    <a:pt x="589" y="15150"/>
                  </a:moveTo>
                  <a:cubicBezTo>
                    <a:pt x="557" y="15150"/>
                    <a:pt x="524" y="15161"/>
                    <a:pt x="503" y="15176"/>
                  </a:cubicBezTo>
                  <a:cubicBezTo>
                    <a:pt x="476" y="15195"/>
                    <a:pt x="441" y="15240"/>
                    <a:pt x="441" y="15276"/>
                  </a:cubicBezTo>
                  <a:cubicBezTo>
                    <a:pt x="441" y="15288"/>
                    <a:pt x="445" y="15300"/>
                    <a:pt x="456" y="15308"/>
                  </a:cubicBezTo>
                  <a:cubicBezTo>
                    <a:pt x="472" y="15320"/>
                    <a:pt x="494" y="15326"/>
                    <a:pt x="517" y="15326"/>
                  </a:cubicBezTo>
                  <a:cubicBezTo>
                    <a:pt x="552" y="15326"/>
                    <a:pt x="590" y="15313"/>
                    <a:pt x="621" y="15285"/>
                  </a:cubicBezTo>
                  <a:cubicBezTo>
                    <a:pt x="652" y="15256"/>
                    <a:pt x="664" y="15233"/>
                    <a:pt x="664" y="15212"/>
                  </a:cubicBezTo>
                  <a:cubicBezTo>
                    <a:pt x="664" y="15198"/>
                    <a:pt x="659" y="15186"/>
                    <a:pt x="650" y="15175"/>
                  </a:cubicBezTo>
                  <a:cubicBezTo>
                    <a:pt x="636" y="15157"/>
                    <a:pt x="613" y="15150"/>
                    <a:pt x="589" y="15150"/>
                  </a:cubicBezTo>
                  <a:close/>
                  <a:moveTo>
                    <a:pt x="615" y="15279"/>
                  </a:moveTo>
                  <a:cubicBezTo>
                    <a:pt x="586" y="15306"/>
                    <a:pt x="549" y="15318"/>
                    <a:pt x="517" y="15318"/>
                  </a:cubicBezTo>
                  <a:cubicBezTo>
                    <a:pt x="495" y="15318"/>
                    <a:pt x="475" y="15312"/>
                    <a:pt x="461" y="15301"/>
                  </a:cubicBezTo>
                  <a:cubicBezTo>
                    <a:pt x="452" y="15295"/>
                    <a:pt x="449" y="15286"/>
                    <a:pt x="449" y="15276"/>
                  </a:cubicBezTo>
                  <a:cubicBezTo>
                    <a:pt x="449" y="15245"/>
                    <a:pt x="482" y="15200"/>
                    <a:pt x="508" y="15183"/>
                  </a:cubicBezTo>
                  <a:cubicBezTo>
                    <a:pt x="526" y="15169"/>
                    <a:pt x="559" y="15158"/>
                    <a:pt x="589" y="15158"/>
                  </a:cubicBezTo>
                  <a:cubicBezTo>
                    <a:pt x="612" y="15158"/>
                    <a:pt x="632" y="15165"/>
                    <a:pt x="643" y="15180"/>
                  </a:cubicBezTo>
                  <a:cubicBezTo>
                    <a:pt x="647" y="15177"/>
                    <a:pt x="647" y="15177"/>
                    <a:pt x="647" y="15177"/>
                  </a:cubicBezTo>
                  <a:cubicBezTo>
                    <a:pt x="643" y="15180"/>
                    <a:pt x="643" y="15180"/>
                    <a:pt x="643" y="15180"/>
                  </a:cubicBezTo>
                  <a:cubicBezTo>
                    <a:pt x="651" y="15190"/>
                    <a:pt x="656" y="15200"/>
                    <a:pt x="656" y="15212"/>
                  </a:cubicBezTo>
                  <a:cubicBezTo>
                    <a:pt x="656" y="15229"/>
                    <a:pt x="645" y="15251"/>
                    <a:pt x="615" y="15279"/>
                  </a:cubicBezTo>
                  <a:close/>
                  <a:moveTo>
                    <a:pt x="2029" y="15610"/>
                  </a:moveTo>
                  <a:cubicBezTo>
                    <a:pt x="2023" y="15604"/>
                    <a:pt x="2023" y="15604"/>
                    <a:pt x="2023" y="15604"/>
                  </a:cubicBezTo>
                  <a:cubicBezTo>
                    <a:pt x="1899" y="15811"/>
                    <a:pt x="1899" y="15811"/>
                    <a:pt x="1899" y="15811"/>
                  </a:cubicBezTo>
                  <a:cubicBezTo>
                    <a:pt x="1799" y="15744"/>
                    <a:pt x="1799" y="15744"/>
                    <a:pt x="1799" y="15744"/>
                  </a:cubicBezTo>
                  <a:cubicBezTo>
                    <a:pt x="1610" y="16025"/>
                    <a:pt x="1610" y="16025"/>
                    <a:pt x="1610" y="16025"/>
                  </a:cubicBezTo>
                  <a:cubicBezTo>
                    <a:pt x="1781" y="16185"/>
                    <a:pt x="1781" y="16185"/>
                    <a:pt x="1781" y="16185"/>
                  </a:cubicBezTo>
                  <a:cubicBezTo>
                    <a:pt x="1878" y="16094"/>
                    <a:pt x="1878" y="16094"/>
                    <a:pt x="1878" y="16094"/>
                  </a:cubicBezTo>
                  <a:cubicBezTo>
                    <a:pt x="1756" y="15985"/>
                    <a:pt x="1756" y="15985"/>
                    <a:pt x="1756" y="15985"/>
                  </a:cubicBezTo>
                  <a:cubicBezTo>
                    <a:pt x="1833" y="15891"/>
                    <a:pt x="1833" y="15891"/>
                    <a:pt x="1833" y="15891"/>
                  </a:cubicBezTo>
                  <a:cubicBezTo>
                    <a:pt x="1956" y="15906"/>
                    <a:pt x="1956" y="15906"/>
                    <a:pt x="1956" y="15906"/>
                  </a:cubicBezTo>
                  <a:cubicBezTo>
                    <a:pt x="2241" y="15826"/>
                    <a:pt x="2241" y="15826"/>
                    <a:pt x="2241" y="15826"/>
                  </a:cubicBezTo>
                  <a:cubicBezTo>
                    <a:pt x="2150" y="15725"/>
                    <a:pt x="2150" y="15725"/>
                    <a:pt x="2150" y="15725"/>
                  </a:cubicBezTo>
                  <a:lnTo>
                    <a:pt x="2029" y="15610"/>
                  </a:lnTo>
                  <a:close/>
                  <a:moveTo>
                    <a:pt x="1954" y="15891"/>
                  </a:moveTo>
                  <a:cubicBezTo>
                    <a:pt x="1827" y="15875"/>
                    <a:pt x="1827" y="15875"/>
                    <a:pt x="1827" y="15875"/>
                  </a:cubicBezTo>
                  <a:cubicBezTo>
                    <a:pt x="1735" y="15987"/>
                    <a:pt x="1735" y="15987"/>
                    <a:pt x="1735" y="15987"/>
                  </a:cubicBezTo>
                  <a:cubicBezTo>
                    <a:pt x="1856" y="16094"/>
                    <a:pt x="1856" y="16094"/>
                    <a:pt x="1856" y="16094"/>
                  </a:cubicBezTo>
                  <a:cubicBezTo>
                    <a:pt x="1781" y="16165"/>
                    <a:pt x="1781" y="16165"/>
                    <a:pt x="1781" y="16165"/>
                  </a:cubicBezTo>
                  <a:cubicBezTo>
                    <a:pt x="1629" y="16023"/>
                    <a:pt x="1629" y="16023"/>
                    <a:pt x="1629" y="16023"/>
                  </a:cubicBezTo>
                  <a:cubicBezTo>
                    <a:pt x="1803" y="15765"/>
                    <a:pt x="1803" y="15765"/>
                    <a:pt x="1803" y="15765"/>
                  </a:cubicBezTo>
                  <a:cubicBezTo>
                    <a:pt x="1904" y="15832"/>
                    <a:pt x="1904" y="15832"/>
                    <a:pt x="1904" y="15832"/>
                  </a:cubicBezTo>
                  <a:cubicBezTo>
                    <a:pt x="2026" y="15627"/>
                    <a:pt x="2026" y="15627"/>
                    <a:pt x="2026" y="15627"/>
                  </a:cubicBezTo>
                  <a:cubicBezTo>
                    <a:pt x="2140" y="15735"/>
                    <a:pt x="2140" y="15735"/>
                    <a:pt x="2140" y="15735"/>
                  </a:cubicBezTo>
                  <a:cubicBezTo>
                    <a:pt x="2214" y="15818"/>
                    <a:pt x="2214" y="15818"/>
                    <a:pt x="2214" y="15818"/>
                  </a:cubicBezTo>
                  <a:lnTo>
                    <a:pt x="1954" y="15891"/>
                  </a:lnTo>
                  <a:close/>
                  <a:moveTo>
                    <a:pt x="1111" y="16410"/>
                  </a:moveTo>
                  <a:cubicBezTo>
                    <a:pt x="1216" y="16244"/>
                    <a:pt x="1216" y="16244"/>
                    <a:pt x="1216" y="16244"/>
                  </a:cubicBezTo>
                  <a:cubicBezTo>
                    <a:pt x="1313" y="16299"/>
                    <a:pt x="1313" y="16299"/>
                    <a:pt x="1313" y="16299"/>
                  </a:cubicBezTo>
                  <a:cubicBezTo>
                    <a:pt x="1476" y="16091"/>
                    <a:pt x="1476" y="16091"/>
                    <a:pt x="1476" y="16091"/>
                  </a:cubicBezTo>
                  <a:cubicBezTo>
                    <a:pt x="1480" y="16085"/>
                    <a:pt x="1480" y="16085"/>
                    <a:pt x="1480" y="16085"/>
                  </a:cubicBezTo>
                  <a:cubicBezTo>
                    <a:pt x="1385" y="16003"/>
                    <a:pt x="1385" y="16003"/>
                    <a:pt x="1385" y="16003"/>
                  </a:cubicBezTo>
                  <a:cubicBezTo>
                    <a:pt x="1332" y="16071"/>
                    <a:pt x="1332" y="16071"/>
                    <a:pt x="1332" y="16071"/>
                  </a:cubicBezTo>
                  <a:cubicBezTo>
                    <a:pt x="1243" y="16030"/>
                    <a:pt x="1243" y="16030"/>
                    <a:pt x="1243" y="16030"/>
                  </a:cubicBezTo>
                  <a:cubicBezTo>
                    <a:pt x="1139" y="16154"/>
                    <a:pt x="1139" y="16154"/>
                    <a:pt x="1139" y="16154"/>
                  </a:cubicBezTo>
                  <a:cubicBezTo>
                    <a:pt x="1068" y="16104"/>
                    <a:pt x="1068" y="16104"/>
                    <a:pt x="1068" y="16104"/>
                  </a:cubicBezTo>
                  <a:cubicBezTo>
                    <a:pt x="1099" y="15948"/>
                    <a:pt x="1099" y="15948"/>
                    <a:pt x="1099" y="15948"/>
                  </a:cubicBezTo>
                  <a:cubicBezTo>
                    <a:pt x="940" y="15919"/>
                    <a:pt x="940" y="15919"/>
                    <a:pt x="940" y="15919"/>
                  </a:cubicBezTo>
                  <a:cubicBezTo>
                    <a:pt x="873" y="16179"/>
                    <a:pt x="873" y="16179"/>
                    <a:pt x="873" y="16179"/>
                  </a:cubicBezTo>
                  <a:cubicBezTo>
                    <a:pt x="916" y="16423"/>
                    <a:pt x="916" y="16423"/>
                    <a:pt x="916" y="16423"/>
                  </a:cubicBezTo>
                  <a:lnTo>
                    <a:pt x="1111" y="16410"/>
                  </a:lnTo>
                  <a:close/>
                  <a:moveTo>
                    <a:pt x="951" y="15936"/>
                  </a:moveTo>
                  <a:cubicBezTo>
                    <a:pt x="1082" y="15959"/>
                    <a:pt x="1082" y="15959"/>
                    <a:pt x="1082" y="15959"/>
                  </a:cubicBezTo>
                  <a:cubicBezTo>
                    <a:pt x="1052" y="16111"/>
                    <a:pt x="1052" y="16111"/>
                    <a:pt x="1052" y="16111"/>
                  </a:cubicBezTo>
                  <a:cubicBezTo>
                    <a:pt x="1142" y="16174"/>
                    <a:pt x="1142" y="16174"/>
                    <a:pt x="1142" y="16174"/>
                  </a:cubicBezTo>
                  <a:cubicBezTo>
                    <a:pt x="1247" y="16048"/>
                    <a:pt x="1247" y="16048"/>
                    <a:pt x="1247" y="16048"/>
                  </a:cubicBezTo>
                  <a:cubicBezTo>
                    <a:pt x="1336" y="16090"/>
                    <a:pt x="1336" y="16090"/>
                    <a:pt x="1336" y="16090"/>
                  </a:cubicBezTo>
                  <a:cubicBezTo>
                    <a:pt x="1387" y="16025"/>
                    <a:pt x="1387" y="16025"/>
                    <a:pt x="1387" y="16025"/>
                  </a:cubicBezTo>
                  <a:cubicBezTo>
                    <a:pt x="1460" y="16087"/>
                    <a:pt x="1460" y="16087"/>
                    <a:pt x="1460" y="16087"/>
                  </a:cubicBezTo>
                  <a:cubicBezTo>
                    <a:pt x="1310" y="16280"/>
                    <a:pt x="1310" y="16280"/>
                    <a:pt x="1310" y="16280"/>
                  </a:cubicBezTo>
                  <a:cubicBezTo>
                    <a:pt x="1211" y="16225"/>
                    <a:pt x="1211" y="16225"/>
                    <a:pt x="1211" y="16225"/>
                  </a:cubicBezTo>
                  <a:cubicBezTo>
                    <a:pt x="1103" y="16396"/>
                    <a:pt x="1103" y="16396"/>
                    <a:pt x="1103" y="16396"/>
                  </a:cubicBezTo>
                  <a:cubicBezTo>
                    <a:pt x="928" y="16408"/>
                    <a:pt x="928" y="16408"/>
                    <a:pt x="928" y="16408"/>
                  </a:cubicBezTo>
                  <a:cubicBezTo>
                    <a:pt x="888" y="16179"/>
                    <a:pt x="888" y="16179"/>
                    <a:pt x="888" y="16179"/>
                  </a:cubicBezTo>
                  <a:lnTo>
                    <a:pt x="951" y="15936"/>
                  </a:lnTo>
                  <a:close/>
                  <a:moveTo>
                    <a:pt x="1089" y="16250"/>
                  </a:moveTo>
                  <a:cubicBezTo>
                    <a:pt x="1018" y="16187"/>
                    <a:pt x="1018" y="16187"/>
                    <a:pt x="1018" y="16187"/>
                  </a:cubicBezTo>
                  <a:cubicBezTo>
                    <a:pt x="972" y="16328"/>
                    <a:pt x="972" y="16328"/>
                    <a:pt x="972" y="16328"/>
                  </a:cubicBezTo>
                  <a:cubicBezTo>
                    <a:pt x="1081" y="16255"/>
                    <a:pt x="1081" y="16255"/>
                    <a:pt x="1081" y="16255"/>
                  </a:cubicBezTo>
                  <a:lnTo>
                    <a:pt x="1089" y="16250"/>
                  </a:lnTo>
                  <a:close/>
                  <a:moveTo>
                    <a:pt x="999" y="16292"/>
                  </a:moveTo>
                  <a:cubicBezTo>
                    <a:pt x="1025" y="16213"/>
                    <a:pt x="1025" y="16213"/>
                    <a:pt x="1025" y="16213"/>
                  </a:cubicBezTo>
                  <a:cubicBezTo>
                    <a:pt x="1065" y="16248"/>
                    <a:pt x="1065" y="16248"/>
                    <a:pt x="1065" y="16248"/>
                  </a:cubicBezTo>
                  <a:lnTo>
                    <a:pt x="999" y="16292"/>
                  </a:lnTo>
                  <a:close/>
                  <a:moveTo>
                    <a:pt x="834" y="15897"/>
                  </a:moveTo>
                  <a:cubicBezTo>
                    <a:pt x="646" y="15854"/>
                    <a:pt x="646" y="15854"/>
                    <a:pt x="646" y="15854"/>
                  </a:cubicBezTo>
                  <a:cubicBezTo>
                    <a:pt x="512" y="15721"/>
                    <a:pt x="512" y="15721"/>
                    <a:pt x="512" y="15721"/>
                  </a:cubicBezTo>
                  <a:cubicBezTo>
                    <a:pt x="388" y="15903"/>
                    <a:pt x="388" y="15903"/>
                    <a:pt x="388" y="15903"/>
                  </a:cubicBezTo>
                  <a:cubicBezTo>
                    <a:pt x="797" y="16093"/>
                    <a:pt x="797" y="16093"/>
                    <a:pt x="797" y="16093"/>
                  </a:cubicBezTo>
                  <a:cubicBezTo>
                    <a:pt x="833" y="15904"/>
                    <a:pt x="833" y="15904"/>
                    <a:pt x="833" y="15904"/>
                  </a:cubicBezTo>
                  <a:lnTo>
                    <a:pt x="834" y="15897"/>
                  </a:lnTo>
                  <a:close/>
                  <a:moveTo>
                    <a:pt x="786" y="16072"/>
                  </a:moveTo>
                  <a:cubicBezTo>
                    <a:pt x="410" y="15897"/>
                    <a:pt x="410" y="15897"/>
                    <a:pt x="410" y="15897"/>
                  </a:cubicBezTo>
                  <a:cubicBezTo>
                    <a:pt x="514" y="15744"/>
                    <a:pt x="514" y="15744"/>
                    <a:pt x="514" y="15744"/>
                  </a:cubicBezTo>
                  <a:cubicBezTo>
                    <a:pt x="639" y="15868"/>
                    <a:pt x="639" y="15868"/>
                    <a:pt x="639" y="15868"/>
                  </a:cubicBezTo>
                  <a:cubicBezTo>
                    <a:pt x="817" y="15908"/>
                    <a:pt x="817" y="15908"/>
                    <a:pt x="817" y="15908"/>
                  </a:cubicBezTo>
                  <a:lnTo>
                    <a:pt x="786" y="16072"/>
                  </a:lnTo>
                  <a:close/>
                  <a:moveTo>
                    <a:pt x="802" y="16408"/>
                  </a:moveTo>
                  <a:cubicBezTo>
                    <a:pt x="783" y="16205"/>
                    <a:pt x="783" y="16205"/>
                    <a:pt x="783" y="16205"/>
                  </a:cubicBezTo>
                  <a:cubicBezTo>
                    <a:pt x="432" y="16028"/>
                    <a:pt x="432" y="16028"/>
                    <a:pt x="432" y="16028"/>
                  </a:cubicBezTo>
                  <a:cubicBezTo>
                    <a:pt x="418" y="16111"/>
                    <a:pt x="418" y="16111"/>
                    <a:pt x="418" y="16111"/>
                  </a:cubicBezTo>
                  <a:cubicBezTo>
                    <a:pt x="682" y="16418"/>
                    <a:pt x="682" y="16418"/>
                    <a:pt x="682" y="16418"/>
                  </a:cubicBezTo>
                  <a:cubicBezTo>
                    <a:pt x="794" y="16409"/>
                    <a:pt x="794" y="16409"/>
                    <a:pt x="794" y="16409"/>
                  </a:cubicBezTo>
                  <a:lnTo>
                    <a:pt x="802" y="16408"/>
                  </a:lnTo>
                  <a:close/>
                  <a:moveTo>
                    <a:pt x="688" y="16403"/>
                  </a:moveTo>
                  <a:cubicBezTo>
                    <a:pt x="434" y="16107"/>
                    <a:pt x="434" y="16107"/>
                    <a:pt x="434" y="16107"/>
                  </a:cubicBezTo>
                  <a:cubicBezTo>
                    <a:pt x="444" y="16050"/>
                    <a:pt x="444" y="16050"/>
                    <a:pt x="444" y="16050"/>
                  </a:cubicBezTo>
                  <a:cubicBezTo>
                    <a:pt x="769" y="16215"/>
                    <a:pt x="769" y="16215"/>
                    <a:pt x="769" y="16215"/>
                  </a:cubicBezTo>
                  <a:cubicBezTo>
                    <a:pt x="786" y="16395"/>
                    <a:pt x="786" y="16395"/>
                    <a:pt x="786" y="16395"/>
                  </a:cubicBezTo>
                  <a:lnTo>
                    <a:pt x="688" y="16403"/>
                  </a:lnTo>
                  <a:close/>
                  <a:moveTo>
                    <a:pt x="4" y="15532"/>
                  </a:moveTo>
                  <a:cubicBezTo>
                    <a:pt x="123" y="15386"/>
                    <a:pt x="123" y="15386"/>
                    <a:pt x="123" y="15386"/>
                  </a:cubicBezTo>
                  <a:cubicBezTo>
                    <a:pt x="4" y="15283"/>
                    <a:pt x="4" y="15283"/>
                    <a:pt x="4" y="15283"/>
                  </a:cubicBezTo>
                  <a:cubicBezTo>
                    <a:pt x="4" y="15264"/>
                    <a:pt x="4" y="15264"/>
                    <a:pt x="4" y="15264"/>
                  </a:cubicBezTo>
                  <a:cubicBezTo>
                    <a:pt x="144" y="15384"/>
                    <a:pt x="144" y="15384"/>
                    <a:pt x="144" y="15384"/>
                  </a:cubicBezTo>
                  <a:cubicBezTo>
                    <a:pt x="139" y="15390"/>
                    <a:pt x="139" y="15390"/>
                    <a:pt x="139" y="15390"/>
                  </a:cubicBezTo>
                  <a:cubicBezTo>
                    <a:pt x="4" y="15555"/>
                    <a:pt x="4" y="15555"/>
                    <a:pt x="4" y="15555"/>
                  </a:cubicBezTo>
                  <a:lnTo>
                    <a:pt x="4" y="15532"/>
                  </a:lnTo>
                  <a:close/>
                  <a:moveTo>
                    <a:pt x="925" y="12943"/>
                  </a:moveTo>
                  <a:cubicBezTo>
                    <a:pt x="926" y="12898"/>
                    <a:pt x="926" y="12898"/>
                    <a:pt x="926" y="12898"/>
                  </a:cubicBezTo>
                  <a:cubicBezTo>
                    <a:pt x="926" y="12889"/>
                    <a:pt x="926" y="12889"/>
                    <a:pt x="926" y="12889"/>
                  </a:cubicBezTo>
                  <a:cubicBezTo>
                    <a:pt x="709" y="12935"/>
                    <a:pt x="709" y="12935"/>
                    <a:pt x="709" y="12935"/>
                  </a:cubicBezTo>
                  <a:cubicBezTo>
                    <a:pt x="697" y="13178"/>
                    <a:pt x="697" y="13178"/>
                    <a:pt x="697" y="13178"/>
                  </a:cubicBezTo>
                  <a:cubicBezTo>
                    <a:pt x="1011" y="13175"/>
                    <a:pt x="1011" y="13175"/>
                    <a:pt x="1011" y="13175"/>
                  </a:cubicBezTo>
                  <a:cubicBezTo>
                    <a:pt x="1016" y="13072"/>
                    <a:pt x="1016" y="13072"/>
                    <a:pt x="1016" y="13072"/>
                  </a:cubicBezTo>
                  <a:cubicBezTo>
                    <a:pt x="864" y="12995"/>
                    <a:pt x="864" y="12995"/>
                    <a:pt x="864" y="12995"/>
                  </a:cubicBezTo>
                  <a:lnTo>
                    <a:pt x="925" y="12943"/>
                  </a:lnTo>
                  <a:close/>
                  <a:moveTo>
                    <a:pt x="1000" y="13081"/>
                  </a:moveTo>
                  <a:cubicBezTo>
                    <a:pt x="997" y="13160"/>
                    <a:pt x="997" y="13160"/>
                    <a:pt x="997" y="13160"/>
                  </a:cubicBezTo>
                  <a:cubicBezTo>
                    <a:pt x="713" y="13163"/>
                    <a:pt x="713" y="13163"/>
                    <a:pt x="713" y="13163"/>
                  </a:cubicBezTo>
                  <a:cubicBezTo>
                    <a:pt x="723" y="12947"/>
                    <a:pt x="723" y="12947"/>
                    <a:pt x="723" y="12947"/>
                  </a:cubicBezTo>
                  <a:cubicBezTo>
                    <a:pt x="911" y="12907"/>
                    <a:pt x="911" y="12907"/>
                    <a:pt x="911" y="12907"/>
                  </a:cubicBezTo>
                  <a:cubicBezTo>
                    <a:pt x="910" y="12936"/>
                    <a:pt x="910" y="12936"/>
                    <a:pt x="910" y="12936"/>
                  </a:cubicBezTo>
                  <a:cubicBezTo>
                    <a:pt x="838" y="12998"/>
                    <a:pt x="838" y="12998"/>
                    <a:pt x="838" y="12998"/>
                  </a:cubicBezTo>
                  <a:lnTo>
                    <a:pt x="1000" y="13081"/>
                  </a:lnTo>
                  <a:close/>
                  <a:moveTo>
                    <a:pt x="814" y="13761"/>
                  </a:moveTo>
                  <a:cubicBezTo>
                    <a:pt x="908" y="13604"/>
                    <a:pt x="908" y="13604"/>
                    <a:pt x="908" y="13604"/>
                  </a:cubicBezTo>
                  <a:cubicBezTo>
                    <a:pt x="831" y="13562"/>
                    <a:pt x="831" y="13562"/>
                    <a:pt x="831" y="13562"/>
                  </a:cubicBezTo>
                  <a:cubicBezTo>
                    <a:pt x="833" y="13551"/>
                    <a:pt x="833" y="13551"/>
                    <a:pt x="833" y="13551"/>
                  </a:cubicBezTo>
                  <a:cubicBezTo>
                    <a:pt x="981" y="13503"/>
                    <a:pt x="981" y="13503"/>
                    <a:pt x="981" y="13503"/>
                  </a:cubicBezTo>
                  <a:cubicBezTo>
                    <a:pt x="1048" y="13352"/>
                    <a:pt x="1048" y="13352"/>
                    <a:pt x="1048" y="13352"/>
                  </a:cubicBezTo>
                  <a:cubicBezTo>
                    <a:pt x="1050" y="13347"/>
                    <a:pt x="1050" y="13347"/>
                    <a:pt x="1050" y="13347"/>
                  </a:cubicBezTo>
                  <a:cubicBezTo>
                    <a:pt x="987" y="13275"/>
                    <a:pt x="987" y="13275"/>
                    <a:pt x="987" y="13275"/>
                  </a:cubicBezTo>
                  <a:cubicBezTo>
                    <a:pt x="707" y="13279"/>
                    <a:pt x="707" y="13279"/>
                    <a:pt x="707" y="13279"/>
                  </a:cubicBezTo>
                  <a:cubicBezTo>
                    <a:pt x="692" y="13388"/>
                    <a:pt x="692" y="13388"/>
                    <a:pt x="692" y="13388"/>
                  </a:cubicBezTo>
                  <a:cubicBezTo>
                    <a:pt x="845" y="13393"/>
                    <a:pt x="845" y="13393"/>
                    <a:pt x="845" y="13393"/>
                  </a:cubicBezTo>
                  <a:cubicBezTo>
                    <a:pt x="839" y="13466"/>
                    <a:pt x="839" y="13466"/>
                    <a:pt x="839" y="13466"/>
                  </a:cubicBezTo>
                  <a:cubicBezTo>
                    <a:pt x="718" y="13435"/>
                    <a:pt x="718" y="13435"/>
                    <a:pt x="718" y="13435"/>
                  </a:cubicBezTo>
                  <a:cubicBezTo>
                    <a:pt x="657" y="13583"/>
                    <a:pt x="657" y="13583"/>
                    <a:pt x="657" y="13583"/>
                  </a:cubicBezTo>
                  <a:cubicBezTo>
                    <a:pt x="683" y="13679"/>
                    <a:pt x="683" y="13679"/>
                    <a:pt x="683" y="13679"/>
                  </a:cubicBezTo>
                  <a:lnTo>
                    <a:pt x="814" y="13761"/>
                  </a:lnTo>
                  <a:close/>
                  <a:moveTo>
                    <a:pt x="727" y="13453"/>
                  </a:moveTo>
                  <a:cubicBezTo>
                    <a:pt x="852" y="13484"/>
                    <a:pt x="852" y="13484"/>
                    <a:pt x="852" y="13484"/>
                  </a:cubicBezTo>
                  <a:cubicBezTo>
                    <a:pt x="861" y="13379"/>
                    <a:pt x="861" y="13379"/>
                    <a:pt x="861" y="13379"/>
                  </a:cubicBezTo>
                  <a:cubicBezTo>
                    <a:pt x="709" y="13374"/>
                    <a:pt x="709" y="13374"/>
                    <a:pt x="709" y="13374"/>
                  </a:cubicBezTo>
                  <a:cubicBezTo>
                    <a:pt x="720" y="13294"/>
                    <a:pt x="720" y="13294"/>
                    <a:pt x="720" y="13294"/>
                  </a:cubicBezTo>
                  <a:cubicBezTo>
                    <a:pt x="980" y="13290"/>
                    <a:pt x="980" y="13290"/>
                    <a:pt x="980" y="13290"/>
                  </a:cubicBezTo>
                  <a:cubicBezTo>
                    <a:pt x="1033" y="13350"/>
                    <a:pt x="1033" y="13350"/>
                    <a:pt x="1033" y="13350"/>
                  </a:cubicBezTo>
                  <a:cubicBezTo>
                    <a:pt x="970" y="13491"/>
                    <a:pt x="970" y="13491"/>
                    <a:pt x="970" y="13491"/>
                  </a:cubicBezTo>
                  <a:cubicBezTo>
                    <a:pt x="821" y="13540"/>
                    <a:pt x="821" y="13540"/>
                    <a:pt x="821" y="13540"/>
                  </a:cubicBezTo>
                  <a:cubicBezTo>
                    <a:pt x="814" y="13570"/>
                    <a:pt x="814" y="13570"/>
                    <a:pt x="814" y="13570"/>
                  </a:cubicBezTo>
                  <a:cubicBezTo>
                    <a:pt x="887" y="13609"/>
                    <a:pt x="887" y="13609"/>
                    <a:pt x="887" y="13609"/>
                  </a:cubicBezTo>
                  <a:cubicBezTo>
                    <a:pt x="809" y="13740"/>
                    <a:pt x="809" y="13740"/>
                    <a:pt x="809" y="13740"/>
                  </a:cubicBezTo>
                  <a:cubicBezTo>
                    <a:pt x="695" y="13669"/>
                    <a:pt x="695" y="13669"/>
                    <a:pt x="695" y="13669"/>
                  </a:cubicBezTo>
                  <a:cubicBezTo>
                    <a:pt x="673" y="13585"/>
                    <a:pt x="673" y="13585"/>
                    <a:pt x="673" y="13585"/>
                  </a:cubicBezTo>
                  <a:lnTo>
                    <a:pt x="727" y="13453"/>
                  </a:lnTo>
                  <a:close/>
                  <a:moveTo>
                    <a:pt x="73" y="14159"/>
                  </a:moveTo>
                  <a:cubicBezTo>
                    <a:pt x="182" y="14231"/>
                    <a:pt x="182" y="14231"/>
                    <a:pt x="182" y="14231"/>
                  </a:cubicBezTo>
                  <a:cubicBezTo>
                    <a:pt x="217" y="14206"/>
                    <a:pt x="217" y="14206"/>
                    <a:pt x="217" y="14206"/>
                  </a:cubicBezTo>
                  <a:cubicBezTo>
                    <a:pt x="157" y="14123"/>
                    <a:pt x="157" y="14123"/>
                    <a:pt x="157" y="14123"/>
                  </a:cubicBezTo>
                  <a:cubicBezTo>
                    <a:pt x="231" y="14065"/>
                    <a:pt x="231" y="14065"/>
                    <a:pt x="231" y="14065"/>
                  </a:cubicBezTo>
                  <a:cubicBezTo>
                    <a:pt x="352" y="14130"/>
                    <a:pt x="352" y="14130"/>
                    <a:pt x="352" y="14130"/>
                  </a:cubicBezTo>
                  <a:cubicBezTo>
                    <a:pt x="411" y="14093"/>
                    <a:pt x="411" y="14093"/>
                    <a:pt x="411" y="14093"/>
                  </a:cubicBezTo>
                  <a:cubicBezTo>
                    <a:pt x="422" y="14086"/>
                    <a:pt x="422" y="14086"/>
                    <a:pt x="422" y="14086"/>
                  </a:cubicBezTo>
                  <a:cubicBezTo>
                    <a:pt x="161" y="13925"/>
                    <a:pt x="161" y="13925"/>
                    <a:pt x="161" y="13925"/>
                  </a:cubicBezTo>
                  <a:lnTo>
                    <a:pt x="73" y="14159"/>
                  </a:lnTo>
                  <a:close/>
                  <a:moveTo>
                    <a:pt x="394" y="14086"/>
                  </a:moveTo>
                  <a:cubicBezTo>
                    <a:pt x="351" y="14113"/>
                    <a:pt x="351" y="14113"/>
                    <a:pt x="351" y="14113"/>
                  </a:cubicBezTo>
                  <a:cubicBezTo>
                    <a:pt x="230" y="14048"/>
                    <a:pt x="230" y="14048"/>
                    <a:pt x="230" y="14048"/>
                  </a:cubicBezTo>
                  <a:cubicBezTo>
                    <a:pt x="137" y="14120"/>
                    <a:pt x="137" y="14120"/>
                    <a:pt x="137" y="14120"/>
                  </a:cubicBezTo>
                  <a:cubicBezTo>
                    <a:pt x="196" y="14203"/>
                    <a:pt x="196" y="14203"/>
                    <a:pt x="196" y="14203"/>
                  </a:cubicBezTo>
                  <a:cubicBezTo>
                    <a:pt x="182" y="14213"/>
                    <a:pt x="182" y="14213"/>
                    <a:pt x="182" y="14213"/>
                  </a:cubicBezTo>
                  <a:cubicBezTo>
                    <a:pt x="91" y="14154"/>
                    <a:pt x="91" y="14154"/>
                    <a:pt x="91" y="14154"/>
                  </a:cubicBezTo>
                  <a:cubicBezTo>
                    <a:pt x="169" y="13947"/>
                    <a:pt x="169" y="13947"/>
                    <a:pt x="169" y="13947"/>
                  </a:cubicBezTo>
                  <a:lnTo>
                    <a:pt x="394" y="14086"/>
                  </a:lnTo>
                  <a:close/>
                  <a:moveTo>
                    <a:pt x="601" y="11800"/>
                  </a:moveTo>
                  <a:cubicBezTo>
                    <a:pt x="598" y="11795"/>
                    <a:pt x="598" y="11795"/>
                    <a:pt x="598" y="11795"/>
                  </a:cubicBezTo>
                  <a:cubicBezTo>
                    <a:pt x="165" y="12002"/>
                    <a:pt x="165" y="12002"/>
                    <a:pt x="165" y="12002"/>
                  </a:cubicBezTo>
                  <a:cubicBezTo>
                    <a:pt x="140" y="12104"/>
                    <a:pt x="140" y="12104"/>
                    <a:pt x="140" y="12104"/>
                  </a:cubicBezTo>
                  <a:cubicBezTo>
                    <a:pt x="255" y="12153"/>
                    <a:pt x="255" y="12153"/>
                    <a:pt x="255" y="12153"/>
                  </a:cubicBezTo>
                  <a:cubicBezTo>
                    <a:pt x="274" y="12058"/>
                    <a:pt x="274" y="12058"/>
                    <a:pt x="274" y="12058"/>
                  </a:cubicBezTo>
                  <a:cubicBezTo>
                    <a:pt x="656" y="11878"/>
                    <a:pt x="656" y="11878"/>
                    <a:pt x="656" y="11878"/>
                  </a:cubicBezTo>
                  <a:lnTo>
                    <a:pt x="601" y="11800"/>
                  </a:lnTo>
                  <a:close/>
                  <a:moveTo>
                    <a:pt x="261" y="12047"/>
                  </a:moveTo>
                  <a:cubicBezTo>
                    <a:pt x="244" y="12132"/>
                    <a:pt x="244" y="12132"/>
                    <a:pt x="244" y="12132"/>
                  </a:cubicBezTo>
                  <a:cubicBezTo>
                    <a:pt x="158" y="12096"/>
                    <a:pt x="158" y="12096"/>
                    <a:pt x="158" y="12096"/>
                  </a:cubicBezTo>
                  <a:cubicBezTo>
                    <a:pt x="178" y="12012"/>
                    <a:pt x="178" y="12012"/>
                    <a:pt x="178" y="12012"/>
                  </a:cubicBezTo>
                  <a:cubicBezTo>
                    <a:pt x="593" y="11814"/>
                    <a:pt x="593" y="11814"/>
                    <a:pt x="593" y="11814"/>
                  </a:cubicBezTo>
                  <a:cubicBezTo>
                    <a:pt x="633" y="11872"/>
                    <a:pt x="633" y="11872"/>
                    <a:pt x="633" y="11872"/>
                  </a:cubicBezTo>
                  <a:lnTo>
                    <a:pt x="261" y="12047"/>
                  </a:lnTo>
                  <a:close/>
                  <a:moveTo>
                    <a:pt x="4" y="11977"/>
                  </a:moveTo>
                  <a:cubicBezTo>
                    <a:pt x="37" y="11988"/>
                    <a:pt x="37" y="11988"/>
                    <a:pt x="37" y="11988"/>
                  </a:cubicBezTo>
                  <a:cubicBezTo>
                    <a:pt x="4" y="11970"/>
                    <a:pt x="4" y="11970"/>
                    <a:pt x="4" y="11970"/>
                  </a:cubicBezTo>
                  <a:cubicBezTo>
                    <a:pt x="4" y="11953"/>
                    <a:pt x="4" y="11953"/>
                    <a:pt x="4" y="11953"/>
                  </a:cubicBezTo>
                  <a:cubicBezTo>
                    <a:pt x="75" y="11992"/>
                    <a:pt x="75" y="11992"/>
                    <a:pt x="75" y="11992"/>
                  </a:cubicBezTo>
                  <a:cubicBezTo>
                    <a:pt x="61" y="11998"/>
                    <a:pt x="61" y="11998"/>
                    <a:pt x="61" y="11998"/>
                  </a:cubicBezTo>
                  <a:cubicBezTo>
                    <a:pt x="46" y="12004"/>
                    <a:pt x="46" y="12004"/>
                    <a:pt x="46" y="12004"/>
                  </a:cubicBezTo>
                  <a:cubicBezTo>
                    <a:pt x="43" y="12005"/>
                    <a:pt x="43" y="12005"/>
                    <a:pt x="43" y="12005"/>
                  </a:cubicBezTo>
                  <a:cubicBezTo>
                    <a:pt x="4" y="11993"/>
                    <a:pt x="4" y="11993"/>
                    <a:pt x="4" y="11993"/>
                  </a:cubicBezTo>
                  <a:lnTo>
                    <a:pt x="4" y="11977"/>
                  </a:lnTo>
                  <a:close/>
                  <a:moveTo>
                    <a:pt x="4" y="12044"/>
                  </a:moveTo>
                  <a:cubicBezTo>
                    <a:pt x="20" y="12035"/>
                    <a:pt x="20" y="12035"/>
                    <a:pt x="20" y="12035"/>
                  </a:cubicBezTo>
                  <a:cubicBezTo>
                    <a:pt x="4" y="12031"/>
                    <a:pt x="4" y="12031"/>
                    <a:pt x="4" y="12031"/>
                  </a:cubicBezTo>
                  <a:cubicBezTo>
                    <a:pt x="4" y="12015"/>
                    <a:pt x="4" y="12015"/>
                    <a:pt x="4" y="12015"/>
                  </a:cubicBezTo>
                  <a:cubicBezTo>
                    <a:pt x="56" y="12029"/>
                    <a:pt x="56" y="12029"/>
                    <a:pt x="56" y="12029"/>
                  </a:cubicBezTo>
                  <a:cubicBezTo>
                    <a:pt x="42" y="12038"/>
                    <a:pt x="42" y="12038"/>
                    <a:pt x="42" y="12038"/>
                  </a:cubicBezTo>
                  <a:cubicBezTo>
                    <a:pt x="4" y="12062"/>
                    <a:pt x="4" y="12062"/>
                    <a:pt x="4" y="12062"/>
                  </a:cubicBezTo>
                  <a:lnTo>
                    <a:pt x="4" y="12044"/>
                  </a:lnTo>
                  <a:close/>
                  <a:moveTo>
                    <a:pt x="10" y="11820"/>
                  </a:moveTo>
                  <a:cubicBezTo>
                    <a:pt x="130" y="11741"/>
                    <a:pt x="130" y="11741"/>
                    <a:pt x="130" y="11741"/>
                  </a:cubicBezTo>
                  <a:cubicBezTo>
                    <a:pt x="105" y="11705"/>
                    <a:pt x="105" y="11705"/>
                    <a:pt x="105" y="11705"/>
                  </a:cubicBezTo>
                  <a:cubicBezTo>
                    <a:pt x="270" y="11592"/>
                    <a:pt x="270" y="11592"/>
                    <a:pt x="270" y="11592"/>
                  </a:cubicBezTo>
                  <a:cubicBezTo>
                    <a:pt x="312" y="11647"/>
                    <a:pt x="312" y="11647"/>
                    <a:pt x="312" y="11647"/>
                  </a:cubicBezTo>
                  <a:cubicBezTo>
                    <a:pt x="263" y="11690"/>
                    <a:pt x="263" y="11690"/>
                    <a:pt x="263" y="11690"/>
                  </a:cubicBezTo>
                  <a:cubicBezTo>
                    <a:pt x="319" y="11754"/>
                    <a:pt x="319" y="11754"/>
                    <a:pt x="319" y="11754"/>
                  </a:cubicBezTo>
                  <a:cubicBezTo>
                    <a:pt x="437" y="11700"/>
                    <a:pt x="437" y="11700"/>
                    <a:pt x="437" y="11700"/>
                  </a:cubicBezTo>
                  <a:cubicBezTo>
                    <a:pt x="467" y="11745"/>
                    <a:pt x="467" y="11745"/>
                    <a:pt x="467" y="11745"/>
                  </a:cubicBezTo>
                  <a:cubicBezTo>
                    <a:pt x="531" y="11726"/>
                    <a:pt x="531" y="11726"/>
                    <a:pt x="531" y="11726"/>
                  </a:cubicBezTo>
                  <a:cubicBezTo>
                    <a:pt x="336" y="11461"/>
                    <a:pt x="336" y="11461"/>
                    <a:pt x="336" y="11461"/>
                  </a:cubicBezTo>
                  <a:cubicBezTo>
                    <a:pt x="4" y="11683"/>
                    <a:pt x="4" y="11683"/>
                    <a:pt x="4" y="11683"/>
                  </a:cubicBezTo>
                  <a:cubicBezTo>
                    <a:pt x="4" y="11665"/>
                    <a:pt x="4" y="11665"/>
                    <a:pt x="4" y="11665"/>
                  </a:cubicBezTo>
                  <a:cubicBezTo>
                    <a:pt x="340" y="11441"/>
                    <a:pt x="340" y="11441"/>
                    <a:pt x="340" y="11441"/>
                  </a:cubicBezTo>
                  <a:cubicBezTo>
                    <a:pt x="555" y="11734"/>
                    <a:pt x="555" y="11734"/>
                    <a:pt x="555" y="11734"/>
                  </a:cubicBezTo>
                  <a:cubicBezTo>
                    <a:pt x="545" y="11737"/>
                    <a:pt x="545" y="11737"/>
                    <a:pt x="545" y="11737"/>
                  </a:cubicBezTo>
                  <a:cubicBezTo>
                    <a:pt x="461" y="11762"/>
                    <a:pt x="461" y="11762"/>
                    <a:pt x="461" y="11762"/>
                  </a:cubicBezTo>
                  <a:cubicBezTo>
                    <a:pt x="432" y="11719"/>
                    <a:pt x="432" y="11719"/>
                    <a:pt x="432" y="11719"/>
                  </a:cubicBezTo>
                  <a:cubicBezTo>
                    <a:pt x="315" y="11772"/>
                    <a:pt x="315" y="11772"/>
                    <a:pt x="315" y="11772"/>
                  </a:cubicBezTo>
                  <a:cubicBezTo>
                    <a:pt x="242" y="11689"/>
                    <a:pt x="242" y="11689"/>
                    <a:pt x="242" y="11689"/>
                  </a:cubicBezTo>
                  <a:cubicBezTo>
                    <a:pt x="292" y="11645"/>
                    <a:pt x="292" y="11645"/>
                    <a:pt x="292" y="11645"/>
                  </a:cubicBezTo>
                  <a:cubicBezTo>
                    <a:pt x="267" y="11612"/>
                    <a:pt x="267" y="11612"/>
                    <a:pt x="267" y="11612"/>
                  </a:cubicBezTo>
                  <a:cubicBezTo>
                    <a:pt x="126" y="11709"/>
                    <a:pt x="126" y="11709"/>
                    <a:pt x="126" y="11709"/>
                  </a:cubicBezTo>
                  <a:cubicBezTo>
                    <a:pt x="151" y="11744"/>
                    <a:pt x="151" y="11744"/>
                    <a:pt x="151" y="11744"/>
                  </a:cubicBezTo>
                  <a:cubicBezTo>
                    <a:pt x="11" y="11837"/>
                    <a:pt x="11" y="11837"/>
                    <a:pt x="11" y="11837"/>
                  </a:cubicBezTo>
                  <a:cubicBezTo>
                    <a:pt x="4" y="11834"/>
                    <a:pt x="4" y="11834"/>
                    <a:pt x="4" y="11834"/>
                  </a:cubicBezTo>
                  <a:cubicBezTo>
                    <a:pt x="4" y="11817"/>
                    <a:pt x="4" y="11817"/>
                    <a:pt x="4" y="11817"/>
                  </a:cubicBezTo>
                  <a:lnTo>
                    <a:pt x="10" y="11820"/>
                  </a:lnTo>
                  <a:close/>
                  <a:moveTo>
                    <a:pt x="646" y="11644"/>
                  </a:moveTo>
                  <a:cubicBezTo>
                    <a:pt x="649" y="11652"/>
                    <a:pt x="649" y="11652"/>
                    <a:pt x="649" y="11652"/>
                  </a:cubicBezTo>
                  <a:cubicBezTo>
                    <a:pt x="747" y="11583"/>
                    <a:pt x="747" y="11583"/>
                    <a:pt x="747" y="11583"/>
                  </a:cubicBezTo>
                  <a:cubicBezTo>
                    <a:pt x="675" y="11347"/>
                    <a:pt x="675" y="11347"/>
                    <a:pt x="675" y="11347"/>
                  </a:cubicBezTo>
                  <a:cubicBezTo>
                    <a:pt x="540" y="11450"/>
                    <a:pt x="540" y="11450"/>
                    <a:pt x="540" y="11450"/>
                  </a:cubicBezTo>
                  <a:cubicBezTo>
                    <a:pt x="584" y="11504"/>
                    <a:pt x="584" y="11504"/>
                    <a:pt x="584" y="11504"/>
                  </a:cubicBezTo>
                  <a:cubicBezTo>
                    <a:pt x="631" y="11508"/>
                    <a:pt x="631" y="11508"/>
                    <a:pt x="631" y="11508"/>
                  </a:cubicBezTo>
                  <a:cubicBezTo>
                    <a:pt x="614" y="11569"/>
                    <a:pt x="614" y="11569"/>
                    <a:pt x="614" y="11569"/>
                  </a:cubicBezTo>
                  <a:lnTo>
                    <a:pt x="646" y="11644"/>
                  </a:lnTo>
                  <a:close/>
                  <a:moveTo>
                    <a:pt x="591" y="11490"/>
                  </a:moveTo>
                  <a:cubicBezTo>
                    <a:pt x="561" y="11453"/>
                    <a:pt x="561" y="11453"/>
                    <a:pt x="561" y="11453"/>
                  </a:cubicBezTo>
                  <a:cubicBezTo>
                    <a:pt x="667" y="11372"/>
                    <a:pt x="667" y="11372"/>
                    <a:pt x="667" y="11372"/>
                  </a:cubicBezTo>
                  <a:cubicBezTo>
                    <a:pt x="730" y="11577"/>
                    <a:pt x="730" y="11577"/>
                    <a:pt x="730" y="11577"/>
                  </a:cubicBezTo>
                  <a:cubicBezTo>
                    <a:pt x="656" y="11630"/>
                    <a:pt x="656" y="11630"/>
                    <a:pt x="656" y="11630"/>
                  </a:cubicBezTo>
                  <a:cubicBezTo>
                    <a:pt x="630" y="11568"/>
                    <a:pt x="630" y="11568"/>
                    <a:pt x="630" y="11568"/>
                  </a:cubicBezTo>
                  <a:cubicBezTo>
                    <a:pt x="650" y="11494"/>
                    <a:pt x="650" y="11494"/>
                    <a:pt x="650" y="11494"/>
                  </a:cubicBezTo>
                  <a:lnTo>
                    <a:pt x="591" y="11490"/>
                  </a:lnTo>
                  <a:close/>
                  <a:moveTo>
                    <a:pt x="4" y="11481"/>
                  </a:moveTo>
                  <a:cubicBezTo>
                    <a:pt x="22" y="11469"/>
                    <a:pt x="22" y="11469"/>
                    <a:pt x="22" y="11469"/>
                  </a:cubicBezTo>
                  <a:cubicBezTo>
                    <a:pt x="4" y="11425"/>
                    <a:pt x="4" y="11425"/>
                    <a:pt x="4" y="11425"/>
                  </a:cubicBezTo>
                  <a:cubicBezTo>
                    <a:pt x="4" y="11402"/>
                    <a:pt x="4" y="11402"/>
                    <a:pt x="4" y="11402"/>
                  </a:cubicBezTo>
                  <a:cubicBezTo>
                    <a:pt x="10" y="11399"/>
                    <a:pt x="10" y="11399"/>
                    <a:pt x="10" y="11399"/>
                  </a:cubicBezTo>
                  <a:cubicBezTo>
                    <a:pt x="13" y="11406"/>
                    <a:pt x="13" y="11406"/>
                    <a:pt x="13" y="11406"/>
                  </a:cubicBezTo>
                  <a:cubicBezTo>
                    <a:pt x="40" y="11475"/>
                    <a:pt x="40" y="11475"/>
                    <a:pt x="40" y="11475"/>
                  </a:cubicBezTo>
                  <a:cubicBezTo>
                    <a:pt x="4" y="11498"/>
                    <a:pt x="4" y="11498"/>
                    <a:pt x="4" y="11498"/>
                  </a:cubicBezTo>
                  <a:lnTo>
                    <a:pt x="4" y="11481"/>
                  </a:lnTo>
                  <a:close/>
                  <a:moveTo>
                    <a:pt x="472" y="11262"/>
                  </a:moveTo>
                  <a:cubicBezTo>
                    <a:pt x="444" y="11233"/>
                    <a:pt x="444" y="11233"/>
                    <a:pt x="444" y="11233"/>
                  </a:cubicBezTo>
                  <a:cubicBezTo>
                    <a:pt x="552" y="11167"/>
                    <a:pt x="552" y="11167"/>
                    <a:pt x="552" y="11167"/>
                  </a:cubicBezTo>
                  <a:cubicBezTo>
                    <a:pt x="510" y="11113"/>
                    <a:pt x="510" y="11113"/>
                    <a:pt x="510" y="11113"/>
                  </a:cubicBezTo>
                  <a:cubicBezTo>
                    <a:pt x="447" y="11139"/>
                    <a:pt x="447" y="11139"/>
                    <a:pt x="447" y="11139"/>
                  </a:cubicBezTo>
                  <a:cubicBezTo>
                    <a:pt x="386" y="11044"/>
                    <a:pt x="386" y="11044"/>
                    <a:pt x="386" y="11044"/>
                  </a:cubicBezTo>
                  <a:cubicBezTo>
                    <a:pt x="337" y="11067"/>
                    <a:pt x="337" y="11067"/>
                    <a:pt x="337" y="11067"/>
                  </a:cubicBezTo>
                  <a:cubicBezTo>
                    <a:pt x="268" y="10959"/>
                    <a:pt x="268" y="10959"/>
                    <a:pt x="268" y="10959"/>
                  </a:cubicBezTo>
                  <a:cubicBezTo>
                    <a:pt x="172" y="10988"/>
                    <a:pt x="172" y="10988"/>
                    <a:pt x="172" y="10988"/>
                  </a:cubicBezTo>
                  <a:cubicBezTo>
                    <a:pt x="458" y="11385"/>
                    <a:pt x="458" y="11385"/>
                    <a:pt x="458" y="11385"/>
                  </a:cubicBezTo>
                  <a:cubicBezTo>
                    <a:pt x="640" y="11257"/>
                    <a:pt x="640" y="11257"/>
                    <a:pt x="640" y="11257"/>
                  </a:cubicBezTo>
                  <a:cubicBezTo>
                    <a:pt x="648" y="11251"/>
                    <a:pt x="648" y="11251"/>
                    <a:pt x="648" y="11251"/>
                  </a:cubicBezTo>
                  <a:cubicBezTo>
                    <a:pt x="583" y="11202"/>
                    <a:pt x="583" y="11202"/>
                    <a:pt x="583" y="11202"/>
                  </a:cubicBezTo>
                  <a:lnTo>
                    <a:pt x="472" y="11262"/>
                  </a:lnTo>
                  <a:close/>
                  <a:moveTo>
                    <a:pt x="461" y="11365"/>
                  </a:moveTo>
                  <a:cubicBezTo>
                    <a:pt x="196" y="10996"/>
                    <a:pt x="196" y="10996"/>
                    <a:pt x="196" y="10996"/>
                  </a:cubicBezTo>
                  <a:cubicBezTo>
                    <a:pt x="262" y="10977"/>
                    <a:pt x="262" y="10977"/>
                    <a:pt x="262" y="10977"/>
                  </a:cubicBezTo>
                  <a:cubicBezTo>
                    <a:pt x="331" y="11086"/>
                    <a:pt x="331" y="11086"/>
                    <a:pt x="331" y="11086"/>
                  </a:cubicBezTo>
                  <a:cubicBezTo>
                    <a:pt x="381" y="11063"/>
                    <a:pt x="381" y="11063"/>
                    <a:pt x="381" y="11063"/>
                  </a:cubicBezTo>
                  <a:cubicBezTo>
                    <a:pt x="441" y="11157"/>
                    <a:pt x="441" y="11157"/>
                    <a:pt x="441" y="11157"/>
                  </a:cubicBezTo>
                  <a:cubicBezTo>
                    <a:pt x="505" y="11131"/>
                    <a:pt x="505" y="11131"/>
                    <a:pt x="505" y="11131"/>
                  </a:cubicBezTo>
                  <a:cubicBezTo>
                    <a:pt x="531" y="11163"/>
                    <a:pt x="531" y="11163"/>
                    <a:pt x="531" y="11163"/>
                  </a:cubicBezTo>
                  <a:cubicBezTo>
                    <a:pt x="420" y="11231"/>
                    <a:pt x="420" y="11231"/>
                    <a:pt x="420" y="11231"/>
                  </a:cubicBezTo>
                  <a:cubicBezTo>
                    <a:pt x="470" y="11280"/>
                    <a:pt x="470" y="11280"/>
                    <a:pt x="470" y="11280"/>
                  </a:cubicBezTo>
                  <a:cubicBezTo>
                    <a:pt x="582" y="11219"/>
                    <a:pt x="582" y="11219"/>
                    <a:pt x="582" y="11219"/>
                  </a:cubicBezTo>
                  <a:cubicBezTo>
                    <a:pt x="623" y="11250"/>
                    <a:pt x="623" y="11250"/>
                    <a:pt x="623" y="11250"/>
                  </a:cubicBezTo>
                  <a:lnTo>
                    <a:pt x="461" y="11365"/>
                  </a:lnTo>
                  <a:close/>
                  <a:moveTo>
                    <a:pt x="594" y="10761"/>
                  </a:moveTo>
                  <a:cubicBezTo>
                    <a:pt x="602" y="10758"/>
                    <a:pt x="602" y="10758"/>
                    <a:pt x="602" y="10758"/>
                  </a:cubicBezTo>
                  <a:cubicBezTo>
                    <a:pt x="482" y="10513"/>
                    <a:pt x="482" y="10513"/>
                    <a:pt x="482" y="10513"/>
                  </a:cubicBezTo>
                  <a:cubicBezTo>
                    <a:pt x="408" y="10536"/>
                    <a:pt x="408" y="10536"/>
                    <a:pt x="408" y="10536"/>
                  </a:cubicBezTo>
                  <a:cubicBezTo>
                    <a:pt x="501" y="10799"/>
                    <a:pt x="501" y="10799"/>
                    <a:pt x="501" y="10799"/>
                  </a:cubicBezTo>
                  <a:lnTo>
                    <a:pt x="594" y="10761"/>
                  </a:lnTo>
                  <a:close/>
                  <a:moveTo>
                    <a:pt x="474" y="10531"/>
                  </a:moveTo>
                  <a:cubicBezTo>
                    <a:pt x="581" y="10751"/>
                    <a:pt x="581" y="10751"/>
                    <a:pt x="581" y="10751"/>
                  </a:cubicBezTo>
                  <a:cubicBezTo>
                    <a:pt x="509" y="10779"/>
                    <a:pt x="509" y="10779"/>
                    <a:pt x="509" y="10779"/>
                  </a:cubicBezTo>
                  <a:cubicBezTo>
                    <a:pt x="427" y="10546"/>
                    <a:pt x="427" y="10546"/>
                    <a:pt x="427" y="10546"/>
                  </a:cubicBezTo>
                  <a:lnTo>
                    <a:pt x="474" y="10531"/>
                  </a:lnTo>
                  <a:close/>
                  <a:moveTo>
                    <a:pt x="4" y="11306"/>
                  </a:moveTo>
                  <a:cubicBezTo>
                    <a:pt x="162" y="11222"/>
                    <a:pt x="162" y="11222"/>
                    <a:pt x="162" y="11222"/>
                  </a:cubicBezTo>
                  <a:cubicBezTo>
                    <a:pt x="50" y="11030"/>
                    <a:pt x="50" y="11030"/>
                    <a:pt x="50" y="11030"/>
                  </a:cubicBezTo>
                  <a:cubicBezTo>
                    <a:pt x="4" y="11071"/>
                    <a:pt x="4" y="11071"/>
                    <a:pt x="4" y="11071"/>
                  </a:cubicBezTo>
                  <a:cubicBezTo>
                    <a:pt x="4" y="11051"/>
                    <a:pt x="4" y="11051"/>
                    <a:pt x="4" y="11051"/>
                  </a:cubicBezTo>
                  <a:cubicBezTo>
                    <a:pt x="54" y="11008"/>
                    <a:pt x="54" y="11008"/>
                    <a:pt x="54" y="11008"/>
                  </a:cubicBezTo>
                  <a:cubicBezTo>
                    <a:pt x="58" y="11015"/>
                    <a:pt x="58" y="11015"/>
                    <a:pt x="58" y="11015"/>
                  </a:cubicBezTo>
                  <a:cubicBezTo>
                    <a:pt x="182" y="11228"/>
                    <a:pt x="182" y="11228"/>
                    <a:pt x="182" y="11228"/>
                  </a:cubicBezTo>
                  <a:cubicBezTo>
                    <a:pt x="4" y="11323"/>
                    <a:pt x="4" y="11323"/>
                    <a:pt x="4" y="11323"/>
                  </a:cubicBezTo>
                  <a:lnTo>
                    <a:pt x="4" y="11306"/>
                  </a:lnTo>
                  <a:close/>
                  <a:moveTo>
                    <a:pt x="23" y="9506"/>
                  </a:moveTo>
                  <a:cubicBezTo>
                    <a:pt x="4" y="9509"/>
                    <a:pt x="4" y="9509"/>
                    <a:pt x="4" y="9509"/>
                  </a:cubicBezTo>
                  <a:cubicBezTo>
                    <a:pt x="4" y="9494"/>
                    <a:pt x="4" y="9494"/>
                    <a:pt x="4" y="9494"/>
                  </a:cubicBezTo>
                  <a:cubicBezTo>
                    <a:pt x="11" y="9493"/>
                    <a:pt x="11" y="9493"/>
                    <a:pt x="11" y="9493"/>
                  </a:cubicBezTo>
                  <a:cubicBezTo>
                    <a:pt x="38" y="9408"/>
                    <a:pt x="38" y="9408"/>
                    <a:pt x="38" y="9408"/>
                  </a:cubicBezTo>
                  <a:cubicBezTo>
                    <a:pt x="4" y="9355"/>
                    <a:pt x="4" y="9355"/>
                    <a:pt x="4" y="9355"/>
                  </a:cubicBezTo>
                  <a:cubicBezTo>
                    <a:pt x="4" y="9327"/>
                    <a:pt x="4" y="9327"/>
                    <a:pt x="4" y="9327"/>
                  </a:cubicBezTo>
                  <a:cubicBezTo>
                    <a:pt x="54" y="9406"/>
                    <a:pt x="54" y="9406"/>
                    <a:pt x="54" y="9406"/>
                  </a:cubicBezTo>
                  <a:lnTo>
                    <a:pt x="23" y="9506"/>
                  </a:lnTo>
                  <a:close/>
                  <a:moveTo>
                    <a:pt x="31" y="8515"/>
                  </a:moveTo>
                  <a:cubicBezTo>
                    <a:pt x="4" y="8546"/>
                    <a:pt x="4" y="8546"/>
                    <a:pt x="4" y="8546"/>
                  </a:cubicBezTo>
                  <a:cubicBezTo>
                    <a:pt x="4" y="8511"/>
                    <a:pt x="4" y="8511"/>
                    <a:pt x="4" y="8511"/>
                  </a:cubicBezTo>
                  <a:cubicBezTo>
                    <a:pt x="16" y="8506"/>
                    <a:pt x="23" y="8504"/>
                    <a:pt x="23" y="8504"/>
                  </a:cubicBezTo>
                  <a:cubicBezTo>
                    <a:pt x="51" y="8492"/>
                    <a:pt x="51" y="8492"/>
                    <a:pt x="51" y="8492"/>
                  </a:cubicBezTo>
                  <a:lnTo>
                    <a:pt x="31" y="8515"/>
                  </a:lnTo>
                  <a:close/>
                  <a:moveTo>
                    <a:pt x="128" y="8752"/>
                  </a:moveTo>
                  <a:cubicBezTo>
                    <a:pt x="4" y="8857"/>
                    <a:pt x="4" y="8857"/>
                    <a:pt x="4" y="8857"/>
                  </a:cubicBezTo>
                  <a:cubicBezTo>
                    <a:pt x="4" y="8838"/>
                    <a:pt x="4" y="8838"/>
                    <a:pt x="4" y="8838"/>
                  </a:cubicBezTo>
                  <a:cubicBezTo>
                    <a:pt x="109" y="8749"/>
                    <a:pt x="109" y="8749"/>
                    <a:pt x="109" y="8749"/>
                  </a:cubicBezTo>
                  <a:cubicBezTo>
                    <a:pt x="62" y="8667"/>
                    <a:pt x="62" y="8667"/>
                    <a:pt x="62" y="8667"/>
                  </a:cubicBezTo>
                  <a:cubicBezTo>
                    <a:pt x="4" y="8684"/>
                    <a:pt x="4" y="8684"/>
                    <a:pt x="4" y="8684"/>
                  </a:cubicBezTo>
                  <a:cubicBezTo>
                    <a:pt x="4" y="8668"/>
                    <a:pt x="4" y="8668"/>
                    <a:pt x="4" y="8668"/>
                  </a:cubicBezTo>
                  <a:cubicBezTo>
                    <a:pt x="69" y="8650"/>
                    <a:pt x="69" y="8650"/>
                    <a:pt x="69" y="8650"/>
                  </a:cubicBezTo>
                  <a:lnTo>
                    <a:pt x="128" y="8752"/>
                  </a:lnTo>
                  <a:close/>
                  <a:moveTo>
                    <a:pt x="28" y="9118"/>
                  </a:moveTo>
                  <a:cubicBezTo>
                    <a:pt x="4" y="9079"/>
                    <a:pt x="4" y="9079"/>
                    <a:pt x="4" y="9079"/>
                  </a:cubicBezTo>
                  <a:cubicBezTo>
                    <a:pt x="4" y="9050"/>
                    <a:pt x="4" y="9050"/>
                    <a:pt x="4" y="9050"/>
                  </a:cubicBezTo>
                  <a:cubicBezTo>
                    <a:pt x="37" y="9104"/>
                    <a:pt x="37" y="9104"/>
                    <a:pt x="37" y="9104"/>
                  </a:cubicBezTo>
                  <a:cubicBezTo>
                    <a:pt x="177" y="9111"/>
                    <a:pt x="177" y="9111"/>
                    <a:pt x="177" y="9111"/>
                  </a:cubicBezTo>
                  <a:cubicBezTo>
                    <a:pt x="277" y="9021"/>
                    <a:pt x="277" y="9021"/>
                    <a:pt x="277" y="9021"/>
                  </a:cubicBezTo>
                  <a:cubicBezTo>
                    <a:pt x="151" y="8906"/>
                    <a:pt x="151" y="8906"/>
                    <a:pt x="151" y="8906"/>
                  </a:cubicBezTo>
                  <a:cubicBezTo>
                    <a:pt x="4" y="9019"/>
                    <a:pt x="4" y="9019"/>
                    <a:pt x="4" y="9019"/>
                  </a:cubicBezTo>
                  <a:cubicBezTo>
                    <a:pt x="4" y="9000"/>
                    <a:pt x="4" y="9000"/>
                    <a:pt x="4" y="9000"/>
                  </a:cubicBezTo>
                  <a:cubicBezTo>
                    <a:pt x="152" y="8887"/>
                    <a:pt x="152" y="8887"/>
                    <a:pt x="152" y="8887"/>
                  </a:cubicBezTo>
                  <a:cubicBezTo>
                    <a:pt x="299" y="9021"/>
                    <a:pt x="299" y="9021"/>
                    <a:pt x="299" y="9021"/>
                  </a:cubicBezTo>
                  <a:cubicBezTo>
                    <a:pt x="293" y="9026"/>
                    <a:pt x="293" y="9026"/>
                    <a:pt x="293" y="9026"/>
                  </a:cubicBezTo>
                  <a:cubicBezTo>
                    <a:pt x="183" y="9126"/>
                    <a:pt x="183" y="9126"/>
                    <a:pt x="183" y="9126"/>
                  </a:cubicBezTo>
                  <a:lnTo>
                    <a:pt x="28" y="9118"/>
                  </a:lnTo>
                  <a:close/>
                  <a:moveTo>
                    <a:pt x="496" y="8894"/>
                  </a:moveTo>
                  <a:cubicBezTo>
                    <a:pt x="511" y="8790"/>
                    <a:pt x="511" y="8790"/>
                    <a:pt x="511" y="8790"/>
                  </a:cubicBezTo>
                  <a:cubicBezTo>
                    <a:pt x="393" y="8687"/>
                    <a:pt x="393" y="8687"/>
                    <a:pt x="393" y="8687"/>
                  </a:cubicBezTo>
                  <a:cubicBezTo>
                    <a:pt x="297" y="8759"/>
                    <a:pt x="297" y="8759"/>
                    <a:pt x="297" y="8759"/>
                  </a:cubicBezTo>
                  <a:cubicBezTo>
                    <a:pt x="321" y="8798"/>
                    <a:pt x="321" y="8798"/>
                    <a:pt x="321" y="8798"/>
                  </a:cubicBezTo>
                  <a:cubicBezTo>
                    <a:pt x="295" y="8812"/>
                    <a:pt x="295" y="8812"/>
                    <a:pt x="295" y="8812"/>
                  </a:cubicBezTo>
                  <a:cubicBezTo>
                    <a:pt x="260" y="8791"/>
                    <a:pt x="260" y="8791"/>
                    <a:pt x="260" y="8791"/>
                  </a:cubicBezTo>
                  <a:cubicBezTo>
                    <a:pt x="191" y="8847"/>
                    <a:pt x="191" y="8847"/>
                    <a:pt x="191" y="8847"/>
                  </a:cubicBezTo>
                  <a:cubicBezTo>
                    <a:pt x="333" y="8986"/>
                    <a:pt x="333" y="8986"/>
                    <a:pt x="333" y="8986"/>
                  </a:cubicBezTo>
                  <a:cubicBezTo>
                    <a:pt x="493" y="8896"/>
                    <a:pt x="493" y="8896"/>
                    <a:pt x="493" y="8896"/>
                  </a:cubicBezTo>
                  <a:lnTo>
                    <a:pt x="496" y="8894"/>
                  </a:lnTo>
                  <a:close/>
                  <a:moveTo>
                    <a:pt x="336" y="8968"/>
                  </a:moveTo>
                  <a:cubicBezTo>
                    <a:pt x="213" y="8848"/>
                    <a:pt x="213" y="8848"/>
                    <a:pt x="213" y="8848"/>
                  </a:cubicBezTo>
                  <a:cubicBezTo>
                    <a:pt x="261" y="8809"/>
                    <a:pt x="261" y="8809"/>
                    <a:pt x="261" y="8809"/>
                  </a:cubicBezTo>
                  <a:cubicBezTo>
                    <a:pt x="295" y="8830"/>
                    <a:pt x="295" y="8830"/>
                    <a:pt x="295" y="8830"/>
                  </a:cubicBezTo>
                  <a:cubicBezTo>
                    <a:pt x="341" y="8803"/>
                    <a:pt x="341" y="8803"/>
                    <a:pt x="341" y="8803"/>
                  </a:cubicBezTo>
                  <a:cubicBezTo>
                    <a:pt x="317" y="8762"/>
                    <a:pt x="317" y="8762"/>
                    <a:pt x="317" y="8762"/>
                  </a:cubicBezTo>
                  <a:cubicBezTo>
                    <a:pt x="392" y="8706"/>
                    <a:pt x="392" y="8706"/>
                    <a:pt x="392" y="8706"/>
                  </a:cubicBezTo>
                  <a:cubicBezTo>
                    <a:pt x="495" y="8796"/>
                    <a:pt x="495" y="8796"/>
                    <a:pt x="495" y="8796"/>
                  </a:cubicBezTo>
                  <a:cubicBezTo>
                    <a:pt x="482" y="8885"/>
                    <a:pt x="482" y="8885"/>
                    <a:pt x="482" y="8885"/>
                  </a:cubicBezTo>
                  <a:lnTo>
                    <a:pt x="336" y="8968"/>
                  </a:lnTo>
                  <a:close/>
                  <a:moveTo>
                    <a:pt x="538" y="8745"/>
                  </a:moveTo>
                  <a:cubicBezTo>
                    <a:pt x="672" y="8652"/>
                    <a:pt x="672" y="8652"/>
                    <a:pt x="672" y="8652"/>
                  </a:cubicBezTo>
                  <a:cubicBezTo>
                    <a:pt x="676" y="8460"/>
                    <a:pt x="676" y="8460"/>
                    <a:pt x="676" y="8460"/>
                  </a:cubicBezTo>
                  <a:cubicBezTo>
                    <a:pt x="676" y="8444"/>
                    <a:pt x="676" y="8444"/>
                    <a:pt x="676" y="8444"/>
                  </a:cubicBezTo>
                  <a:cubicBezTo>
                    <a:pt x="435" y="8638"/>
                    <a:pt x="435" y="8638"/>
                    <a:pt x="435" y="8638"/>
                  </a:cubicBezTo>
                  <a:lnTo>
                    <a:pt x="538" y="8745"/>
                  </a:lnTo>
                  <a:close/>
                  <a:moveTo>
                    <a:pt x="657" y="8644"/>
                  </a:moveTo>
                  <a:cubicBezTo>
                    <a:pt x="540" y="8726"/>
                    <a:pt x="540" y="8726"/>
                    <a:pt x="540" y="8726"/>
                  </a:cubicBezTo>
                  <a:cubicBezTo>
                    <a:pt x="457" y="8640"/>
                    <a:pt x="457" y="8640"/>
                    <a:pt x="457" y="8640"/>
                  </a:cubicBezTo>
                  <a:cubicBezTo>
                    <a:pt x="661" y="8476"/>
                    <a:pt x="661" y="8476"/>
                    <a:pt x="661" y="8476"/>
                  </a:cubicBezTo>
                  <a:lnTo>
                    <a:pt x="657" y="8644"/>
                  </a:lnTo>
                  <a:close/>
                  <a:moveTo>
                    <a:pt x="1018" y="8339"/>
                  </a:moveTo>
                  <a:cubicBezTo>
                    <a:pt x="1020" y="8335"/>
                    <a:pt x="1020" y="8335"/>
                    <a:pt x="1020" y="8335"/>
                  </a:cubicBezTo>
                  <a:cubicBezTo>
                    <a:pt x="943" y="8232"/>
                    <a:pt x="943" y="8232"/>
                    <a:pt x="943" y="8232"/>
                  </a:cubicBezTo>
                  <a:cubicBezTo>
                    <a:pt x="838" y="8318"/>
                    <a:pt x="838" y="8318"/>
                    <a:pt x="838" y="8318"/>
                  </a:cubicBezTo>
                  <a:cubicBezTo>
                    <a:pt x="969" y="8445"/>
                    <a:pt x="969" y="8445"/>
                    <a:pt x="969" y="8445"/>
                  </a:cubicBezTo>
                  <a:lnTo>
                    <a:pt x="1018" y="8339"/>
                  </a:lnTo>
                  <a:close/>
                  <a:moveTo>
                    <a:pt x="860" y="8319"/>
                  </a:moveTo>
                  <a:cubicBezTo>
                    <a:pt x="940" y="8254"/>
                    <a:pt x="940" y="8254"/>
                    <a:pt x="940" y="8254"/>
                  </a:cubicBezTo>
                  <a:cubicBezTo>
                    <a:pt x="1003" y="8337"/>
                    <a:pt x="1003" y="8337"/>
                    <a:pt x="1003" y="8337"/>
                  </a:cubicBezTo>
                  <a:cubicBezTo>
                    <a:pt x="964" y="8420"/>
                    <a:pt x="964" y="8420"/>
                    <a:pt x="964" y="8420"/>
                  </a:cubicBezTo>
                  <a:lnTo>
                    <a:pt x="860" y="8319"/>
                  </a:lnTo>
                  <a:close/>
                  <a:moveTo>
                    <a:pt x="846" y="8545"/>
                  </a:moveTo>
                  <a:cubicBezTo>
                    <a:pt x="903" y="8541"/>
                    <a:pt x="903" y="8541"/>
                    <a:pt x="903" y="8541"/>
                  </a:cubicBezTo>
                  <a:cubicBezTo>
                    <a:pt x="932" y="8486"/>
                    <a:pt x="932" y="8486"/>
                    <a:pt x="932" y="8486"/>
                  </a:cubicBezTo>
                  <a:cubicBezTo>
                    <a:pt x="935" y="8481"/>
                    <a:pt x="935" y="8481"/>
                    <a:pt x="935" y="8481"/>
                  </a:cubicBezTo>
                  <a:cubicBezTo>
                    <a:pt x="804" y="8354"/>
                    <a:pt x="804" y="8354"/>
                    <a:pt x="804" y="8354"/>
                  </a:cubicBezTo>
                  <a:cubicBezTo>
                    <a:pt x="725" y="8400"/>
                    <a:pt x="725" y="8400"/>
                    <a:pt x="725" y="8400"/>
                  </a:cubicBezTo>
                  <a:lnTo>
                    <a:pt x="846" y="8545"/>
                  </a:lnTo>
                  <a:close/>
                  <a:moveTo>
                    <a:pt x="917" y="8484"/>
                  </a:moveTo>
                  <a:cubicBezTo>
                    <a:pt x="894" y="8527"/>
                    <a:pt x="894" y="8527"/>
                    <a:pt x="894" y="8527"/>
                  </a:cubicBezTo>
                  <a:cubicBezTo>
                    <a:pt x="852" y="8530"/>
                    <a:pt x="852" y="8530"/>
                    <a:pt x="852" y="8530"/>
                  </a:cubicBezTo>
                  <a:cubicBezTo>
                    <a:pt x="748" y="8404"/>
                    <a:pt x="748" y="8404"/>
                    <a:pt x="748" y="8404"/>
                  </a:cubicBezTo>
                  <a:cubicBezTo>
                    <a:pt x="802" y="8372"/>
                    <a:pt x="802" y="8372"/>
                    <a:pt x="802" y="8372"/>
                  </a:cubicBezTo>
                  <a:lnTo>
                    <a:pt x="917" y="8484"/>
                  </a:lnTo>
                  <a:close/>
                  <a:moveTo>
                    <a:pt x="461" y="8256"/>
                  </a:moveTo>
                  <a:cubicBezTo>
                    <a:pt x="481" y="8300"/>
                    <a:pt x="481" y="8300"/>
                    <a:pt x="481" y="8300"/>
                  </a:cubicBezTo>
                  <a:cubicBezTo>
                    <a:pt x="385" y="8392"/>
                    <a:pt x="385" y="8392"/>
                    <a:pt x="385" y="8392"/>
                  </a:cubicBezTo>
                  <a:cubicBezTo>
                    <a:pt x="444" y="8483"/>
                    <a:pt x="444" y="8483"/>
                    <a:pt x="444" y="8483"/>
                  </a:cubicBezTo>
                  <a:cubicBezTo>
                    <a:pt x="654" y="8311"/>
                    <a:pt x="654" y="8311"/>
                    <a:pt x="654" y="8311"/>
                  </a:cubicBezTo>
                  <a:cubicBezTo>
                    <a:pt x="660" y="8307"/>
                    <a:pt x="660" y="8307"/>
                    <a:pt x="660" y="8307"/>
                  </a:cubicBezTo>
                  <a:cubicBezTo>
                    <a:pt x="490" y="8086"/>
                    <a:pt x="490" y="8086"/>
                    <a:pt x="490" y="8086"/>
                  </a:cubicBezTo>
                  <a:cubicBezTo>
                    <a:pt x="366" y="8221"/>
                    <a:pt x="366" y="8221"/>
                    <a:pt x="366" y="8221"/>
                  </a:cubicBezTo>
                  <a:cubicBezTo>
                    <a:pt x="414" y="8293"/>
                    <a:pt x="414" y="8293"/>
                    <a:pt x="414" y="8293"/>
                  </a:cubicBezTo>
                  <a:lnTo>
                    <a:pt x="461" y="8256"/>
                  </a:lnTo>
                  <a:close/>
                  <a:moveTo>
                    <a:pt x="489" y="8109"/>
                  </a:moveTo>
                  <a:cubicBezTo>
                    <a:pt x="639" y="8304"/>
                    <a:pt x="639" y="8304"/>
                    <a:pt x="639" y="8304"/>
                  </a:cubicBezTo>
                  <a:cubicBezTo>
                    <a:pt x="447" y="8461"/>
                    <a:pt x="447" y="8461"/>
                    <a:pt x="447" y="8461"/>
                  </a:cubicBezTo>
                  <a:cubicBezTo>
                    <a:pt x="404" y="8394"/>
                    <a:pt x="404" y="8394"/>
                    <a:pt x="404" y="8394"/>
                  </a:cubicBezTo>
                  <a:cubicBezTo>
                    <a:pt x="498" y="8303"/>
                    <a:pt x="498" y="8303"/>
                    <a:pt x="498" y="8303"/>
                  </a:cubicBezTo>
                  <a:cubicBezTo>
                    <a:pt x="467" y="8233"/>
                    <a:pt x="467" y="8233"/>
                    <a:pt x="467" y="8233"/>
                  </a:cubicBezTo>
                  <a:cubicBezTo>
                    <a:pt x="417" y="8272"/>
                    <a:pt x="417" y="8272"/>
                    <a:pt x="417" y="8272"/>
                  </a:cubicBezTo>
                  <a:cubicBezTo>
                    <a:pt x="385" y="8222"/>
                    <a:pt x="385" y="8222"/>
                    <a:pt x="385" y="8222"/>
                  </a:cubicBezTo>
                  <a:lnTo>
                    <a:pt x="489" y="8109"/>
                  </a:lnTo>
                  <a:close/>
                  <a:moveTo>
                    <a:pt x="617" y="8124"/>
                  </a:moveTo>
                  <a:cubicBezTo>
                    <a:pt x="686" y="8024"/>
                    <a:pt x="686" y="8024"/>
                    <a:pt x="686" y="8024"/>
                  </a:cubicBezTo>
                  <a:cubicBezTo>
                    <a:pt x="707" y="8153"/>
                    <a:pt x="707" y="8153"/>
                    <a:pt x="707" y="8153"/>
                  </a:cubicBezTo>
                  <a:cubicBezTo>
                    <a:pt x="722" y="8153"/>
                    <a:pt x="722" y="8153"/>
                    <a:pt x="722" y="8153"/>
                  </a:cubicBezTo>
                  <a:cubicBezTo>
                    <a:pt x="759" y="8032"/>
                    <a:pt x="759" y="8032"/>
                    <a:pt x="759" y="8032"/>
                  </a:cubicBezTo>
                  <a:cubicBezTo>
                    <a:pt x="815" y="8088"/>
                    <a:pt x="815" y="8088"/>
                    <a:pt x="815" y="8088"/>
                  </a:cubicBezTo>
                  <a:cubicBezTo>
                    <a:pt x="863" y="8037"/>
                    <a:pt x="863" y="8037"/>
                    <a:pt x="863" y="8037"/>
                  </a:cubicBezTo>
                  <a:cubicBezTo>
                    <a:pt x="868" y="8032"/>
                    <a:pt x="868" y="8032"/>
                    <a:pt x="868" y="8032"/>
                  </a:cubicBezTo>
                  <a:cubicBezTo>
                    <a:pt x="689" y="7864"/>
                    <a:pt x="689" y="7864"/>
                    <a:pt x="689" y="7864"/>
                  </a:cubicBezTo>
                  <a:cubicBezTo>
                    <a:pt x="536" y="8037"/>
                    <a:pt x="536" y="8037"/>
                    <a:pt x="536" y="8037"/>
                  </a:cubicBezTo>
                  <a:lnTo>
                    <a:pt x="617" y="8124"/>
                  </a:lnTo>
                  <a:close/>
                  <a:moveTo>
                    <a:pt x="690" y="7885"/>
                  </a:moveTo>
                  <a:cubicBezTo>
                    <a:pt x="847" y="8032"/>
                    <a:pt x="847" y="8032"/>
                    <a:pt x="847" y="8032"/>
                  </a:cubicBezTo>
                  <a:cubicBezTo>
                    <a:pt x="814" y="8067"/>
                    <a:pt x="814" y="8067"/>
                    <a:pt x="814" y="8067"/>
                  </a:cubicBezTo>
                  <a:cubicBezTo>
                    <a:pt x="752" y="8004"/>
                    <a:pt x="752" y="8004"/>
                    <a:pt x="752" y="8004"/>
                  </a:cubicBezTo>
                  <a:cubicBezTo>
                    <a:pt x="717" y="8119"/>
                    <a:pt x="717" y="8119"/>
                    <a:pt x="717" y="8119"/>
                  </a:cubicBezTo>
                  <a:cubicBezTo>
                    <a:pt x="695" y="7986"/>
                    <a:pt x="695" y="7986"/>
                    <a:pt x="695" y="7986"/>
                  </a:cubicBezTo>
                  <a:cubicBezTo>
                    <a:pt x="615" y="8100"/>
                    <a:pt x="615" y="8100"/>
                    <a:pt x="615" y="8100"/>
                  </a:cubicBezTo>
                  <a:cubicBezTo>
                    <a:pt x="556" y="8037"/>
                    <a:pt x="556" y="8037"/>
                    <a:pt x="556" y="8037"/>
                  </a:cubicBezTo>
                  <a:lnTo>
                    <a:pt x="690" y="7885"/>
                  </a:lnTo>
                  <a:close/>
                  <a:moveTo>
                    <a:pt x="423" y="7828"/>
                  </a:moveTo>
                  <a:cubicBezTo>
                    <a:pt x="492" y="7873"/>
                    <a:pt x="492" y="7873"/>
                    <a:pt x="492" y="7873"/>
                  </a:cubicBezTo>
                  <a:cubicBezTo>
                    <a:pt x="535" y="7832"/>
                    <a:pt x="535" y="7832"/>
                    <a:pt x="535" y="7832"/>
                  </a:cubicBezTo>
                  <a:cubicBezTo>
                    <a:pt x="540" y="7828"/>
                    <a:pt x="540" y="7828"/>
                    <a:pt x="540" y="7828"/>
                  </a:cubicBezTo>
                  <a:cubicBezTo>
                    <a:pt x="369" y="7600"/>
                    <a:pt x="369" y="7600"/>
                    <a:pt x="369" y="7600"/>
                  </a:cubicBezTo>
                  <a:cubicBezTo>
                    <a:pt x="258" y="7822"/>
                    <a:pt x="258" y="7822"/>
                    <a:pt x="258" y="7822"/>
                  </a:cubicBezTo>
                  <a:cubicBezTo>
                    <a:pt x="345" y="7866"/>
                    <a:pt x="345" y="7866"/>
                    <a:pt x="345" y="7866"/>
                  </a:cubicBezTo>
                  <a:lnTo>
                    <a:pt x="423" y="7828"/>
                  </a:lnTo>
                  <a:close/>
                  <a:moveTo>
                    <a:pt x="372" y="7628"/>
                  </a:moveTo>
                  <a:cubicBezTo>
                    <a:pt x="520" y="7826"/>
                    <a:pt x="520" y="7826"/>
                    <a:pt x="520" y="7826"/>
                  </a:cubicBezTo>
                  <a:cubicBezTo>
                    <a:pt x="490" y="7854"/>
                    <a:pt x="490" y="7854"/>
                    <a:pt x="490" y="7854"/>
                  </a:cubicBezTo>
                  <a:cubicBezTo>
                    <a:pt x="424" y="7811"/>
                    <a:pt x="424" y="7811"/>
                    <a:pt x="424" y="7811"/>
                  </a:cubicBezTo>
                  <a:cubicBezTo>
                    <a:pt x="345" y="7850"/>
                    <a:pt x="345" y="7850"/>
                    <a:pt x="345" y="7850"/>
                  </a:cubicBezTo>
                  <a:cubicBezTo>
                    <a:pt x="278" y="7815"/>
                    <a:pt x="278" y="7815"/>
                    <a:pt x="278" y="7815"/>
                  </a:cubicBezTo>
                  <a:lnTo>
                    <a:pt x="372" y="7628"/>
                  </a:lnTo>
                  <a:close/>
                  <a:moveTo>
                    <a:pt x="214" y="8072"/>
                  </a:moveTo>
                  <a:cubicBezTo>
                    <a:pt x="233" y="8012"/>
                    <a:pt x="233" y="8012"/>
                    <a:pt x="233" y="8012"/>
                  </a:cubicBezTo>
                  <a:cubicBezTo>
                    <a:pt x="150" y="7859"/>
                    <a:pt x="150" y="7859"/>
                    <a:pt x="150" y="7859"/>
                  </a:cubicBezTo>
                  <a:cubicBezTo>
                    <a:pt x="57" y="8040"/>
                    <a:pt x="57" y="8040"/>
                    <a:pt x="57" y="8040"/>
                  </a:cubicBezTo>
                  <a:cubicBezTo>
                    <a:pt x="228" y="8161"/>
                    <a:pt x="228" y="8161"/>
                    <a:pt x="228" y="8161"/>
                  </a:cubicBezTo>
                  <a:cubicBezTo>
                    <a:pt x="236" y="8167"/>
                    <a:pt x="236" y="8167"/>
                    <a:pt x="236" y="8167"/>
                  </a:cubicBezTo>
                  <a:cubicBezTo>
                    <a:pt x="260" y="8091"/>
                    <a:pt x="260" y="8091"/>
                    <a:pt x="260" y="8091"/>
                  </a:cubicBezTo>
                  <a:lnTo>
                    <a:pt x="214" y="8072"/>
                  </a:lnTo>
                  <a:close/>
                  <a:moveTo>
                    <a:pt x="228" y="8143"/>
                  </a:moveTo>
                  <a:cubicBezTo>
                    <a:pt x="76" y="8036"/>
                    <a:pt x="76" y="8036"/>
                    <a:pt x="76" y="8036"/>
                  </a:cubicBezTo>
                  <a:cubicBezTo>
                    <a:pt x="150" y="7891"/>
                    <a:pt x="150" y="7891"/>
                    <a:pt x="150" y="7891"/>
                  </a:cubicBezTo>
                  <a:cubicBezTo>
                    <a:pt x="217" y="8014"/>
                    <a:pt x="217" y="8014"/>
                    <a:pt x="217" y="8014"/>
                  </a:cubicBezTo>
                  <a:cubicBezTo>
                    <a:pt x="196" y="8081"/>
                    <a:pt x="196" y="8081"/>
                    <a:pt x="196" y="8081"/>
                  </a:cubicBezTo>
                  <a:cubicBezTo>
                    <a:pt x="242" y="8099"/>
                    <a:pt x="242" y="8099"/>
                    <a:pt x="242" y="8099"/>
                  </a:cubicBezTo>
                  <a:lnTo>
                    <a:pt x="228" y="8143"/>
                  </a:lnTo>
                  <a:close/>
                  <a:moveTo>
                    <a:pt x="526" y="7443"/>
                  </a:moveTo>
                  <a:cubicBezTo>
                    <a:pt x="507" y="7472"/>
                    <a:pt x="507" y="7472"/>
                    <a:pt x="507" y="7472"/>
                  </a:cubicBezTo>
                  <a:cubicBezTo>
                    <a:pt x="528" y="7498"/>
                    <a:pt x="528" y="7498"/>
                    <a:pt x="528" y="7498"/>
                  </a:cubicBezTo>
                  <a:cubicBezTo>
                    <a:pt x="634" y="7420"/>
                    <a:pt x="634" y="7420"/>
                    <a:pt x="634" y="7420"/>
                  </a:cubicBezTo>
                  <a:cubicBezTo>
                    <a:pt x="654" y="7456"/>
                    <a:pt x="654" y="7456"/>
                    <a:pt x="654" y="7456"/>
                  </a:cubicBezTo>
                  <a:cubicBezTo>
                    <a:pt x="610" y="7498"/>
                    <a:pt x="610" y="7498"/>
                    <a:pt x="610" y="7498"/>
                  </a:cubicBezTo>
                  <a:cubicBezTo>
                    <a:pt x="679" y="7539"/>
                    <a:pt x="679" y="7539"/>
                    <a:pt x="679" y="7539"/>
                  </a:cubicBezTo>
                  <a:cubicBezTo>
                    <a:pt x="753" y="7476"/>
                    <a:pt x="753" y="7476"/>
                    <a:pt x="753" y="7476"/>
                  </a:cubicBezTo>
                  <a:cubicBezTo>
                    <a:pt x="798" y="7519"/>
                    <a:pt x="798" y="7519"/>
                    <a:pt x="798" y="7519"/>
                  </a:cubicBezTo>
                  <a:cubicBezTo>
                    <a:pt x="857" y="7458"/>
                    <a:pt x="857" y="7458"/>
                    <a:pt x="857" y="7458"/>
                  </a:cubicBezTo>
                  <a:cubicBezTo>
                    <a:pt x="862" y="7452"/>
                    <a:pt x="862" y="7452"/>
                    <a:pt x="862" y="7452"/>
                  </a:cubicBezTo>
                  <a:cubicBezTo>
                    <a:pt x="643" y="7249"/>
                    <a:pt x="643" y="7249"/>
                    <a:pt x="643" y="7249"/>
                  </a:cubicBezTo>
                  <a:cubicBezTo>
                    <a:pt x="479" y="7398"/>
                    <a:pt x="479" y="7398"/>
                    <a:pt x="479" y="7398"/>
                  </a:cubicBezTo>
                  <a:lnTo>
                    <a:pt x="526" y="7443"/>
                  </a:lnTo>
                  <a:close/>
                  <a:moveTo>
                    <a:pt x="841" y="7453"/>
                  </a:moveTo>
                  <a:cubicBezTo>
                    <a:pt x="798" y="7498"/>
                    <a:pt x="798" y="7498"/>
                    <a:pt x="798" y="7498"/>
                  </a:cubicBezTo>
                  <a:cubicBezTo>
                    <a:pt x="754" y="7456"/>
                    <a:pt x="754" y="7456"/>
                    <a:pt x="754" y="7456"/>
                  </a:cubicBezTo>
                  <a:cubicBezTo>
                    <a:pt x="677" y="7521"/>
                    <a:pt x="677" y="7521"/>
                    <a:pt x="677" y="7521"/>
                  </a:cubicBezTo>
                  <a:cubicBezTo>
                    <a:pt x="634" y="7495"/>
                    <a:pt x="634" y="7495"/>
                    <a:pt x="634" y="7495"/>
                  </a:cubicBezTo>
                  <a:cubicBezTo>
                    <a:pt x="672" y="7458"/>
                    <a:pt x="672" y="7458"/>
                    <a:pt x="672" y="7458"/>
                  </a:cubicBezTo>
                  <a:cubicBezTo>
                    <a:pt x="639" y="7399"/>
                    <a:pt x="639" y="7399"/>
                    <a:pt x="639" y="7399"/>
                  </a:cubicBezTo>
                  <a:cubicBezTo>
                    <a:pt x="531" y="7478"/>
                    <a:pt x="531" y="7478"/>
                    <a:pt x="531" y="7478"/>
                  </a:cubicBezTo>
                  <a:cubicBezTo>
                    <a:pt x="525" y="7471"/>
                    <a:pt x="525" y="7471"/>
                    <a:pt x="525" y="7471"/>
                  </a:cubicBezTo>
                  <a:cubicBezTo>
                    <a:pt x="545" y="7440"/>
                    <a:pt x="545" y="7440"/>
                    <a:pt x="545" y="7440"/>
                  </a:cubicBezTo>
                  <a:cubicBezTo>
                    <a:pt x="501" y="7398"/>
                    <a:pt x="501" y="7398"/>
                    <a:pt x="501" y="7398"/>
                  </a:cubicBezTo>
                  <a:cubicBezTo>
                    <a:pt x="643" y="7269"/>
                    <a:pt x="643" y="7269"/>
                    <a:pt x="643" y="7269"/>
                  </a:cubicBezTo>
                  <a:lnTo>
                    <a:pt x="841" y="7453"/>
                  </a:lnTo>
                  <a:close/>
                  <a:moveTo>
                    <a:pt x="891" y="6841"/>
                  </a:moveTo>
                  <a:cubicBezTo>
                    <a:pt x="860" y="6862"/>
                    <a:pt x="860" y="6862"/>
                    <a:pt x="860" y="6862"/>
                  </a:cubicBezTo>
                  <a:cubicBezTo>
                    <a:pt x="754" y="6788"/>
                    <a:pt x="754" y="6788"/>
                    <a:pt x="754" y="6788"/>
                  </a:cubicBezTo>
                  <a:cubicBezTo>
                    <a:pt x="712" y="6857"/>
                    <a:pt x="712" y="6857"/>
                    <a:pt x="712" y="6857"/>
                  </a:cubicBezTo>
                  <a:cubicBezTo>
                    <a:pt x="601" y="6765"/>
                    <a:pt x="601" y="6765"/>
                    <a:pt x="601" y="6765"/>
                  </a:cubicBezTo>
                  <a:cubicBezTo>
                    <a:pt x="530" y="6868"/>
                    <a:pt x="530" y="6868"/>
                    <a:pt x="530" y="6868"/>
                  </a:cubicBezTo>
                  <a:cubicBezTo>
                    <a:pt x="746" y="7025"/>
                    <a:pt x="746" y="7025"/>
                    <a:pt x="746" y="7025"/>
                  </a:cubicBezTo>
                  <a:cubicBezTo>
                    <a:pt x="710" y="7079"/>
                    <a:pt x="710" y="7079"/>
                    <a:pt x="710" y="7079"/>
                  </a:cubicBezTo>
                  <a:cubicBezTo>
                    <a:pt x="776" y="7136"/>
                    <a:pt x="776" y="7136"/>
                    <a:pt x="776" y="7136"/>
                  </a:cubicBezTo>
                  <a:cubicBezTo>
                    <a:pt x="749" y="7227"/>
                    <a:pt x="749" y="7227"/>
                    <a:pt x="749" y="7227"/>
                  </a:cubicBezTo>
                  <a:cubicBezTo>
                    <a:pt x="907" y="7341"/>
                    <a:pt x="907" y="7341"/>
                    <a:pt x="907" y="7341"/>
                  </a:cubicBezTo>
                  <a:cubicBezTo>
                    <a:pt x="915" y="7347"/>
                    <a:pt x="915" y="7347"/>
                    <a:pt x="915" y="7347"/>
                  </a:cubicBezTo>
                  <a:cubicBezTo>
                    <a:pt x="1020" y="7055"/>
                    <a:pt x="1020" y="7055"/>
                    <a:pt x="1020" y="7055"/>
                  </a:cubicBezTo>
                  <a:lnTo>
                    <a:pt x="891" y="6841"/>
                  </a:lnTo>
                  <a:close/>
                  <a:moveTo>
                    <a:pt x="908" y="7324"/>
                  </a:moveTo>
                  <a:cubicBezTo>
                    <a:pt x="766" y="7222"/>
                    <a:pt x="766" y="7222"/>
                    <a:pt x="766" y="7222"/>
                  </a:cubicBezTo>
                  <a:cubicBezTo>
                    <a:pt x="793" y="7131"/>
                    <a:pt x="793" y="7131"/>
                    <a:pt x="793" y="7131"/>
                  </a:cubicBezTo>
                  <a:cubicBezTo>
                    <a:pt x="730" y="7077"/>
                    <a:pt x="730" y="7077"/>
                    <a:pt x="730" y="7077"/>
                  </a:cubicBezTo>
                  <a:cubicBezTo>
                    <a:pt x="766" y="7021"/>
                    <a:pt x="766" y="7021"/>
                    <a:pt x="766" y="7021"/>
                  </a:cubicBezTo>
                  <a:cubicBezTo>
                    <a:pt x="550" y="6864"/>
                    <a:pt x="550" y="6864"/>
                    <a:pt x="550" y="6864"/>
                  </a:cubicBezTo>
                  <a:cubicBezTo>
                    <a:pt x="604" y="6787"/>
                    <a:pt x="604" y="6787"/>
                    <a:pt x="604" y="6787"/>
                  </a:cubicBezTo>
                  <a:cubicBezTo>
                    <a:pt x="716" y="6879"/>
                    <a:pt x="716" y="6879"/>
                    <a:pt x="716" y="6879"/>
                  </a:cubicBezTo>
                  <a:cubicBezTo>
                    <a:pt x="758" y="6809"/>
                    <a:pt x="758" y="6809"/>
                    <a:pt x="758" y="6809"/>
                  </a:cubicBezTo>
                  <a:cubicBezTo>
                    <a:pt x="860" y="6880"/>
                    <a:pt x="860" y="6880"/>
                    <a:pt x="860" y="6880"/>
                  </a:cubicBezTo>
                  <a:cubicBezTo>
                    <a:pt x="886" y="6862"/>
                    <a:pt x="886" y="6862"/>
                    <a:pt x="886" y="6862"/>
                  </a:cubicBezTo>
                  <a:cubicBezTo>
                    <a:pt x="1004" y="7057"/>
                    <a:pt x="1004" y="7057"/>
                    <a:pt x="1004" y="7057"/>
                  </a:cubicBezTo>
                  <a:lnTo>
                    <a:pt x="908" y="7324"/>
                  </a:lnTo>
                  <a:close/>
                  <a:moveTo>
                    <a:pt x="140" y="6691"/>
                  </a:moveTo>
                  <a:cubicBezTo>
                    <a:pt x="140" y="6569"/>
                    <a:pt x="140" y="6569"/>
                    <a:pt x="140" y="6569"/>
                  </a:cubicBezTo>
                  <a:cubicBezTo>
                    <a:pt x="229" y="6677"/>
                    <a:pt x="229" y="6677"/>
                    <a:pt x="229" y="6677"/>
                  </a:cubicBezTo>
                  <a:cubicBezTo>
                    <a:pt x="314" y="6613"/>
                    <a:pt x="314" y="6613"/>
                    <a:pt x="314" y="6613"/>
                  </a:cubicBezTo>
                  <a:cubicBezTo>
                    <a:pt x="288" y="6515"/>
                    <a:pt x="288" y="6515"/>
                    <a:pt x="288" y="6515"/>
                  </a:cubicBezTo>
                  <a:cubicBezTo>
                    <a:pt x="412" y="6593"/>
                    <a:pt x="412" y="6593"/>
                    <a:pt x="412" y="6593"/>
                  </a:cubicBezTo>
                  <a:cubicBezTo>
                    <a:pt x="534" y="6541"/>
                    <a:pt x="534" y="6541"/>
                    <a:pt x="534" y="6541"/>
                  </a:cubicBezTo>
                  <a:cubicBezTo>
                    <a:pt x="536" y="6528"/>
                    <a:pt x="536" y="6528"/>
                    <a:pt x="536" y="6528"/>
                  </a:cubicBezTo>
                  <a:cubicBezTo>
                    <a:pt x="536" y="6528"/>
                    <a:pt x="399" y="6429"/>
                    <a:pt x="318" y="6389"/>
                  </a:cubicBezTo>
                  <a:cubicBezTo>
                    <a:pt x="239" y="6349"/>
                    <a:pt x="206" y="6331"/>
                    <a:pt x="206" y="6331"/>
                  </a:cubicBezTo>
                  <a:cubicBezTo>
                    <a:pt x="198" y="6327"/>
                    <a:pt x="198" y="6327"/>
                    <a:pt x="198" y="6327"/>
                  </a:cubicBezTo>
                  <a:cubicBezTo>
                    <a:pt x="196" y="6335"/>
                    <a:pt x="196" y="6335"/>
                    <a:pt x="196" y="6335"/>
                  </a:cubicBezTo>
                  <a:cubicBezTo>
                    <a:pt x="195" y="6335"/>
                    <a:pt x="189" y="6354"/>
                    <a:pt x="175" y="6378"/>
                  </a:cubicBezTo>
                  <a:cubicBezTo>
                    <a:pt x="162" y="6402"/>
                    <a:pt x="143" y="6432"/>
                    <a:pt x="118" y="6452"/>
                  </a:cubicBezTo>
                  <a:cubicBezTo>
                    <a:pt x="76" y="6486"/>
                    <a:pt x="23" y="6515"/>
                    <a:pt x="4" y="6525"/>
                  </a:cubicBezTo>
                  <a:cubicBezTo>
                    <a:pt x="4" y="6604"/>
                    <a:pt x="4" y="6604"/>
                    <a:pt x="4" y="6604"/>
                  </a:cubicBezTo>
                  <a:cubicBezTo>
                    <a:pt x="21" y="6699"/>
                    <a:pt x="21" y="6699"/>
                    <a:pt x="21" y="6699"/>
                  </a:cubicBezTo>
                  <a:lnTo>
                    <a:pt x="140" y="6691"/>
                  </a:lnTo>
                  <a:close/>
                  <a:moveTo>
                    <a:pt x="127" y="6463"/>
                  </a:moveTo>
                  <a:cubicBezTo>
                    <a:pt x="171" y="6427"/>
                    <a:pt x="198" y="6369"/>
                    <a:pt x="206" y="6348"/>
                  </a:cubicBezTo>
                  <a:cubicBezTo>
                    <a:pt x="220" y="6355"/>
                    <a:pt x="253" y="6373"/>
                    <a:pt x="312" y="6402"/>
                  </a:cubicBezTo>
                  <a:cubicBezTo>
                    <a:pt x="377" y="6434"/>
                    <a:pt x="483" y="6508"/>
                    <a:pt x="516" y="6532"/>
                  </a:cubicBezTo>
                  <a:cubicBezTo>
                    <a:pt x="413" y="6577"/>
                    <a:pt x="413" y="6577"/>
                    <a:pt x="413" y="6577"/>
                  </a:cubicBezTo>
                  <a:cubicBezTo>
                    <a:pt x="280" y="6493"/>
                    <a:pt x="280" y="6493"/>
                    <a:pt x="280" y="6493"/>
                  </a:cubicBezTo>
                  <a:cubicBezTo>
                    <a:pt x="269" y="6501"/>
                    <a:pt x="269" y="6501"/>
                    <a:pt x="269" y="6501"/>
                  </a:cubicBezTo>
                  <a:cubicBezTo>
                    <a:pt x="297" y="6607"/>
                    <a:pt x="297" y="6607"/>
                    <a:pt x="297" y="6607"/>
                  </a:cubicBezTo>
                  <a:cubicBezTo>
                    <a:pt x="232" y="6656"/>
                    <a:pt x="232" y="6656"/>
                    <a:pt x="232" y="6656"/>
                  </a:cubicBezTo>
                  <a:cubicBezTo>
                    <a:pt x="139" y="6544"/>
                    <a:pt x="139" y="6544"/>
                    <a:pt x="139" y="6544"/>
                  </a:cubicBezTo>
                  <a:cubicBezTo>
                    <a:pt x="125" y="6549"/>
                    <a:pt x="125" y="6549"/>
                    <a:pt x="125" y="6549"/>
                  </a:cubicBezTo>
                  <a:cubicBezTo>
                    <a:pt x="125" y="6677"/>
                    <a:pt x="125" y="6677"/>
                    <a:pt x="125" y="6677"/>
                  </a:cubicBezTo>
                  <a:cubicBezTo>
                    <a:pt x="33" y="6684"/>
                    <a:pt x="33" y="6684"/>
                    <a:pt x="33" y="6684"/>
                  </a:cubicBezTo>
                  <a:cubicBezTo>
                    <a:pt x="8" y="6540"/>
                    <a:pt x="8" y="6540"/>
                    <a:pt x="8" y="6540"/>
                  </a:cubicBezTo>
                  <a:cubicBezTo>
                    <a:pt x="25" y="6531"/>
                    <a:pt x="82" y="6500"/>
                    <a:pt x="127" y="6463"/>
                  </a:cubicBezTo>
                  <a:close/>
                  <a:moveTo>
                    <a:pt x="1097" y="6711"/>
                  </a:moveTo>
                  <a:cubicBezTo>
                    <a:pt x="1106" y="6728"/>
                    <a:pt x="1109" y="6740"/>
                    <a:pt x="1109" y="6748"/>
                  </a:cubicBezTo>
                  <a:cubicBezTo>
                    <a:pt x="1109" y="6762"/>
                    <a:pt x="1101" y="6763"/>
                    <a:pt x="1088" y="6764"/>
                  </a:cubicBezTo>
                  <a:cubicBezTo>
                    <a:pt x="1078" y="6764"/>
                    <a:pt x="1069" y="6762"/>
                    <a:pt x="1069" y="6762"/>
                  </a:cubicBezTo>
                  <a:cubicBezTo>
                    <a:pt x="1054" y="6757"/>
                    <a:pt x="1054" y="6757"/>
                    <a:pt x="1054" y="6757"/>
                  </a:cubicBezTo>
                  <a:cubicBezTo>
                    <a:pt x="1089" y="6832"/>
                    <a:pt x="1089" y="6832"/>
                    <a:pt x="1089" y="6832"/>
                  </a:cubicBezTo>
                  <a:cubicBezTo>
                    <a:pt x="1091" y="6833"/>
                    <a:pt x="1091" y="6833"/>
                    <a:pt x="1091" y="6833"/>
                  </a:cubicBezTo>
                  <a:cubicBezTo>
                    <a:pt x="1092" y="6833"/>
                    <a:pt x="1135" y="6852"/>
                    <a:pt x="1173" y="6852"/>
                  </a:cubicBezTo>
                  <a:cubicBezTo>
                    <a:pt x="1187" y="6852"/>
                    <a:pt x="1200" y="6850"/>
                    <a:pt x="1211" y="6842"/>
                  </a:cubicBezTo>
                  <a:cubicBezTo>
                    <a:pt x="1226" y="6830"/>
                    <a:pt x="1229" y="6809"/>
                    <a:pt x="1229" y="6789"/>
                  </a:cubicBezTo>
                  <a:cubicBezTo>
                    <a:pt x="1229" y="6767"/>
                    <a:pt x="1225" y="6745"/>
                    <a:pt x="1222" y="6730"/>
                  </a:cubicBezTo>
                  <a:cubicBezTo>
                    <a:pt x="1268" y="6761"/>
                    <a:pt x="1268" y="6761"/>
                    <a:pt x="1268" y="6761"/>
                  </a:cubicBezTo>
                  <a:cubicBezTo>
                    <a:pt x="1337" y="6708"/>
                    <a:pt x="1337" y="6708"/>
                    <a:pt x="1337" y="6708"/>
                  </a:cubicBezTo>
                  <a:cubicBezTo>
                    <a:pt x="1346" y="6701"/>
                    <a:pt x="1346" y="6701"/>
                    <a:pt x="1346" y="6701"/>
                  </a:cubicBezTo>
                  <a:cubicBezTo>
                    <a:pt x="986" y="6494"/>
                    <a:pt x="986" y="6494"/>
                    <a:pt x="986" y="6494"/>
                  </a:cubicBezTo>
                  <a:cubicBezTo>
                    <a:pt x="952" y="6546"/>
                    <a:pt x="952" y="6546"/>
                    <a:pt x="952" y="6546"/>
                  </a:cubicBezTo>
                  <a:cubicBezTo>
                    <a:pt x="957" y="6550"/>
                    <a:pt x="957" y="6550"/>
                    <a:pt x="957" y="6550"/>
                  </a:cubicBezTo>
                  <a:cubicBezTo>
                    <a:pt x="957" y="6550"/>
                    <a:pt x="1054" y="6629"/>
                    <a:pt x="1097" y="6711"/>
                  </a:cubicBezTo>
                  <a:close/>
                  <a:moveTo>
                    <a:pt x="991" y="6514"/>
                  </a:moveTo>
                  <a:cubicBezTo>
                    <a:pt x="1319" y="6703"/>
                    <a:pt x="1319" y="6703"/>
                    <a:pt x="1319" y="6703"/>
                  </a:cubicBezTo>
                  <a:cubicBezTo>
                    <a:pt x="1268" y="6743"/>
                    <a:pt x="1268" y="6743"/>
                    <a:pt x="1268" y="6743"/>
                  </a:cubicBezTo>
                  <a:cubicBezTo>
                    <a:pt x="1197" y="6695"/>
                    <a:pt x="1197" y="6695"/>
                    <a:pt x="1197" y="6695"/>
                  </a:cubicBezTo>
                  <a:cubicBezTo>
                    <a:pt x="1203" y="6715"/>
                    <a:pt x="1203" y="6715"/>
                    <a:pt x="1203" y="6715"/>
                  </a:cubicBezTo>
                  <a:cubicBezTo>
                    <a:pt x="1203" y="6715"/>
                    <a:pt x="1215" y="6754"/>
                    <a:pt x="1215" y="6789"/>
                  </a:cubicBezTo>
                  <a:cubicBezTo>
                    <a:pt x="1215" y="6808"/>
                    <a:pt x="1210" y="6824"/>
                    <a:pt x="1202" y="6830"/>
                  </a:cubicBezTo>
                  <a:cubicBezTo>
                    <a:pt x="1195" y="6835"/>
                    <a:pt x="1185" y="6837"/>
                    <a:pt x="1173" y="6837"/>
                  </a:cubicBezTo>
                  <a:cubicBezTo>
                    <a:pt x="1145" y="6837"/>
                    <a:pt x="1109" y="6824"/>
                    <a:pt x="1100" y="6820"/>
                  </a:cubicBezTo>
                  <a:cubicBezTo>
                    <a:pt x="1080" y="6778"/>
                    <a:pt x="1080" y="6778"/>
                    <a:pt x="1080" y="6778"/>
                  </a:cubicBezTo>
                  <a:cubicBezTo>
                    <a:pt x="1082" y="6779"/>
                    <a:pt x="1085" y="6779"/>
                    <a:pt x="1088" y="6779"/>
                  </a:cubicBezTo>
                  <a:cubicBezTo>
                    <a:pt x="1095" y="6779"/>
                    <a:pt x="1104" y="6778"/>
                    <a:pt x="1111" y="6773"/>
                  </a:cubicBezTo>
                  <a:cubicBezTo>
                    <a:pt x="1119" y="6769"/>
                    <a:pt x="1124" y="6759"/>
                    <a:pt x="1124" y="6748"/>
                  </a:cubicBezTo>
                  <a:cubicBezTo>
                    <a:pt x="1124" y="6736"/>
                    <a:pt x="1119" y="6722"/>
                    <a:pt x="1110" y="6704"/>
                  </a:cubicBezTo>
                  <a:cubicBezTo>
                    <a:pt x="1071" y="6629"/>
                    <a:pt x="992" y="6560"/>
                    <a:pt x="972" y="6543"/>
                  </a:cubicBezTo>
                  <a:lnTo>
                    <a:pt x="991" y="6514"/>
                  </a:lnTo>
                  <a:close/>
                  <a:moveTo>
                    <a:pt x="766" y="6374"/>
                  </a:moveTo>
                  <a:cubicBezTo>
                    <a:pt x="772" y="6367"/>
                    <a:pt x="772" y="6367"/>
                    <a:pt x="772" y="6367"/>
                  </a:cubicBezTo>
                  <a:cubicBezTo>
                    <a:pt x="470" y="6197"/>
                    <a:pt x="470" y="6197"/>
                    <a:pt x="470" y="6197"/>
                  </a:cubicBezTo>
                  <a:cubicBezTo>
                    <a:pt x="444" y="6231"/>
                    <a:pt x="444" y="6231"/>
                    <a:pt x="444" y="6231"/>
                  </a:cubicBezTo>
                  <a:cubicBezTo>
                    <a:pt x="450" y="6236"/>
                    <a:pt x="450" y="6236"/>
                    <a:pt x="450" y="6236"/>
                  </a:cubicBezTo>
                  <a:cubicBezTo>
                    <a:pt x="468" y="6248"/>
                    <a:pt x="519" y="6281"/>
                    <a:pt x="568" y="6317"/>
                  </a:cubicBezTo>
                  <a:cubicBezTo>
                    <a:pt x="617" y="6354"/>
                    <a:pt x="664" y="6395"/>
                    <a:pt x="673" y="6420"/>
                  </a:cubicBezTo>
                  <a:cubicBezTo>
                    <a:pt x="676" y="6428"/>
                    <a:pt x="684" y="6434"/>
                    <a:pt x="691" y="6434"/>
                  </a:cubicBezTo>
                  <a:cubicBezTo>
                    <a:pt x="691" y="6434"/>
                    <a:pt x="692" y="6434"/>
                    <a:pt x="692" y="6434"/>
                  </a:cubicBezTo>
                  <a:cubicBezTo>
                    <a:pt x="709" y="6433"/>
                    <a:pt x="725" y="6417"/>
                    <a:pt x="740" y="6403"/>
                  </a:cubicBezTo>
                  <a:cubicBezTo>
                    <a:pt x="755" y="6388"/>
                    <a:pt x="766" y="6374"/>
                    <a:pt x="766" y="6374"/>
                  </a:cubicBezTo>
                  <a:close/>
                  <a:moveTo>
                    <a:pt x="692" y="6419"/>
                  </a:moveTo>
                  <a:cubicBezTo>
                    <a:pt x="689" y="6418"/>
                    <a:pt x="689" y="6419"/>
                    <a:pt x="687" y="6415"/>
                  </a:cubicBezTo>
                  <a:cubicBezTo>
                    <a:pt x="674" y="6383"/>
                    <a:pt x="626" y="6343"/>
                    <a:pt x="577" y="6306"/>
                  </a:cubicBezTo>
                  <a:cubicBezTo>
                    <a:pt x="532" y="6272"/>
                    <a:pt x="486" y="6242"/>
                    <a:pt x="465" y="6228"/>
                  </a:cubicBezTo>
                  <a:cubicBezTo>
                    <a:pt x="474" y="6216"/>
                    <a:pt x="474" y="6216"/>
                    <a:pt x="474" y="6216"/>
                  </a:cubicBezTo>
                  <a:cubicBezTo>
                    <a:pt x="749" y="6371"/>
                    <a:pt x="749" y="6371"/>
                    <a:pt x="749" y="6371"/>
                  </a:cubicBezTo>
                  <a:cubicBezTo>
                    <a:pt x="745" y="6377"/>
                    <a:pt x="738" y="6385"/>
                    <a:pt x="730" y="6393"/>
                  </a:cubicBezTo>
                  <a:cubicBezTo>
                    <a:pt x="717" y="6407"/>
                    <a:pt x="698" y="6420"/>
                    <a:pt x="692" y="6419"/>
                  </a:cubicBezTo>
                  <a:close/>
                  <a:moveTo>
                    <a:pt x="1474" y="7012"/>
                  </a:moveTo>
                  <a:cubicBezTo>
                    <a:pt x="1521" y="6927"/>
                    <a:pt x="1521" y="6927"/>
                    <a:pt x="1521" y="6927"/>
                  </a:cubicBezTo>
                  <a:cubicBezTo>
                    <a:pt x="1599" y="7013"/>
                    <a:pt x="1599" y="7013"/>
                    <a:pt x="1599" y="7013"/>
                  </a:cubicBezTo>
                  <a:cubicBezTo>
                    <a:pt x="1700" y="7065"/>
                    <a:pt x="1700" y="7065"/>
                    <a:pt x="1700" y="7065"/>
                  </a:cubicBezTo>
                  <a:cubicBezTo>
                    <a:pt x="1809" y="6985"/>
                    <a:pt x="1809" y="6985"/>
                    <a:pt x="1809" y="6985"/>
                  </a:cubicBezTo>
                  <a:cubicBezTo>
                    <a:pt x="1818" y="6978"/>
                    <a:pt x="1818" y="6978"/>
                    <a:pt x="1818" y="6978"/>
                  </a:cubicBezTo>
                  <a:cubicBezTo>
                    <a:pt x="1455" y="6763"/>
                    <a:pt x="1455" y="6763"/>
                    <a:pt x="1455" y="6763"/>
                  </a:cubicBezTo>
                  <a:cubicBezTo>
                    <a:pt x="1373" y="6940"/>
                    <a:pt x="1373" y="6940"/>
                    <a:pt x="1373" y="6940"/>
                  </a:cubicBezTo>
                  <a:cubicBezTo>
                    <a:pt x="1424" y="7046"/>
                    <a:pt x="1424" y="7046"/>
                    <a:pt x="1424" y="7046"/>
                  </a:cubicBezTo>
                  <a:lnTo>
                    <a:pt x="1474" y="7012"/>
                  </a:lnTo>
                  <a:close/>
                  <a:moveTo>
                    <a:pt x="1461" y="6784"/>
                  </a:moveTo>
                  <a:cubicBezTo>
                    <a:pt x="1791" y="6980"/>
                    <a:pt x="1791" y="6980"/>
                    <a:pt x="1791" y="6980"/>
                  </a:cubicBezTo>
                  <a:cubicBezTo>
                    <a:pt x="1699" y="7048"/>
                    <a:pt x="1699" y="7048"/>
                    <a:pt x="1699" y="7048"/>
                  </a:cubicBezTo>
                  <a:cubicBezTo>
                    <a:pt x="1608" y="7001"/>
                    <a:pt x="1608" y="7001"/>
                    <a:pt x="1608" y="7001"/>
                  </a:cubicBezTo>
                  <a:cubicBezTo>
                    <a:pt x="1518" y="6902"/>
                    <a:pt x="1518" y="6902"/>
                    <a:pt x="1518" y="6902"/>
                  </a:cubicBezTo>
                  <a:cubicBezTo>
                    <a:pt x="1462" y="7001"/>
                    <a:pt x="1462" y="7001"/>
                    <a:pt x="1462" y="7001"/>
                  </a:cubicBezTo>
                  <a:cubicBezTo>
                    <a:pt x="1430" y="7024"/>
                    <a:pt x="1430" y="7024"/>
                    <a:pt x="1430" y="7024"/>
                  </a:cubicBezTo>
                  <a:cubicBezTo>
                    <a:pt x="1389" y="6940"/>
                    <a:pt x="1389" y="6940"/>
                    <a:pt x="1389" y="6940"/>
                  </a:cubicBezTo>
                  <a:lnTo>
                    <a:pt x="1461" y="6784"/>
                  </a:lnTo>
                  <a:close/>
                  <a:moveTo>
                    <a:pt x="1927" y="7420"/>
                  </a:moveTo>
                  <a:cubicBezTo>
                    <a:pt x="1920" y="7382"/>
                    <a:pt x="1920" y="7382"/>
                    <a:pt x="1920" y="7382"/>
                  </a:cubicBezTo>
                  <a:cubicBezTo>
                    <a:pt x="1967" y="7313"/>
                    <a:pt x="1967" y="7313"/>
                    <a:pt x="1967" y="7313"/>
                  </a:cubicBezTo>
                  <a:cubicBezTo>
                    <a:pt x="2007" y="7339"/>
                    <a:pt x="2007" y="7339"/>
                    <a:pt x="2007" y="7339"/>
                  </a:cubicBezTo>
                  <a:cubicBezTo>
                    <a:pt x="2168" y="7195"/>
                    <a:pt x="2168" y="7195"/>
                    <a:pt x="2168" y="7195"/>
                  </a:cubicBezTo>
                  <a:cubicBezTo>
                    <a:pt x="2174" y="7189"/>
                    <a:pt x="2174" y="7189"/>
                    <a:pt x="2174" y="7189"/>
                  </a:cubicBezTo>
                  <a:cubicBezTo>
                    <a:pt x="2051" y="7095"/>
                    <a:pt x="2051" y="7095"/>
                    <a:pt x="2051" y="7095"/>
                  </a:cubicBezTo>
                  <a:cubicBezTo>
                    <a:pt x="1861" y="7325"/>
                    <a:pt x="1861" y="7325"/>
                    <a:pt x="1861" y="7325"/>
                  </a:cubicBezTo>
                  <a:cubicBezTo>
                    <a:pt x="1823" y="7304"/>
                    <a:pt x="1823" y="7304"/>
                    <a:pt x="1823" y="7304"/>
                  </a:cubicBezTo>
                  <a:cubicBezTo>
                    <a:pt x="1810" y="7422"/>
                    <a:pt x="1810" y="7422"/>
                    <a:pt x="1810" y="7422"/>
                  </a:cubicBezTo>
                  <a:cubicBezTo>
                    <a:pt x="1873" y="7493"/>
                    <a:pt x="1873" y="7493"/>
                    <a:pt x="1873" y="7493"/>
                  </a:cubicBezTo>
                  <a:lnTo>
                    <a:pt x="1927" y="7420"/>
                  </a:lnTo>
                  <a:close/>
                  <a:moveTo>
                    <a:pt x="1826" y="7417"/>
                  </a:moveTo>
                  <a:cubicBezTo>
                    <a:pt x="1835" y="7327"/>
                    <a:pt x="1835" y="7327"/>
                    <a:pt x="1835" y="7327"/>
                  </a:cubicBezTo>
                  <a:cubicBezTo>
                    <a:pt x="1865" y="7343"/>
                    <a:pt x="1865" y="7343"/>
                    <a:pt x="1865" y="7343"/>
                  </a:cubicBezTo>
                  <a:cubicBezTo>
                    <a:pt x="2054" y="7115"/>
                    <a:pt x="2054" y="7115"/>
                    <a:pt x="2054" y="7115"/>
                  </a:cubicBezTo>
                  <a:cubicBezTo>
                    <a:pt x="2151" y="7190"/>
                    <a:pt x="2151" y="7190"/>
                    <a:pt x="2151" y="7190"/>
                  </a:cubicBezTo>
                  <a:cubicBezTo>
                    <a:pt x="2005" y="7320"/>
                    <a:pt x="2005" y="7320"/>
                    <a:pt x="2005" y="7320"/>
                  </a:cubicBezTo>
                  <a:cubicBezTo>
                    <a:pt x="1963" y="7293"/>
                    <a:pt x="1963" y="7293"/>
                    <a:pt x="1963" y="7293"/>
                  </a:cubicBezTo>
                  <a:cubicBezTo>
                    <a:pt x="1905" y="7378"/>
                    <a:pt x="1905" y="7378"/>
                    <a:pt x="1905" y="7378"/>
                  </a:cubicBezTo>
                  <a:cubicBezTo>
                    <a:pt x="1911" y="7416"/>
                    <a:pt x="1911" y="7416"/>
                    <a:pt x="1911" y="7416"/>
                  </a:cubicBezTo>
                  <a:cubicBezTo>
                    <a:pt x="1872" y="7470"/>
                    <a:pt x="1872" y="7470"/>
                    <a:pt x="1872" y="7470"/>
                  </a:cubicBezTo>
                  <a:lnTo>
                    <a:pt x="1826" y="7417"/>
                  </a:lnTo>
                  <a:close/>
                  <a:moveTo>
                    <a:pt x="2117" y="7651"/>
                  </a:moveTo>
                  <a:cubicBezTo>
                    <a:pt x="2089" y="7601"/>
                    <a:pt x="2089" y="7601"/>
                    <a:pt x="2089" y="7601"/>
                  </a:cubicBezTo>
                  <a:cubicBezTo>
                    <a:pt x="2143" y="7538"/>
                    <a:pt x="2143" y="7538"/>
                    <a:pt x="2143" y="7538"/>
                  </a:cubicBezTo>
                  <a:cubicBezTo>
                    <a:pt x="2192" y="7561"/>
                    <a:pt x="2192" y="7561"/>
                    <a:pt x="2192" y="7561"/>
                  </a:cubicBezTo>
                  <a:cubicBezTo>
                    <a:pt x="2340" y="7329"/>
                    <a:pt x="2340" y="7329"/>
                    <a:pt x="2340" y="7329"/>
                  </a:cubicBezTo>
                  <a:cubicBezTo>
                    <a:pt x="2344" y="7323"/>
                    <a:pt x="2344" y="7323"/>
                    <a:pt x="2344" y="7323"/>
                  </a:cubicBezTo>
                  <a:cubicBezTo>
                    <a:pt x="2229" y="7250"/>
                    <a:pt x="2229" y="7250"/>
                    <a:pt x="2229" y="7250"/>
                  </a:cubicBezTo>
                  <a:cubicBezTo>
                    <a:pt x="2055" y="7455"/>
                    <a:pt x="2055" y="7455"/>
                    <a:pt x="2055" y="7455"/>
                  </a:cubicBezTo>
                  <a:cubicBezTo>
                    <a:pt x="2083" y="7496"/>
                    <a:pt x="2083" y="7496"/>
                    <a:pt x="2083" y="7496"/>
                  </a:cubicBezTo>
                  <a:cubicBezTo>
                    <a:pt x="2004" y="7567"/>
                    <a:pt x="2004" y="7567"/>
                    <a:pt x="2004" y="7567"/>
                  </a:cubicBezTo>
                  <a:cubicBezTo>
                    <a:pt x="1965" y="7538"/>
                    <a:pt x="1965" y="7538"/>
                    <a:pt x="1965" y="7538"/>
                  </a:cubicBezTo>
                  <a:cubicBezTo>
                    <a:pt x="1911" y="7577"/>
                    <a:pt x="1911" y="7577"/>
                    <a:pt x="1911" y="7577"/>
                  </a:cubicBezTo>
                  <a:cubicBezTo>
                    <a:pt x="1891" y="7743"/>
                    <a:pt x="1891" y="7743"/>
                    <a:pt x="1891" y="7743"/>
                  </a:cubicBezTo>
                  <a:cubicBezTo>
                    <a:pt x="1959" y="7772"/>
                    <a:pt x="1959" y="7772"/>
                    <a:pt x="1959" y="7772"/>
                  </a:cubicBezTo>
                  <a:lnTo>
                    <a:pt x="2117" y="7651"/>
                  </a:lnTo>
                  <a:close/>
                  <a:moveTo>
                    <a:pt x="1907" y="7734"/>
                  </a:moveTo>
                  <a:cubicBezTo>
                    <a:pt x="1925" y="7585"/>
                    <a:pt x="1925" y="7585"/>
                    <a:pt x="1925" y="7585"/>
                  </a:cubicBezTo>
                  <a:cubicBezTo>
                    <a:pt x="1965" y="7556"/>
                    <a:pt x="1965" y="7556"/>
                    <a:pt x="1965" y="7556"/>
                  </a:cubicBezTo>
                  <a:cubicBezTo>
                    <a:pt x="2004" y="7586"/>
                    <a:pt x="2004" y="7586"/>
                    <a:pt x="2004" y="7586"/>
                  </a:cubicBezTo>
                  <a:cubicBezTo>
                    <a:pt x="2102" y="7498"/>
                    <a:pt x="2102" y="7498"/>
                    <a:pt x="2102" y="7498"/>
                  </a:cubicBezTo>
                  <a:cubicBezTo>
                    <a:pt x="2073" y="7456"/>
                    <a:pt x="2073" y="7456"/>
                    <a:pt x="2073" y="7456"/>
                  </a:cubicBezTo>
                  <a:cubicBezTo>
                    <a:pt x="2232" y="7270"/>
                    <a:pt x="2232" y="7270"/>
                    <a:pt x="2232" y="7270"/>
                  </a:cubicBezTo>
                  <a:cubicBezTo>
                    <a:pt x="2323" y="7327"/>
                    <a:pt x="2323" y="7327"/>
                    <a:pt x="2323" y="7327"/>
                  </a:cubicBezTo>
                  <a:cubicBezTo>
                    <a:pt x="2187" y="7542"/>
                    <a:pt x="2187" y="7542"/>
                    <a:pt x="2187" y="7542"/>
                  </a:cubicBezTo>
                  <a:cubicBezTo>
                    <a:pt x="2139" y="7520"/>
                    <a:pt x="2139" y="7520"/>
                    <a:pt x="2139" y="7520"/>
                  </a:cubicBezTo>
                  <a:cubicBezTo>
                    <a:pt x="2071" y="7599"/>
                    <a:pt x="2071" y="7599"/>
                    <a:pt x="2071" y="7599"/>
                  </a:cubicBezTo>
                  <a:cubicBezTo>
                    <a:pt x="2098" y="7647"/>
                    <a:pt x="2098" y="7647"/>
                    <a:pt x="2098" y="7647"/>
                  </a:cubicBezTo>
                  <a:cubicBezTo>
                    <a:pt x="1957" y="7755"/>
                    <a:pt x="1957" y="7755"/>
                    <a:pt x="1957" y="7755"/>
                  </a:cubicBezTo>
                  <a:lnTo>
                    <a:pt x="1907" y="7734"/>
                  </a:lnTo>
                  <a:close/>
                  <a:moveTo>
                    <a:pt x="2599" y="7503"/>
                  </a:moveTo>
                  <a:cubicBezTo>
                    <a:pt x="2429" y="7394"/>
                    <a:pt x="2429" y="7394"/>
                    <a:pt x="2429" y="7394"/>
                  </a:cubicBezTo>
                  <a:cubicBezTo>
                    <a:pt x="2356" y="7613"/>
                    <a:pt x="2356" y="7613"/>
                    <a:pt x="2356" y="7613"/>
                  </a:cubicBezTo>
                  <a:cubicBezTo>
                    <a:pt x="2383" y="7642"/>
                    <a:pt x="2383" y="7642"/>
                    <a:pt x="2383" y="7642"/>
                  </a:cubicBezTo>
                  <a:cubicBezTo>
                    <a:pt x="2323" y="7746"/>
                    <a:pt x="2323" y="7746"/>
                    <a:pt x="2323" y="7746"/>
                  </a:cubicBezTo>
                  <a:cubicBezTo>
                    <a:pt x="2287" y="7749"/>
                    <a:pt x="2287" y="7749"/>
                    <a:pt x="2287" y="7749"/>
                  </a:cubicBezTo>
                  <a:cubicBezTo>
                    <a:pt x="2261" y="7847"/>
                    <a:pt x="2261" y="7847"/>
                    <a:pt x="2261" y="7847"/>
                  </a:cubicBezTo>
                  <a:cubicBezTo>
                    <a:pt x="1993" y="7936"/>
                    <a:pt x="1993" y="7936"/>
                    <a:pt x="1993" y="7936"/>
                  </a:cubicBezTo>
                  <a:cubicBezTo>
                    <a:pt x="1956" y="8015"/>
                    <a:pt x="1956" y="8015"/>
                    <a:pt x="1956" y="8015"/>
                  </a:cubicBezTo>
                  <a:cubicBezTo>
                    <a:pt x="2103" y="8073"/>
                    <a:pt x="2103" y="8073"/>
                    <a:pt x="2103" y="8073"/>
                  </a:cubicBezTo>
                  <a:cubicBezTo>
                    <a:pt x="2158" y="7985"/>
                    <a:pt x="2158" y="7985"/>
                    <a:pt x="2158" y="7985"/>
                  </a:cubicBezTo>
                  <a:cubicBezTo>
                    <a:pt x="2187" y="7998"/>
                    <a:pt x="2187" y="7998"/>
                    <a:pt x="2187" y="7998"/>
                  </a:cubicBezTo>
                  <a:cubicBezTo>
                    <a:pt x="2358" y="7917"/>
                    <a:pt x="2358" y="7917"/>
                    <a:pt x="2358" y="7917"/>
                  </a:cubicBezTo>
                  <a:cubicBezTo>
                    <a:pt x="2382" y="7800"/>
                    <a:pt x="2382" y="7800"/>
                    <a:pt x="2382" y="7800"/>
                  </a:cubicBezTo>
                  <a:cubicBezTo>
                    <a:pt x="2427" y="7797"/>
                    <a:pt x="2427" y="7797"/>
                    <a:pt x="2427" y="7797"/>
                  </a:cubicBezTo>
                  <a:cubicBezTo>
                    <a:pt x="2595" y="7509"/>
                    <a:pt x="2595" y="7509"/>
                    <a:pt x="2595" y="7509"/>
                  </a:cubicBezTo>
                  <a:lnTo>
                    <a:pt x="2599" y="7503"/>
                  </a:lnTo>
                  <a:close/>
                  <a:moveTo>
                    <a:pt x="2418" y="7783"/>
                  </a:moveTo>
                  <a:cubicBezTo>
                    <a:pt x="2369" y="7786"/>
                    <a:pt x="2369" y="7786"/>
                    <a:pt x="2369" y="7786"/>
                  </a:cubicBezTo>
                  <a:cubicBezTo>
                    <a:pt x="2345" y="7907"/>
                    <a:pt x="2345" y="7907"/>
                    <a:pt x="2345" y="7907"/>
                  </a:cubicBezTo>
                  <a:cubicBezTo>
                    <a:pt x="2186" y="7982"/>
                    <a:pt x="2186" y="7982"/>
                    <a:pt x="2186" y="7982"/>
                  </a:cubicBezTo>
                  <a:cubicBezTo>
                    <a:pt x="2152" y="7966"/>
                    <a:pt x="2152" y="7966"/>
                    <a:pt x="2152" y="7966"/>
                  </a:cubicBezTo>
                  <a:cubicBezTo>
                    <a:pt x="2097" y="8055"/>
                    <a:pt x="2097" y="8055"/>
                    <a:pt x="2097" y="8055"/>
                  </a:cubicBezTo>
                  <a:cubicBezTo>
                    <a:pt x="1976" y="8007"/>
                    <a:pt x="1976" y="8007"/>
                    <a:pt x="1976" y="8007"/>
                  </a:cubicBezTo>
                  <a:cubicBezTo>
                    <a:pt x="2004" y="7948"/>
                    <a:pt x="2004" y="7948"/>
                    <a:pt x="2004" y="7948"/>
                  </a:cubicBezTo>
                  <a:cubicBezTo>
                    <a:pt x="2273" y="7859"/>
                    <a:pt x="2273" y="7859"/>
                    <a:pt x="2273" y="7859"/>
                  </a:cubicBezTo>
                  <a:cubicBezTo>
                    <a:pt x="2298" y="7763"/>
                    <a:pt x="2298" y="7763"/>
                    <a:pt x="2298" y="7763"/>
                  </a:cubicBezTo>
                  <a:cubicBezTo>
                    <a:pt x="2332" y="7760"/>
                    <a:pt x="2332" y="7760"/>
                    <a:pt x="2332" y="7760"/>
                  </a:cubicBezTo>
                  <a:cubicBezTo>
                    <a:pt x="2401" y="7639"/>
                    <a:pt x="2401" y="7639"/>
                    <a:pt x="2401" y="7639"/>
                  </a:cubicBezTo>
                  <a:cubicBezTo>
                    <a:pt x="2373" y="7609"/>
                    <a:pt x="2373" y="7609"/>
                    <a:pt x="2373" y="7609"/>
                  </a:cubicBezTo>
                  <a:cubicBezTo>
                    <a:pt x="2437" y="7417"/>
                    <a:pt x="2437" y="7417"/>
                    <a:pt x="2437" y="7417"/>
                  </a:cubicBezTo>
                  <a:cubicBezTo>
                    <a:pt x="2579" y="7508"/>
                    <a:pt x="2579" y="7508"/>
                    <a:pt x="2579" y="7508"/>
                  </a:cubicBezTo>
                  <a:lnTo>
                    <a:pt x="2418" y="7783"/>
                  </a:lnTo>
                  <a:close/>
                  <a:moveTo>
                    <a:pt x="2860" y="7654"/>
                  </a:moveTo>
                  <a:cubicBezTo>
                    <a:pt x="2832" y="7564"/>
                    <a:pt x="2832" y="7564"/>
                    <a:pt x="2832" y="7564"/>
                  </a:cubicBezTo>
                  <a:cubicBezTo>
                    <a:pt x="2831" y="7560"/>
                    <a:pt x="2831" y="7560"/>
                    <a:pt x="2831" y="7560"/>
                  </a:cubicBezTo>
                  <a:cubicBezTo>
                    <a:pt x="2727" y="7538"/>
                    <a:pt x="2727" y="7538"/>
                    <a:pt x="2727" y="7538"/>
                  </a:cubicBezTo>
                  <a:cubicBezTo>
                    <a:pt x="2540" y="7946"/>
                    <a:pt x="2540" y="7946"/>
                    <a:pt x="2540" y="7946"/>
                  </a:cubicBezTo>
                  <a:cubicBezTo>
                    <a:pt x="2606" y="7934"/>
                    <a:pt x="2606" y="7934"/>
                    <a:pt x="2606" y="7934"/>
                  </a:cubicBezTo>
                  <a:lnTo>
                    <a:pt x="2860" y="7654"/>
                  </a:lnTo>
                  <a:close/>
                  <a:moveTo>
                    <a:pt x="2565" y="7926"/>
                  </a:moveTo>
                  <a:cubicBezTo>
                    <a:pt x="2735" y="7555"/>
                    <a:pt x="2735" y="7555"/>
                    <a:pt x="2735" y="7555"/>
                  </a:cubicBezTo>
                  <a:cubicBezTo>
                    <a:pt x="2819" y="7573"/>
                    <a:pt x="2819" y="7573"/>
                    <a:pt x="2819" y="7573"/>
                  </a:cubicBezTo>
                  <a:cubicBezTo>
                    <a:pt x="2844" y="7650"/>
                    <a:pt x="2844" y="7650"/>
                    <a:pt x="2844" y="7650"/>
                  </a:cubicBezTo>
                  <a:cubicBezTo>
                    <a:pt x="2598" y="7920"/>
                    <a:pt x="2598" y="7920"/>
                    <a:pt x="2598" y="7920"/>
                  </a:cubicBezTo>
                  <a:lnTo>
                    <a:pt x="2565" y="7926"/>
                  </a:lnTo>
                  <a:close/>
                  <a:moveTo>
                    <a:pt x="3018" y="7636"/>
                  </a:moveTo>
                  <a:cubicBezTo>
                    <a:pt x="3018" y="7636"/>
                    <a:pt x="3124" y="7635"/>
                    <a:pt x="3176" y="7618"/>
                  </a:cubicBezTo>
                  <a:cubicBezTo>
                    <a:pt x="3217" y="7604"/>
                    <a:pt x="3249" y="7554"/>
                    <a:pt x="3263" y="7529"/>
                  </a:cubicBezTo>
                  <a:cubicBezTo>
                    <a:pt x="3283" y="7584"/>
                    <a:pt x="3283" y="7584"/>
                    <a:pt x="3283" y="7584"/>
                  </a:cubicBezTo>
                  <a:cubicBezTo>
                    <a:pt x="3358" y="7534"/>
                    <a:pt x="3358" y="7534"/>
                    <a:pt x="3358" y="7534"/>
                  </a:cubicBezTo>
                  <a:cubicBezTo>
                    <a:pt x="3364" y="7529"/>
                    <a:pt x="3364" y="7529"/>
                    <a:pt x="3364" y="7529"/>
                  </a:cubicBezTo>
                  <a:cubicBezTo>
                    <a:pt x="3245" y="7375"/>
                    <a:pt x="3245" y="7375"/>
                    <a:pt x="3245" y="7375"/>
                  </a:cubicBezTo>
                  <a:cubicBezTo>
                    <a:pt x="3102" y="7495"/>
                    <a:pt x="3102" y="7495"/>
                    <a:pt x="3102" y="7495"/>
                  </a:cubicBezTo>
                  <a:cubicBezTo>
                    <a:pt x="3053" y="7518"/>
                    <a:pt x="3004" y="7518"/>
                    <a:pt x="3001" y="7518"/>
                  </a:cubicBezTo>
                  <a:cubicBezTo>
                    <a:pt x="3001" y="7518"/>
                    <a:pt x="3001" y="7518"/>
                    <a:pt x="3000" y="7519"/>
                  </a:cubicBezTo>
                  <a:cubicBezTo>
                    <a:pt x="2993" y="7519"/>
                    <a:pt x="2993" y="7519"/>
                    <a:pt x="2993" y="7519"/>
                  </a:cubicBezTo>
                  <a:cubicBezTo>
                    <a:pt x="3011" y="7636"/>
                    <a:pt x="3011" y="7636"/>
                    <a:pt x="3011" y="7636"/>
                  </a:cubicBezTo>
                  <a:lnTo>
                    <a:pt x="3018" y="7636"/>
                  </a:lnTo>
                  <a:close/>
                  <a:moveTo>
                    <a:pt x="3110" y="7508"/>
                  </a:moveTo>
                  <a:cubicBezTo>
                    <a:pt x="3110" y="7507"/>
                    <a:pt x="3110" y="7507"/>
                    <a:pt x="3110" y="7507"/>
                  </a:cubicBezTo>
                  <a:cubicBezTo>
                    <a:pt x="3243" y="7396"/>
                    <a:pt x="3243" y="7396"/>
                    <a:pt x="3243" y="7396"/>
                  </a:cubicBezTo>
                  <a:cubicBezTo>
                    <a:pt x="3343" y="7526"/>
                    <a:pt x="3343" y="7526"/>
                    <a:pt x="3343" y="7526"/>
                  </a:cubicBezTo>
                  <a:cubicBezTo>
                    <a:pt x="3290" y="7561"/>
                    <a:pt x="3290" y="7561"/>
                    <a:pt x="3290" y="7561"/>
                  </a:cubicBezTo>
                  <a:cubicBezTo>
                    <a:pt x="3264" y="7493"/>
                    <a:pt x="3264" y="7493"/>
                    <a:pt x="3264" y="7493"/>
                  </a:cubicBezTo>
                  <a:cubicBezTo>
                    <a:pt x="3257" y="7508"/>
                    <a:pt x="3257" y="7508"/>
                    <a:pt x="3257" y="7508"/>
                  </a:cubicBezTo>
                  <a:cubicBezTo>
                    <a:pt x="3257" y="7508"/>
                    <a:pt x="3247" y="7528"/>
                    <a:pt x="3231" y="7551"/>
                  </a:cubicBezTo>
                  <a:cubicBezTo>
                    <a:pt x="3216" y="7573"/>
                    <a:pt x="3194" y="7597"/>
                    <a:pt x="3171" y="7604"/>
                  </a:cubicBezTo>
                  <a:cubicBezTo>
                    <a:pt x="3131" y="7618"/>
                    <a:pt x="3047" y="7620"/>
                    <a:pt x="3024" y="7621"/>
                  </a:cubicBezTo>
                  <a:cubicBezTo>
                    <a:pt x="3010" y="7533"/>
                    <a:pt x="3010" y="7533"/>
                    <a:pt x="3010" y="7533"/>
                  </a:cubicBezTo>
                  <a:cubicBezTo>
                    <a:pt x="3027" y="7532"/>
                    <a:pt x="3068" y="7528"/>
                    <a:pt x="3110" y="7508"/>
                  </a:cubicBezTo>
                  <a:close/>
                  <a:moveTo>
                    <a:pt x="3503" y="7312"/>
                  </a:moveTo>
                  <a:cubicBezTo>
                    <a:pt x="3503" y="7305"/>
                    <a:pt x="3503" y="7305"/>
                    <a:pt x="3503" y="7305"/>
                  </a:cubicBezTo>
                  <a:cubicBezTo>
                    <a:pt x="3317" y="7329"/>
                    <a:pt x="3317" y="7329"/>
                    <a:pt x="3317" y="7329"/>
                  </a:cubicBezTo>
                  <a:cubicBezTo>
                    <a:pt x="3425" y="7456"/>
                    <a:pt x="3425" y="7456"/>
                    <a:pt x="3425" y="7456"/>
                  </a:cubicBezTo>
                  <a:cubicBezTo>
                    <a:pt x="3510" y="7388"/>
                    <a:pt x="3510" y="7388"/>
                    <a:pt x="3510" y="7388"/>
                  </a:cubicBezTo>
                  <a:lnTo>
                    <a:pt x="3503" y="7312"/>
                  </a:lnTo>
                  <a:close/>
                  <a:moveTo>
                    <a:pt x="3427" y="7435"/>
                  </a:moveTo>
                  <a:cubicBezTo>
                    <a:pt x="3346" y="7340"/>
                    <a:pt x="3346" y="7340"/>
                    <a:pt x="3346" y="7340"/>
                  </a:cubicBezTo>
                  <a:cubicBezTo>
                    <a:pt x="3489" y="7321"/>
                    <a:pt x="3489" y="7321"/>
                    <a:pt x="3489" y="7321"/>
                  </a:cubicBezTo>
                  <a:cubicBezTo>
                    <a:pt x="3494" y="7381"/>
                    <a:pt x="3494" y="7381"/>
                    <a:pt x="3494" y="7381"/>
                  </a:cubicBezTo>
                  <a:lnTo>
                    <a:pt x="3427" y="7435"/>
                  </a:lnTo>
                  <a:close/>
                  <a:moveTo>
                    <a:pt x="4449" y="7078"/>
                  </a:moveTo>
                  <a:cubicBezTo>
                    <a:pt x="4510" y="6771"/>
                    <a:pt x="4510" y="6771"/>
                    <a:pt x="4510" y="6771"/>
                  </a:cubicBezTo>
                  <a:cubicBezTo>
                    <a:pt x="4414" y="6714"/>
                    <a:pt x="4414" y="6714"/>
                    <a:pt x="4414" y="6714"/>
                  </a:cubicBezTo>
                  <a:cubicBezTo>
                    <a:pt x="4343" y="6872"/>
                    <a:pt x="4343" y="6872"/>
                    <a:pt x="4343" y="6872"/>
                  </a:cubicBezTo>
                  <a:cubicBezTo>
                    <a:pt x="4337" y="7065"/>
                    <a:pt x="4337" y="7065"/>
                    <a:pt x="4337" y="7065"/>
                  </a:cubicBezTo>
                  <a:cubicBezTo>
                    <a:pt x="4442" y="7077"/>
                    <a:pt x="4442" y="7077"/>
                    <a:pt x="4442" y="7077"/>
                  </a:cubicBezTo>
                  <a:lnTo>
                    <a:pt x="4449" y="7078"/>
                  </a:lnTo>
                  <a:close/>
                  <a:moveTo>
                    <a:pt x="4352" y="7052"/>
                  </a:moveTo>
                  <a:cubicBezTo>
                    <a:pt x="4357" y="6875"/>
                    <a:pt x="4357" y="6875"/>
                    <a:pt x="4357" y="6875"/>
                  </a:cubicBezTo>
                  <a:cubicBezTo>
                    <a:pt x="4420" y="6735"/>
                    <a:pt x="4420" y="6735"/>
                    <a:pt x="4420" y="6735"/>
                  </a:cubicBezTo>
                  <a:cubicBezTo>
                    <a:pt x="4493" y="6778"/>
                    <a:pt x="4493" y="6778"/>
                    <a:pt x="4493" y="6778"/>
                  </a:cubicBezTo>
                  <a:cubicBezTo>
                    <a:pt x="4437" y="7061"/>
                    <a:pt x="4437" y="7061"/>
                    <a:pt x="4437" y="7061"/>
                  </a:cubicBezTo>
                  <a:lnTo>
                    <a:pt x="4352" y="7052"/>
                  </a:lnTo>
                  <a:close/>
                  <a:moveTo>
                    <a:pt x="3899" y="6375"/>
                  </a:moveTo>
                  <a:cubicBezTo>
                    <a:pt x="3843" y="6511"/>
                    <a:pt x="3843" y="6511"/>
                    <a:pt x="3843" y="6511"/>
                  </a:cubicBezTo>
                  <a:cubicBezTo>
                    <a:pt x="3946" y="6571"/>
                    <a:pt x="3946" y="6571"/>
                    <a:pt x="3946" y="6571"/>
                  </a:cubicBezTo>
                  <a:cubicBezTo>
                    <a:pt x="3967" y="6510"/>
                    <a:pt x="3967" y="6510"/>
                    <a:pt x="3967" y="6510"/>
                  </a:cubicBezTo>
                  <a:cubicBezTo>
                    <a:pt x="4068" y="6482"/>
                    <a:pt x="4068" y="6482"/>
                    <a:pt x="4068" y="6482"/>
                  </a:cubicBezTo>
                  <a:cubicBezTo>
                    <a:pt x="4086" y="6477"/>
                    <a:pt x="4086" y="6477"/>
                    <a:pt x="4086" y="6477"/>
                  </a:cubicBezTo>
                  <a:lnTo>
                    <a:pt x="3899" y="6375"/>
                  </a:lnTo>
                  <a:close/>
                  <a:moveTo>
                    <a:pt x="3955" y="6498"/>
                  </a:moveTo>
                  <a:cubicBezTo>
                    <a:pt x="3938" y="6549"/>
                    <a:pt x="3938" y="6549"/>
                    <a:pt x="3938" y="6549"/>
                  </a:cubicBezTo>
                  <a:cubicBezTo>
                    <a:pt x="3861" y="6505"/>
                    <a:pt x="3861" y="6505"/>
                    <a:pt x="3861" y="6505"/>
                  </a:cubicBezTo>
                  <a:cubicBezTo>
                    <a:pt x="3907" y="6396"/>
                    <a:pt x="3907" y="6396"/>
                    <a:pt x="3907" y="6396"/>
                  </a:cubicBezTo>
                  <a:cubicBezTo>
                    <a:pt x="4047" y="6473"/>
                    <a:pt x="4047" y="6473"/>
                    <a:pt x="4047" y="6473"/>
                  </a:cubicBezTo>
                  <a:lnTo>
                    <a:pt x="3955" y="6498"/>
                  </a:lnTo>
                  <a:close/>
                  <a:moveTo>
                    <a:pt x="3758" y="6814"/>
                  </a:moveTo>
                  <a:cubicBezTo>
                    <a:pt x="3760" y="6844"/>
                    <a:pt x="3760" y="6844"/>
                    <a:pt x="3760" y="6844"/>
                  </a:cubicBezTo>
                  <a:cubicBezTo>
                    <a:pt x="3888" y="6864"/>
                    <a:pt x="3888" y="6864"/>
                    <a:pt x="3888" y="6864"/>
                  </a:cubicBezTo>
                  <a:cubicBezTo>
                    <a:pt x="3994" y="6704"/>
                    <a:pt x="3994" y="6704"/>
                    <a:pt x="3994" y="6704"/>
                  </a:cubicBezTo>
                  <a:cubicBezTo>
                    <a:pt x="3998" y="6698"/>
                    <a:pt x="3998" y="6698"/>
                    <a:pt x="3998" y="6698"/>
                  </a:cubicBezTo>
                  <a:cubicBezTo>
                    <a:pt x="3822" y="6573"/>
                    <a:pt x="3822" y="6573"/>
                    <a:pt x="3822" y="6573"/>
                  </a:cubicBezTo>
                  <a:cubicBezTo>
                    <a:pt x="3683" y="6677"/>
                    <a:pt x="3683" y="6677"/>
                    <a:pt x="3683" y="6677"/>
                  </a:cubicBezTo>
                  <a:cubicBezTo>
                    <a:pt x="3809" y="6721"/>
                    <a:pt x="3809" y="6721"/>
                    <a:pt x="3809" y="6721"/>
                  </a:cubicBezTo>
                  <a:lnTo>
                    <a:pt x="3758" y="6814"/>
                  </a:lnTo>
                  <a:close/>
                  <a:moveTo>
                    <a:pt x="3714" y="6672"/>
                  </a:moveTo>
                  <a:cubicBezTo>
                    <a:pt x="3822" y="6591"/>
                    <a:pt x="3822" y="6591"/>
                    <a:pt x="3822" y="6591"/>
                  </a:cubicBezTo>
                  <a:cubicBezTo>
                    <a:pt x="3978" y="6702"/>
                    <a:pt x="3978" y="6702"/>
                    <a:pt x="3978" y="6702"/>
                  </a:cubicBezTo>
                  <a:cubicBezTo>
                    <a:pt x="3881" y="6848"/>
                    <a:pt x="3881" y="6848"/>
                    <a:pt x="3881" y="6848"/>
                  </a:cubicBezTo>
                  <a:cubicBezTo>
                    <a:pt x="3774" y="6831"/>
                    <a:pt x="3774" y="6831"/>
                    <a:pt x="3774" y="6831"/>
                  </a:cubicBezTo>
                  <a:cubicBezTo>
                    <a:pt x="3773" y="6818"/>
                    <a:pt x="3773" y="6818"/>
                    <a:pt x="3773" y="6818"/>
                  </a:cubicBezTo>
                  <a:cubicBezTo>
                    <a:pt x="3830" y="6713"/>
                    <a:pt x="3830" y="6713"/>
                    <a:pt x="3830" y="6713"/>
                  </a:cubicBezTo>
                  <a:lnTo>
                    <a:pt x="3714" y="6672"/>
                  </a:lnTo>
                  <a:close/>
                  <a:moveTo>
                    <a:pt x="3861" y="6945"/>
                  </a:moveTo>
                  <a:cubicBezTo>
                    <a:pt x="3861" y="6945"/>
                    <a:pt x="3861" y="6945"/>
                    <a:pt x="3861" y="6945"/>
                  </a:cubicBezTo>
                  <a:cubicBezTo>
                    <a:pt x="3854" y="6945"/>
                    <a:pt x="3704" y="6918"/>
                    <a:pt x="3704" y="6918"/>
                  </a:cubicBezTo>
                  <a:cubicBezTo>
                    <a:pt x="3699" y="6917"/>
                    <a:pt x="3699" y="6917"/>
                    <a:pt x="3699" y="6917"/>
                  </a:cubicBezTo>
                  <a:cubicBezTo>
                    <a:pt x="3679" y="6949"/>
                    <a:pt x="3679" y="6949"/>
                    <a:pt x="3679" y="6949"/>
                  </a:cubicBezTo>
                  <a:cubicBezTo>
                    <a:pt x="3553" y="6919"/>
                    <a:pt x="3553" y="6919"/>
                    <a:pt x="3553" y="6919"/>
                  </a:cubicBezTo>
                  <a:cubicBezTo>
                    <a:pt x="3500" y="7075"/>
                    <a:pt x="3500" y="7075"/>
                    <a:pt x="3500" y="7075"/>
                  </a:cubicBezTo>
                  <a:cubicBezTo>
                    <a:pt x="3652" y="7152"/>
                    <a:pt x="3652" y="7152"/>
                    <a:pt x="3652" y="7152"/>
                  </a:cubicBezTo>
                  <a:cubicBezTo>
                    <a:pt x="3696" y="7037"/>
                    <a:pt x="3696" y="7037"/>
                    <a:pt x="3696" y="7037"/>
                  </a:cubicBezTo>
                  <a:cubicBezTo>
                    <a:pt x="3846" y="7064"/>
                    <a:pt x="3846" y="7064"/>
                    <a:pt x="3846" y="7064"/>
                  </a:cubicBezTo>
                  <a:cubicBezTo>
                    <a:pt x="3847" y="7057"/>
                    <a:pt x="3847" y="7057"/>
                    <a:pt x="3847" y="7057"/>
                  </a:cubicBezTo>
                  <a:cubicBezTo>
                    <a:pt x="3847" y="7057"/>
                    <a:pt x="3869" y="6981"/>
                    <a:pt x="3869" y="6957"/>
                  </a:cubicBezTo>
                  <a:cubicBezTo>
                    <a:pt x="3869" y="6955"/>
                    <a:pt x="3869" y="6954"/>
                    <a:pt x="3869" y="6952"/>
                  </a:cubicBezTo>
                  <a:cubicBezTo>
                    <a:pt x="3868" y="6950"/>
                    <a:pt x="3866" y="6946"/>
                    <a:pt x="3861" y="6945"/>
                  </a:cubicBezTo>
                  <a:close/>
                  <a:moveTo>
                    <a:pt x="3835" y="7047"/>
                  </a:moveTo>
                  <a:cubicBezTo>
                    <a:pt x="3687" y="7021"/>
                    <a:pt x="3687" y="7021"/>
                    <a:pt x="3687" y="7021"/>
                  </a:cubicBezTo>
                  <a:cubicBezTo>
                    <a:pt x="3644" y="7131"/>
                    <a:pt x="3644" y="7131"/>
                    <a:pt x="3644" y="7131"/>
                  </a:cubicBezTo>
                  <a:cubicBezTo>
                    <a:pt x="3518" y="7068"/>
                    <a:pt x="3518" y="7068"/>
                    <a:pt x="3518" y="7068"/>
                  </a:cubicBezTo>
                  <a:cubicBezTo>
                    <a:pt x="3563" y="6937"/>
                    <a:pt x="3563" y="6937"/>
                    <a:pt x="3563" y="6937"/>
                  </a:cubicBezTo>
                  <a:cubicBezTo>
                    <a:pt x="3686" y="6966"/>
                    <a:pt x="3686" y="6966"/>
                    <a:pt x="3686" y="6966"/>
                  </a:cubicBezTo>
                  <a:cubicBezTo>
                    <a:pt x="3706" y="6934"/>
                    <a:pt x="3706" y="6934"/>
                    <a:pt x="3706" y="6934"/>
                  </a:cubicBezTo>
                  <a:cubicBezTo>
                    <a:pt x="3729" y="6938"/>
                    <a:pt x="3829" y="6955"/>
                    <a:pt x="3855" y="6959"/>
                  </a:cubicBezTo>
                  <a:cubicBezTo>
                    <a:pt x="3854" y="6976"/>
                    <a:pt x="3840" y="7028"/>
                    <a:pt x="3835" y="7047"/>
                  </a:cubicBezTo>
                  <a:close/>
                  <a:moveTo>
                    <a:pt x="3860" y="6954"/>
                  </a:moveTo>
                  <a:cubicBezTo>
                    <a:pt x="3860" y="6954"/>
                    <a:pt x="3860" y="6954"/>
                    <a:pt x="3860" y="6954"/>
                  </a:cubicBezTo>
                  <a:cubicBezTo>
                    <a:pt x="3860" y="6953"/>
                    <a:pt x="3860" y="6953"/>
                    <a:pt x="3860" y="6953"/>
                  </a:cubicBezTo>
                  <a:lnTo>
                    <a:pt x="3860" y="6954"/>
                  </a:lnTo>
                  <a:close/>
                  <a:moveTo>
                    <a:pt x="3701" y="7240"/>
                  </a:moveTo>
                  <a:cubicBezTo>
                    <a:pt x="3743" y="7257"/>
                    <a:pt x="3743" y="7257"/>
                    <a:pt x="3743" y="7257"/>
                  </a:cubicBezTo>
                  <a:cubicBezTo>
                    <a:pt x="3823" y="7182"/>
                    <a:pt x="3823" y="7182"/>
                    <a:pt x="3823" y="7182"/>
                  </a:cubicBezTo>
                  <a:cubicBezTo>
                    <a:pt x="3834" y="7172"/>
                    <a:pt x="3834" y="7172"/>
                    <a:pt x="3834" y="7172"/>
                  </a:cubicBezTo>
                  <a:cubicBezTo>
                    <a:pt x="3729" y="7150"/>
                    <a:pt x="3729" y="7150"/>
                    <a:pt x="3729" y="7150"/>
                  </a:cubicBezTo>
                  <a:lnTo>
                    <a:pt x="3701" y="7240"/>
                  </a:lnTo>
                  <a:close/>
                  <a:moveTo>
                    <a:pt x="3803" y="7181"/>
                  </a:moveTo>
                  <a:cubicBezTo>
                    <a:pt x="3739" y="7240"/>
                    <a:pt x="3739" y="7240"/>
                    <a:pt x="3739" y="7240"/>
                  </a:cubicBezTo>
                  <a:cubicBezTo>
                    <a:pt x="3719" y="7231"/>
                    <a:pt x="3719" y="7231"/>
                    <a:pt x="3719" y="7231"/>
                  </a:cubicBezTo>
                  <a:cubicBezTo>
                    <a:pt x="3739" y="7167"/>
                    <a:pt x="3739" y="7167"/>
                    <a:pt x="3739" y="7167"/>
                  </a:cubicBezTo>
                  <a:lnTo>
                    <a:pt x="3803" y="7181"/>
                  </a:lnTo>
                  <a:close/>
                  <a:moveTo>
                    <a:pt x="3870" y="5794"/>
                  </a:moveTo>
                  <a:cubicBezTo>
                    <a:pt x="3534" y="5717"/>
                    <a:pt x="3534" y="5717"/>
                    <a:pt x="3534" y="5717"/>
                  </a:cubicBezTo>
                  <a:cubicBezTo>
                    <a:pt x="3489" y="5810"/>
                    <a:pt x="3489" y="5810"/>
                    <a:pt x="3489" y="5810"/>
                  </a:cubicBezTo>
                  <a:cubicBezTo>
                    <a:pt x="3732" y="5874"/>
                    <a:pt x="3732" y="5874"/>
                    <a:pt x="3732" y="5874"/>
                  </a:cubicBezTo>
                  <a:cubicBezTo>
                    <a:pt x="3739" y="5845"/>
                    <a:pt x="3739" y="5845"/>
                    <a:pt x="3739" y="5845"/>
                  </a:cubicBezTo>
                  <a:cubicBezTo>
                    <a:pt x="3882" y="5877"/>
                    <a:pt x="3882" y="5877"/>
                    <a:pt x="3882" y="5877"/>
                  </a:cubicBezTo>
                  <a:cubicBezTo>
                    <a:pt x="3871" y="5799"/>
                    <a:pt x="3871" y="5799"/>
                    <a:pt x="3871" y="5799"/>
                  </a:cubicBezTo>
                  <a:lnTo>
                    <a:pt x="3870" y="5794"/>
                  </a:lnTo>
                  <a:close/>
                  <a:moveTo>
                    <a:pt x="3729" y="5827"/>
                  </a:moveTo>
                  <a:cubicBezTo>
                    <a:pt x="3721" y="5856"/>
                    <a:pt x="3721" y="5856"/>
                    <a:pt x="3721" y="5856"/>
                  </a:cubicBezTo>
                  <a:cubicBezTo>
                    <a:pt x="3510" y="5801"/>
                    <a:pt x="3510" y="5801"/>
                    <a:pt x="3510" y="5801"/>
                  </a:cubicBezTo>
                  <a:cubicBezTo>
                    <a:pt x="3542" y="5734"/>
                    <a:pt x="3542" y="5734"/>
                    <a:pt x="3542" y="5734"/>
                  </a:cubicBezTo>
                  <a:cubicBezTo>
                    <a:pt x="3857" y="5806"/>
                    <a:pt x="3857" y="5806"/>
                    <a:pt x="3857" y="5806"/>
                  </a:cubicBezTo>
                  <a:cubicBezTo>
                    <a:pt x="3864" y="5858"/>
                    <a:pt x="3864" y="5858"/>
                    <a:pt x="3864" y="5858"/>
                  </a:cubicBezTo>
                  <a:lnTo>
                    <a:pt x="3729" y="5827"/>
                  </a:lnTo>
                  <a:close/>
                  <a:moveTo>
                    <a:pt x="3850" y="6027"/>
                  </a:moveTo>
                  <a:cubicBezTo>
                    <a:pt x="3854" y="6019"/>
                    <a:pt x="3854" y="6019"/>
                    <a:pt x="3854" y="6019"/>
                  </a:cubicBezTo>
                  <a:cubicBezTo>
                    <a:pt x="3439" y="5904"/>
                    <a:pt x="3439" y="5904"/>
                    <a:pt x="3439" y="5904"/>
                  </a:cubicBezTo>
                  <a:cubicBezTo>
                    <a:pt x="3397" y="6008"/>
                    <a:pt x="3397" y="6008"/>
                    <a:pt x="3397" y="6008"/>
                  </a:cubicBezTo>
                  <a:cubicBezTo>
                    <a:pt x="3371" y="6014"/>
                    <a:pt x="3371" y="6014"/>
                    <a:pt x="3371" y="6014"/>
                  </a:cubicBezTo>
                  <a:cubicBezTo>
                    <a:pt x="3304" y="6129"/>
                    <a:pt x="3304" y="6129"/>
                    <a:pt x="3304" y="6129"/>
                  </a:cubicBezTo>
                  <a:cubicBezTo>
                    <a:pt x="3347" y="6144"/>
                    <a:pt x="3347" y="6144"/>
                    <a:pt x="3347" y="6144"/>
                  </a:cubicBezTo>
                  <a:cubicBezTo>
                    <a:pt x="3343" y="6171"/>
                    <a:pt x="3343" y="6171"/>
                    <a:pt x="3343" y="6171"/>
                  </a:cubicBezTo>
                  <a:cubicBezTo>
                    <a:pt x="3768" y="6362"/>
                    <a:pt x="3768" y="6362"/>
                    <a:pt x="3768" y="6362"/>
                  </a:cubicBezTo>
                  <a:cubicBezTo>
                    <a:pt x="3806" y="6263"/>
                    <a:pt x="3806" y="6263"/>
                    <a:pt x="3806" y="6263"/>
                  </a:cubicBezTo>
                  <a:cubicBezTo>
                    <a:pt x="3728" y="6163"/>
                    <a:pt x="3728" y="6163"/>
                    <a:pt x="3728" y="6163"/>
                  </a:cubicBezTo>
                  <a:cubicBezTo>
                    <a:pt x="3804" y="6125"/>
                    <a:pt x="3804" y="6125"/>
                    <a:pt x="3804" y="6125"/>
                  </a:cubicBezTo>
                  <a:lnTo>
                    <a:pt x="3850" y="6027"/>
                  </a:lnTo>
                  <a:close/>
                  <a:moveTo>
                    <a:pt x="3705" y="6158"/>
                  </a:moveTo>
                  <a:cubicBezTo>
                    <a:pt x="3789" y="6266"/>
                    <a:pt x="3789" y="6266"/>
                    <a:pt x="3789" y="6266"/>
                  </a:cubicBezTo>
                  <a:cubicBezTo>
                    <a:pt x="3760" y="6342"/>
                    <a:pt x="3760" y="6342"/>
                    <a:pt x="3760" y="6342"/>
                  </a:cubicBezTo>
                  <a:cubicBezTo>
                    <a:pt x="3359" y="6162"/>
                    <a:pt x="3359" y="6162"/>
                    <a:pt x="3359" y="6162"/>
                  </a:cubicBezTo>
                  <a:cubicBezTo>
                    <a:pt x="3364" y="6134"/>
                    <a:pt x="3364" y="6134"/>
                    <a:pt x="3364" y="6134"/>
                  </a:cubicBezTo>
                  <a:cubicBezTo>
                    <a:pt x="3326" y="6121"/>
                    <a:pt x="3326" y="6121"/>
                    <a:pt x="3326" y="6121"/>
                  </a:cubicBezTo>
                  <a:cubicBezTo>
                    <a:pt x="3381" y="6027"/>
                    <a:pt x="3381" y="6027"/>
                    <a:pt x="3381" y="6027"/>
                  </a:cubicBezTo>
                  <a:cubicBezTo>
                    <a:pt x="3407" y="6021"/>
                    <a:pt x="3407" y="6021"/>
                    <a:pt x="3407" y="6021"/>
                  </a:cubicBezTo>
                  <a:cubicBezTo>
                    <a:pt x="3448" y="5922"/>
                    <a:pt x="3448" y="5922"/>
                    <a:pt x="3448" y="5922"/>
                  </a:cubicBezTo>
                  <a:cubicBezTo>
                    <a:pt x="3833" y="6029"/>
                    <a:pt x="3833" y="6029"/>
                    <a:pt x="3833" y="6029"/>
                  </a:cubicBezTo>
                  <a:cubicBezTo>
                    <a:pt x="3793" y="6114"/>
                    <a:pt x="3793" y="6114"/>
                    <a:pt x="3793" y="6114"/>
                  </a:cubicBezTo>
                  <a:lnTo>
                    <a:pt x="3705" y="6158"/>
                  </a:lnTo>
                  <a:close/>
                  <a:moveTo>
                    <a:pt x="3422" y="6145"/>
                  </a:moveTo>
                  <a:cubicBezTo>
                    <a:pt x="3576" y="6194"/>
                    <a:pt x="3576" y="6194"/>
                    <a:pt x="3576" y="6194"/>
                  </a:cubicBezTo>
                  <a:cubicBezTo>
                    <a:pt x="3632" y="6053"/>
                    <a:pt x="3632" y="6053"/>
                    <a:pt x="3632" y="6053"/>
                  </a:cubicBezTo>
                  <a:cubicBezTo>
                    <a:pt x="3635" y="6045"/>
                    <a:pt x="3635" y="6045"/>
                    <a:pt x="3635" y="6045"/>
                  </a:cubicBezTo>
                  <a:cubicBezTo>
                    <a:pt x="3492" y="6003"/>
                    <a:pt x="3492" y="6003"/>
                    <a:pt x="3492" y="6003"/>
                  </a:cubicBezTo>
                  <a:lnTo>
                    <a:pt x="3422" y="6145"/>
                  </a:lnTo>
                  <a:close/>
                  <a:moveTo>
                    <a:pt x="3615" y="6055"/>
                  </a:moveTo>
                  <a:cubicBezTo>
                    <a:pt x="3568" y="6176"/>
                    <a:pt x="3568" y="6176"/>
                    <a:pt x="3568" y="6176"/>
                  </a:cubicBezTo>
                  <a:cubicBezTo>
                    <a:pt x="3443" y="6136"/>
                    <a:pt x="3443" y="6136"/>
                    <a:pt x="3443" y="6136"/>
                  </a:cubicBezTo>
                  <a:cubicBezTo>
                    <a:pt x="3499" y="6020"/>
                    <a:pt x="3499" y="6020"/>
                    <a:pt x="3499" y="6020"/>
                  </a:cubicBezTo>
                  <a:lnTo>
                    <a:pt x="3615" y="6055"/>
                  </a:lnTo>
                  <a:close/>
                  <a:moveTo>
                    <a:pt x="3653" y="6526"/>
                  </a:moveTo>
                  <a:cubicBezTo>
                    <a:pt x="3284" y="6257"/>
                    <a:pt x="3284" y="6257"/>
                    <a:pt x="3284" y="6257"/>
                  </a:cubicBezTo>
                  <a:cubicBezTo>
                    <a:pt x="3158" y="6496"/>
                    <a:pt x="3158" y="6496"/>
                    <a:pt x="3158" y="6496"/>
                  </a:cubicBezTo>
                  <a:cubicBezTo>
                    <a:pt x="3488" y="6614"/>
                    <a:pt x="3488" y="6614"/>
                    <a:pt x="3488" y="6614"/>
                  </a:cubicBezTo>
                  <a:cubicBezTo>
                    <a:pt x="3643" y="6531"/>
                    <a:pt x="3643" y="6531"/>
                    <a:pt x="3643" y="6531"/>
                  </a:cubicBezTo>
                  <a:lnTo>
                    <a:pt x="3653" y="6526"/>
                  </a:lnTo>
                  <a:close/>
                  <a:moveTo>
                    <a:pt x="3487" y="6598"/>
                  </a:moveTo>
                  <a:cubicBezTo>
                    <a:pt x="3179" y="6487"/>
                    <a:pt x="3179" y="6487"/>
                    <a:pt x="3179" y="6487"/>
                  </a:cubicBezTo>
                  <a:cubicBezTo>
                    <a:pt x="3289" y="6279"/>
                    <a:pt x="3289" y="6279"/>
                    <a:pt x="3289" y="6279"/>
                  </a:cubicBezTo>
                  <a:cubicBezTo>
                    <a:pt x="3625" y="6524"/>
                    <a:pt x="3625" y="6524"/>
                    <a:pt x="3625" y="6524"/>
                  </a:cubicBezTo>
                  <a:lnTo>
                    <a:pt x="3487" y="6598"/>
                  </a:lnTo>
                  <a:close/>
                  <a:moveTo>
                    <a:pt x="3433" y="6496"/>
                  </a:moveTo>
                  <a:cubicBezTo>
                    <a:pt x="3467" y="6504"/>
                    <a:pt x="3467" y="6504"/>
                    <a:pt x="3467" y="6504"/>
                  </a:cubicBezTo>
                  <a:cubicBezTo>
                    <a:pt x="3295" y="6365"/>
                    <a:pt x="3295" y="6365"/>
                    <a:pt x="3295" y="6365"/>
                  </a:cubicBezTo>
                  <a:cubicBezTo>
                    <a:pt x="3245" y="6446"/>
                    <a:pt x="3245" y="6446"/>
                    <a:pt x="3245" y="6446"/>
                  </a:cubicBezTo>
                  <a:lnTo>
                    <a:pt x="3433" y="6496"/>
                  </a:lnTo>
                  <a:close/>
                  <a:moveTo>
                    <a:pt x="3299" y="6387"/>
                  </a:moveTo>
                  <a:cubicBezTo>
                    <a:pt x="3404" y="6473"/>
                    <a:pt x="3404" y="6473"/>
                    <a:pt x="3404" y="6473"/>
                  </a:cubicBezTo>
                  <a:cubicBezTo>
                    <a:pt x="3268" y="6436"/>
                    <a:pt x="3268" y="6436"/>
                    <a:pt x="3268" y="6436"/>
                  </a:cubicBezTo>
                  <a:lnTo>
                    <a:pt x="3299" y="6387"/>
                  </a:lnTo>
                  <a:close/>
                  <a:moveTo>
                    <a:pt x="3194" y="6645"/>
                  </a:moveTo>
                  <a:cubicBezTo>
                    <a:pt x="3163" y="6746"/>
                    <a:pt x="3163" y="6746"/>
                    <a:pt x="3163" y="6746"/>
                  </a:cubicBezTo>
                  <a:cubicBezTo>
                    <a:pt x="3164" y="6748"/>
                    <a:pt x="3164" y="6748"/>
                    <a:pt x="3164" y="6748"/>
                  </a:cubicBezTo>
                  <a:cubicBezTo>
                    <a:pt x="3164" y="6749"/>
                    <a:pt x="3193" y="6845"/>
                    <a:pt x="3256" y="6893"/>
                  </a:cubicBezTo>
                  <a:cubicBezTo>
                    <a:pt x="3316" y="6938"/>
                    <a:pt x="3346" y="6962"/>
                    <a:pt x="3346" y="6962"/>
                  </a:cubicBezTo>
                  <a:cubicBezTo>
                    <a:pt x="3355" y="6969"/>
                    <a:pt x="3355" y="6969"/>
                    <a:pt x="3355" y="6969"/>
                  </a:cubicBezTo>
                  <a:cubicBezTo>
                    <a:pt x="3385" y="6876"/>
                    <a:pt x="3385" y="6876"/>
                    <a:pt x="3385" y="6876"/>
                  </a:cubicBezTo>
                  <a:cubicBezTo>
                    <a:pt x="3424" y="6887"/>
                    <a:pt x="3424" y="6887"/>
                    <a:pt x="3424" y="6887"/>
                  </a:cubicBezTo>
                  <a:cubicBezTo>
                    <a:pt x="3447" y="6779"/>
                    <a:pt x="3447" y="6779"/>
                    <a:pt x="3447" y="6779"/>
                  </a:cubicBezTo>
                  <a:cubicBezTo>
                    <a:pt x="3448" y="6773"/>
                    <a:pt x="3448" y="6773"/>
                    <a:pt x="3448" y="6773"/>
                  </a:cubicBezTo>
                  <a:lnTo>
                    <a:pt x="3194" y="6645"/>
                  </a:lnTo>
                  <a:close/>
                  <a:moveTo>
                    <a:pt x="3413" y="6869"/>
                  </a:moveTo>
                  <a:cubicBezTo>
                    <a:pt x="3375" y="6857"/>
                    <a:pt x="3375" y="6857"/>
                    <a:pt x="3375" y="6857"/>
                  </a:cubicBezTo>
                  <a:cubicBezTo>
                    <a:pt x="3347" y="6944"/>
                    <a:pt x="3347" y="6944"/>
                    <a:pt x="3347" y="6944"/>
                  </a:cubicBezTo>
                  <a:cubicBezTo>
                    <a:pt x="3334" y="6934"/>
                    <a:pt x="3307" y="6912"/>
                    <a:pt x="3265" y="6881"/>
                  </a:cubicBezTo>
                  <a:cubicBezTo>
                    <a:pt x="3236" y="6859"/>
                    <a:pt x="3214" y="6825"/>
                    <a:pt x="3199" y="6796"/>
                  </a:cubicBezTo>
                  <a:cubicBezTo>
                    <a:pt x="3187" y="6772"/>
                    <a:pt x="3181" y="6753"/>
                    <a:pt x="3178" y="6746"/>
                  </a:cubicBezTo>
                  <a:cubicBezTo>
                    <a:pt x="3203" y="6666"/>
                    <a:pt x="3203" y="6666"/>
                    <a:pt x="3203" y="6666"/>
                  </a:cubicBezTo>
                  <a:cubicBezTo>
                    <a:pt x="3432" y="6781"/>
                    <a:pt x="3432" y="6781"/>
                    <a:pt x="3432" y="6781"/>
                  </a:cubicBezTo>
                  <a:lnTo>
                    <a:pt x="3413" y="6869"/>
                  </a:lnTo>
                  <a:close/>
                  <a:moveTo>
                    <a:pt x="3114" y="7266"/>
                  </a:moveTo>
                  <a:cubicBezTo>
                    <a:pt x="3199" y="7226"/>
                    <a:pt x="3199" y="7226"/>
                    <a:pt x="3199" y="7226"/>
                  </a:cubicBezTo>
                  <a:cubicBezTo>
                    <a:pt x="3198" y="7220"/>
                    <a:pt x="3198" y="7220"/>
                    <a:pt x="3198" y="7220"/>
                  </a:cubicBezTo>
                  <a:cubicBezTo>
                    <a:pt x="3198" y="7220"/>
                    <a:pt x="3198" y="7219"/>
                    <a:pt x="3198" y="7216"/>
                  </a:cubicBezTo>
                  <a:cubicBezTo>
                    <a:pt x="3199" y="7206"/>
                    <a:pt x="3201" y="7171"/>
                    <a:pt x="3301" y="7170"/>
                  </a:cubicBezTo>
                  <a:cubicBezTo>
                    <a:pt x="3310" y="7170"/>
                    <a:pt x="3320" y="7170"/>
                    <a:pt x="3331" y="7171"/>
                  </a:cubicBezTo>
                  <a:cubicBezTo>
                    <a:pt x="3355" y="7173"/>
                    <a:pt x="3355" y="7173"/>
                    <a:pt x="3355" y="7173"/>
                  </a:cubicBezTo>
                  <a:cubicBezTo>
                    <a:pt x="3336" y="7158"/>
                    <a:pt x="3336" y="7158"/>
                    <a:pt x="3336" y="7158"/>
                  </a:cubicBezTo>
                  <a:cubicBezTo>
                    <a:pt x="3336" y="7158"/>
                    <a:pt x="3230" y="7076"/>
                    <a:pt x="3158" y="7032"/>
                  </a:cubicBezTo>
                  <a:cubicBezTo>
                    <a:pt x="3124" y="7011"/>
                    <a:pt x="3084" y="6968"/>
                    <a:pt x="3054" y="6932"/>
                  </a:cubicBezTo>
                  <a:cubicBezTo>
                    <a:pt x="3023" y="6895"/>
                    <a:pt x="3001" y="6864"/>
                    <a:pt x="3001" y="6863"/>
                  </a:cubicBezTo>
                  <a:cubicBezTo>
                    <a:pt x="2998" y="6859"/>
                    <a:pt x="2998" y="6859"/>
                    <a:pt x="2998" y="6859"/>
                  </a:cubicBezTo>
                  <a:cubicBezTo>
                    <a:pt x="2936" y="6876"/>
                    <a:pt x="2936" y="6876"/>
                    <a:pt x="2936" y="6876"/>
                  </a:cubicBezTo>
                  <a:cubicBezTo>
                    <a:pt x="2985" y="6993"/>
                    <a:pt x="2985" y="6993"/>
                    <a:pt x="2985" y="6993"/>
                  </a:cubicBezTo>
                  <a:cubicBezTo>
                    <a:pt x="2948" y="7005"/>
                    <a:pt x="2948" y="7005"/>
                    <a:pt x="2948" y="7005"/>
                  </a:cubicBezTo>
                  <a:cubicBezTo>
                    <a:pt x="3054" y="7260"/>
                    <a:pt x="3054" y="7260"/>
                    <a:pt x="3054" y="7260"/>
                  </a:cubicBezTo>
                  <a:cubicBezTo>
                    <a:pt x="3093" y="7240"/>
                    <a:pt x="3093" y="7240"/>
                    <a:pt x="3093" y="7240"/>
                  </a:cubicBezTo>
                  <a:lnTo>
                    <a:pt x="3114" y="7266"/>
                  </a:lnTo>
                  <a:close/>
                  <a:moveTo>
                    <a:pt x="2968" y="7014"/>
                  </a:moveTo>
                  <a:cubicBezTo>
                    <a:pt x="3005" y="7002"/>
                    <a:pt x="3005" y="7002"/>
                    <a:pt x="3005" y="7002"/>
                  </a:cubicBezTo>
                  <a:cubicBezTo>
                    <a:pt x="2956" y="6886"/>
                    <a:pt x="2956" y="6886"/>
                    <a:pt x="2956" y="6886"/>
                  </a:cubicBezTo>
                  <a:cubicBezTo>
                    <a:pt x="2992" y="6876"/>
                    <a:pt x="2992" y="6876"/>
                    <a:pt x="2992" y="6876"/>
                  </a:cubicBezTo>
                  <a:cubicBezTo>
                    <a:pt x="3008" y="6898"/>
                    <a:pt x="3085" y="7004"/>
                    <a:pt x="3150" y="7044"/>
                  </a:cubicBezTo>
                  <a:cubicBezTo>
                    <a:pt x="3203" y="7076"/>
                    <a:pt x="3275" y="7130"/>
                    <a:pt x="3308" y="7155"/>
                  </a:cubicBezTo>
                  <a:cubicBezTo>
                    <a:pt x="3306" y="7155"/>
                    <a:pt x="3303" y="7155"/>
                    <a:pt x="3301" y="7155"/>
                  </a:cubicBezTo>
                  <a:cubicBezTo>
                    <a:pt x="3250" y="7155"/>
                    <a:pt x="3220" y="7165"/>
                    <a:pt x="3203" y="7178"/>
                  </a:cubicBezTo>
                  <a:cubicBezTo>
                    <a:pt x="3186" y="7191"/>
                    <a:pt x="3183" y="7208"/>
                    <a:pt x="3183" y="7216"/>
                  </a:cubicBezTo>
                  <a:cubicBezTo>
                    <a:pt x="3183" y="7217"/>
                    <a:pt x="3183" y="7217"/>
                    <a:pt x="3183" y="7217"/>
                  </a:cubicBezTo>
                  <a:cubicBezTo>
                    <a:pt x="3118" y="7248"/>
                    <a:pt x="3118" y="7248"/>
                    <a:pt x="3118" y="7248"/>
                  </a:cubicBezTo>
                  <a:cubicBezTo>
                    <a:pt x="3097" y="7222"/>
                    <a:pt x="3097" y="7222"/>
                    <a:pt x="3097" y="7222"/>
                  </a:cubicBezTo>
                  <a:cubicBezTo>
                    <a:pt x="3061" y="7240"/>
                    <a:pt x="3061" y="7240"/>
                    <a:pt x="3061" y="7240"/>
                  </a:cubicBezTo>
                  <a:lnTo>
                    <a:pt x="2968" y="7014"/>
                  </a:lnTo>
                  <a:close/>
                  <a:moveTo>
                    <a:pt x="2626" y="7333"/>
                  </a:moveTo>
                  <a:cubicBezTo>
                    <a:pt x="2645" y="7234"/>
                    <a:pt x="2645" y="7234"/>
                    <a:pt x="2645" y="7234"/>
                  </a:cubicBezTo>
                  <a:cubicBezTo>
                    <a:pt x="2770" y="7275"/>
                    <a:pt x="2770" y="7275"/>
                    <a:pt x="2770" y="7275"/>
                  </a:cubicBezTo>
                  <a:cubicBezTo>
                    <a:pt x="2779" y="7143"/>
                    <a:pt x="2779" y="7143"/>
                    <a:pt x="2779" y="7143"/>
                  </a:cubicBezTo>
                  <a:cubicBezTo>
                    <a:pt x="2667" y="7093"/>
                    <a:pt x="2667" y="7093"/>
                    <a:pt x="2667" y="7093"/>
                  </a:cubicBezTo>
                  <a:cubicBezTo>
                    <a:pt x="2687" y="7033"/>
                    <a:pt x="2687" y="7033"/>
                    <a:pt x="2687" y="7033"/>
                  </a:cubicBezTo>
                  <a:cubicBezTo>
                    <a:pt x="2798" y="7020"/>
                    <a:pt x="2798" y="7020"/>
                    <a:pt x="2798" y="7020"/>
                  </a:cubicBezTo>
                  <a:cubicBezTo>
                    <a:pt x="2773" y="6879"/>
                    <a:pt x="2773" y="6879"/>
                    <a:pt x="2773" y="6879"/>
                  </a:cubicBezTo>
                  <a:cubicBezTo>
                    <a:pt x="2772" y="6875"/>
                    <a:pt x="2772" y="6875"/>
                    <a:pt x="2772" y="6875"/>
                  </a:cubicBezTo>
                  <a:cubicBezTo>
                    <a:pt x="2617" y="6812"/>
                    <a:pt x="2617" y="6812"/>
                    <a:pt x="2617" y="6812"/>
                  </a:cubicBezTo>
                  <a:cubicBezTo>
                    <a:pt x="2514" y="7262"/>
                    <a:pt x="2514" y="7262"/>
                    <a:pt x="2514" y="7262"/>
                  </a:cubicBezTo>
                  <a:lnTo>
                    <a:pt x="2626" y="7333"/>
                  </a:lnTo>
                  <a:close/>
                  <a:moveTo>
                    <a:pt x="2627" y="6832"/>
                  </a:moveTo>
                  <a:cubicBezTo>
                    <a:pt x="2759" y="6885"/>
                    <a:pt x="2759" y="6885"/>
                    <a:pt x="2759" y="6885"/>
                  </a:cubicBezTo>
                  <a:cubicBezTo>
                    <a:pt x="2780" y="7007"/>
                    <a:pt x="2780" y="7007"/>
                    <a:pt x="2780" y="7007"/>
                  </a:cubicBezTo>
                  <a:cubicBezTo>
                    <a:pt x="2675" y="7020"/>
                    <a:pt x="2675" y="7020"/>
                    <a:pt x="2675" y="7020"/>
                  </a:cubicBezTo>
                  <a:cubicBezTo>
                    <a:pt x="2649" y="7101"/>
                    <a:pt x="2649" y="7101"/>
                    <a:pt x="2649" y="7101"/>
                  </a:cubicBezTo>
                  <a:cubicBezTo>
                    <a:pt x="2763" y="7152"/>
                    <a:pt x="2763" y="7152"/>
                    <a:pt x="2763" y="7152"/>
                  </a:cubicBezTo>
                  <a:cubicBezTo>
                    <a:pt x="2756" y="7255"/>
                    <a:pt x="2756" y="7255"/>
                    <a:pt x="2756" y="7255"/>
                  </a:cubicBezTo>
                  <a:cubicBezTo>
                    <a:pt x="2634" y="7215"/>
                    <a:pt x="2634" y="7215"/>
                    <a:pt x="2634" y="7215"/>
                  </a:cubicBezTo>
                  <a:cubicBezTo>
                    <a:pt x="2616" y="7309"/>
                    <a:pt x="2616" y="7309"/>
                    <a:pt x="2616" y="7309"/>
                  </a:cubicBezTo>
                  <a:cubicBezTo>
                    <a:pt x="2531" y="7255"/>
                    <a:pt x="2531" y="7255"/>
                    <a:pt x="2531" y="7255"/>
                  </a:cubicBezTo>
                  <a:lnTo>
                    <a:pt x="2627" y="6832"/>
                  </a:lnTo>
                  <a:close/>
                  <a:moveTo>
                    <a:pt x="2996" y="7372"/>
                  </a:moveTo>
                  <a:cubicBezTo>
                    <a:pt x="2903" y="7155"/>
                    <a:pt x="2903" y="7155"/>
                    <a:pt x="2903" y="7155"/>
                  </a:cubicBezTo>
                  <a:cubicBezTo>
                    <a:pt x="2900" y="7149"/>
                    <a:pt x="2900" y="7149"/>
                    <a:pt x="2900" y="7149"/>
                  </a:cubicBezTo>
                  <a:cubicBezTo>
                    <a:pt x="2849" y="7163"/>
                    <a:pt x="2849" y="7163"/>
                    <a:pt x="2849" y="7163"/>
                  </a:cubicBezTo>
                  <a:cubicBezTo>
                    <a:pt x="2860" y="7406"/>
                    <a:pt x="2860" y="7406"/>
                    <a:pt x="2860" y="7406"/>
                  </a:cubicBezTo>
                  <a:lnTo>
                    <a:pt x="2996" y="7372"/>
                  </a:lnTo>
                  <a:close/>
                  <a:moveTo>
                    <a:pt x="2892" y="7166"/>
                  </a:moveTo>
                  <a:cubicBezTo>
                    <a:pt x="2976" y="7362"/>
                    <a:pt x="2976" y="7362"/>
                    <a:pt x="2976" y="7362"/>
                  </a:cubicBezTo>
                  <a:cubicBezTo>
                    <a:pt x="2874" y="7387"/>
                    <a:pt x="2874" y="7387"/>
                    <a:pt x="2874" y="7387"/>
                  </a:cubicBezTo>
                  <a:cubicBezTo>
                    <a:pt x="2865" y="7174"/>
                    <a:pt x="2865" y="7174"/>
                    <a:pt x="2865" y="7174"/>
                  </a:cubicBezTo>
                  <a:lnTo>
                    <a:pt x="2892" y="7166"/>
                  </a:lnTo>
                  <a:close/>
                  <a:moveTo>
                    <a:pt x="2046" y="6959"/>
                  </a:moveTo>
                  <a:cubicBezTo>
                    <a:pt x="2213" y="7044"/>
                    <a:pt x="2213" y="7044"/>
                    <a:pt x="2213" y="7044"/>
                  </a:cubicBezTo>
                  <a:cubicBezTo>
                    <a:pt x="2261" y="6936"/>
                    <a:pt x="2261" y="6936"/>
                    <a:pt x="2261" y="6936"/>
                  </a:cubicBezTo>
                  <a:cubicBezTo>
                    <a:pt x="2219" y="6912"/>
                    <a:pt x="2219" y="6912"/>
                    <a:pt x="2219" y="6912"/>
                  </a:cubicBezTo>
                  <a:cubicBezTo>
                    <a:pt x="2318" y="6772"/>
                    <a:pt x="2318" y="6772"/>
                    <a:pt x="2318" y="6772"/>
                  </a:cubicBezTo>
                  <a:cubicBezTo>
                    <a:pt x="2422" y="6832"/>
                    <a:pt x="2422" y="6832"/>
                    <a:pt x="2422" y="6832"/>
                  </a:cubicBezTo>
                  <a:cubicBezTo>
                    <a:pt x="2375" y="7000"/>
                    <a:pt x="2375" y="7000"/>
                    <a:pt x="2375" y="7000"/>
                  </a:cubicBezTo>
                  <a:cubicBezTo>
                    <a:pt x="2307" y="6959"/>
                    <a:pt x="2307" y="6959"/>
                    <a:pt x="2307" y="6959"/>
                  </a:cubicBezTo>
                  <a:cubicBezTo>
                    <a:pt x="2255" y="7069"/>
                    <a:pt x="2255" y="7069"/>
                    <a:pt x="2255" y="7069"/>
                  </a:cubicBezTo>
                  <a:cubicBezTo>
                    <a:pt x="2438" y="7198"/>
                    <a:pt x="2438" y="7198"/>
                    <a:pt x="2438" y="7198"/>
                  </a:cubicBezTo>
                  <a:cubicBezTo>
                    <a:pt x="2558" y="6756"/>
                    <a:pt x="2558" y="6756"/>
                    <a:pt x="2558" y="6756"/>
                  </a:cubicBezTo>
                  <a:cubicBezTo>
                    <a:pt x="2560" y="6751"/>
                    <a:pt x="2560" y="6751"/>
                    <a:pt x="2560" y="6751"/>
                  </a:cubicBezTo>
                  <a:cubicBezTo>
                    <a:pt x="2286" y="6587"/>
                    <a:pt x="2286" y="6587"/>
                    <a:pt x="2286" y="6587"/>
                  </a:cubicBezTo>
                  <a:lnTo>
                    <a:pt x="2046" y="6959"/>
                  </a:lnTo>
                  <a:close/>
                  <a:moveTo>
                    <a:pt x="2543" y="6758"/>
                  </a:moveTo>
                  <a:cubicBezTo>
                    <a:pt x="2429" y="7174"/>
                    <a:pt x="2429" y="7174"/>
                    <a:pt x="2429" y="7174"/>
                  </a:cubicBezTo>
                  <a:cubicBezTo>
                    <a:pt x="2273" y="7064"/>
                    <a:pt x="2273" y="7064"/>
                    <a:pt x="2273" y="7064"/>
                  </a:cubicBezTo>
                  <a:cubicBezTo>
                    <a:pt x="2313" y="6980"/>
                    <a:pt x="2313" y="6980"/>
                    <a:pt x="2313" y="6980"/>
                  </a:cubicBezTo>
                  <a:cubicBezTo>
                    <a:pt x="2384" y="7022"/>
                    <a:pt x="2384" y="7022"/>
                    <a:pt x="2384" y="7022"/>
                  </a:cubicBezTo>
                  <a:cubicBezTo>
                    <a:pt x="2440" y="6825"/>
                    <a:pt x="2440" y="6825"/>
                    <a:pt x="2440" y="6825"/>
                  </a:cubicBezTo>
                  <a:cubicBezTo>
                    <a:pt x="2314" y="6753"/>
                    <a:pt x="2314" y="6753"/>
                    <a:pt x="2314" y="6753"/>
                  </a:cubicBezTo>
                  <a:cubicBezTo>
                    <a:pt x="2198" y="6917"/>
                    <a:pt x="2198" y="6917"/>
                    <a:pt x="2198" y="6917"/>
                  </a:cubicBezTo>
                  <a:cubicBezTo>
                    <a:pt x="2242" y="6942"/>
                    <a:pt x="2242" y="6942"/>
                    <a:pt x="2242" y="6942"/>
                  </a:cubicBezTo>
                  <a:cubicBezTo>
                    <a:pt x="2206" y="7023"/>
                    <a:pt x="2206" y="7023"/>
                    <a:pt x="2206" y="7023"/>
                  </a:cubicBezTo>
                  <a:cubicBezTo>
                    <a:pt x="2067" y="6953"/>
                    <a:pt x="2067" y="6953"/>
                    <a:pt x="2067" y="6953"/>
                  </a:cubicBezTo>
                  <a:cubicBezTo>
                    <a:pt x="2291" y="6607"/>
                    <a:pt x="2291" y="6607"/>
                    <a:pt x="2291" y="6607"/>
                  </a:cubicBezTo>
                  <a:lnTo>
                    <a:pt x="2543" y="6758"/>
                  </a:lnTo>
                  <a:close/>
                  <a:moveTo>
                    <a:pt x="1992" y="6921"/>
                  </a:moveTo>
                  <a:cubicBezTo>
                    <a:pt x="2215" y="6562"/>
                    <a:pt x="2215" y="6562"/>
                    <a:pt x="2215" y="6562"/>
                  </a:cubicBezTo>
                  <a:cubicBezTo>
                    <a:pt x="2219" y="6556"/>
                    <a:pt x="2219" y="6556"/>
                    <a:pt x="2219" y="6556"/>
                  </a:cubicBezTo>
                  <a:cubicBezTo>
                    <a:pt x="2074" y="6473"/>
                    <a:pt x="2074" y="6473"/>
                    <a:pt x="2074" y="6473"/>
                  </a:cubicBezTo>
                  <a:cubicBezTo>
                    <a:pt x="1842" y="6820"/>
                    <a:pt x="1842" y="6820"/>
                    <a:pt x="1842" y="6820"/>
                  </a:cubicBezTo>
                  <a:lnTo>
                    <a:pt x="1992" y="6921"/>
                  </a:lnTo>
                  <a:close/>
                  <a:moveTo>
                    <a:pt x="2079" y="6492"/>
                  </a:moveTo>
                  <a:cubicBezTo>
                    <a:pt x="2199" y="6561"/>
                    <a:pt x="2199" y="6561"/>
                    <a:pt x="2199" y="6561"/>
                  </a:cubicBezTo>
                  <a:cubicBezTo>
                    <a:pt x="1988" y="6900"/>
                    <a:pt x="1988" y="6900"/>
                    <a:pt x="1988" y="6900"/>
                  </a:cubicBezTo>
                  <a:cubicBezTo>
                    <a:pt x="1863" y="6816"/>
                    <a:pt x="1863" y="6816"/>
                    <a:pt x="1863" y="6816"/>
                  </a:cubicBezTo>
                  <a:lnTo>
                    <a:pt x="2079" y="6492"/>
                  </a:lnTo>
                  <a:close/>
                  <a:moveTo>
                    <a:pt x="1674" y="6741"/>
                  </a:moveTo>
                  <a:cubicBezTo>
                    <a:pt x="1712" y="6675"/>
                    <a:pt x="1712" y="6675"/>
                    <a:pt x="1712" y="6675"/>
                  </a:cubicBezTo>
                  <a:cubicBezTo>
                    <a:pt x="1800" y="6701"/>
                    <a:pt x="1800" y="6701"/>
                    <a:pt x="1800" y="6701"/>
                  </a:cubicBezTo>
                  <a:cubicBezTo>
                    <a:pt x="1956" y="6536"/>
                    <a:pt x="1956" y="6536"/>
                    <a:pt x="1956" y="6536"/>
                  </a:cubicBezTo>
                  <a:cubicBezTo>
                    <a:pt x="1873" y="6473"/>
                    <a:pt x="1873" y="6473"/>
                    <a:pt x="1873" y="6473"/>
                  </a:cubicBezTo>
                  <a:cubicBezTo>
                    <a:pt x="1867" y="6368"/>
                    <a:pt x="1867" y="6368"/>
                    <a:pt x="1867" y="6368"/>
                  </a:cubicBezTo>
                  <a:cubicBezTo>
                    <a:pt x="1867" y="6364"/>
                    <a:pt x="1867" y="6364"/>
                    <a:pt x="1867" y="6364"/>
                  </a:cubicBezTo>
                  <a:cubicBezTo>
                    <a:pt x="1723" y="6272"/>
                    <a:pt x="1723" y="6272"/>
                    <a:pt x="1723" y="6272"/>
                  </a:cubicBezTo>
                  <a:cubicBezTo>
                    <a:pt x="1510" y="6648"/>
                    <a:pt x="1510" y="6648"/>
                    <a:pt x="1510" y="6648"/>
                  </a:cubicBezTo>
                  <a:lnTo>
                    <a:pt x="1674" y="6741"/>
                  </a:lnTo>
                  <a:close/>
                  <a:moveTo>
                    <a:pt x="1728" y="6293"/>
                  </a:moveTo>
                  <a:cubicBezTo>
                    <a:pt x="1853" y="6373"/>
                    <a:pt x="1853" y="6373"/>
                    <a:pt x="1853" y="6373"/>
                  </a:cubicBezTo>
                  <a:cubicBezTo>
                    <a:pt x="1859" y="6481"/>
                    <a:pt x="1859" y="6481"/>
                    <a:pt x="1859" y="6481"/>
                  </a:cubicBezTo>
                  <a:cubicBezTo>
                    <a:pt x="1934" y="6538"/>
                    <a:pt x="1934" y="6538"/>
                    <a:pt x="1934" y="6538"/>
                  </a:cubicBezTo>
                  <a:cubicBezTo>
                    <a:pt x="1796" y="6684"/>
                    <a:pt x="1796" y="6684"/>
                    <a:pt x="1796" y="6684"/>
                  </a:cubicBezTo>
                  <a:cubicBezTo>
                    <a:pt x="1705" y="6657"/>
                    <a:pt x="1705" y="6657"/>
                    <a:pt x="1705" y="6657"/>
                  </a:cubicBezTo>
                  <a:cubicBezTo>
                    <a:pt x="1668" y="6721"/>
                    <a:pt x="1668" y="6721"/>
                    <a:pt x="1668" y="6721"/>
                  </a:cubicBezTo>
                  <a:cubicBezTo>
                    <a:pt x="1530" y="6643"/>
                    <a:pt x="1530" y="6643"/>
                    <a:pt x="1530" y="6643"/>
                  </a:cubicBezTo>
                  <a:lnTo>
                    <a:pt x="1728" y="6293"/>
                  </a:lnTo>
                  <a:close/>
                  <a:moveTo>
                    <a:pt x="6124" y="14196"/>
                  </a:moveTo>
                  <a:cubicBezTo>
                    <a:pt x="6173" y="13970"/>
                    <a:pt x="6173" y="13970"/>
                    <a:pt x="6173" y="13970"/>
                  </a:cubicBezTo>
                  <a:cubicBezTo>
                    <a:pt x="6174" y="13961"/>
                    <a:pt x="6174" y="13961"/>
                    <a:pt x="6174" y="13961"/>
                  </a:cubicBezTo>
                  <a:cubicBezTo>
                    <a:pt x="5801" y="13959"/>
                    <a:pt x="5801" y="13959"/>
                    <a:pt x="5801" y="13959"/>
                  </a:cubicBezTo>
                  <a:cubicBezTo>
                    <a:pt x="5720" y="14008"/>
                    <a:pt x="5720" y="14008"/>
                    <a:pt x="5720" y="14008"/>
                  </a:cubicBezTo>
                  <a:cubicBezTo>
                    <a:pt x="5631" y="14187"/>
                    <a:pt x="5631" y="14187"/>
                    <a:pt x="5631" y="14187"/>
                  </a:cubicBezTo>
                  <a:cubicBezTo>
                    <a:pt x="5787" y="14307"/>
                    <a:pt x="5787" y="14307"/>
                    <a:pt x="5787" y="14307"/>
                  </a:cubicBezTo>
                  <a:cubicBezTo>
                    <a:pt x="5868" y="14086"/>
                    <a:pt x="5868" y="14086"/>
                    <a:pt x="5868" y="14086"/>
                  </a:cubicBezTo>
                  <a:lnTo>
                    <a:pt x="6124" y="14196"/>
                  </a:lnTo>
                  <a:close/>
                  <a:moveTo>
                    <a:pt x="5780" y="14283"/>
                  </a:moveTo>
                  <a:cubicBezTo>
                    <a:pt x="5649" y="14183"/>
                    <a:pt x="5649" y="14183"/>
                    <a:pt x="5649" y="14183"/>
                  </a:cubicBezTo>
                  <a:cubicBezTo>
                    <a:pt x="5731" y="14018"/>
                    <a:pt x="5731" y="14018"/>
                    <a:pt x="5731" y="14018"/>
                  </a:cubicBezTo>
                  <a:cubicBezTo>
                    <a:pt x="5805" y="13974"/>
                    <a:pt x="5805" y="13974"/>
                    <a:pt x="5805" y="13974"/>
                  </a:cubicBezTo>
                  <a:cubicBezTo>
                    <a:pt x="6156" y="13976"/>
                    <a:pt x="6156" y="13976"/>
                    <a:pt x="6156" y="13976"/>
                  </a:cubicBezTo>
                  <a:cubicBezTo>
                    <a:pt x="6113" y="14175"/>
                    <a:pt x="6113" y="14175"/>
                    <a:pt x="6113" y="14175"/>
                  </a:cubicBezTo>
                  <a:cubicBezTo>
                    <a:pt x="5859" y="14067"/>
                    <a:pt x="5859" y="14067"/>
                    <a:pt x="5859" y="14067"/>
                  </a:cubicBezTo>
                  <a:lnTo>
                    <a:pt x="5780" y="14283"/>
                  </a:lnTo>
                  <a:close/>
                  <a:moveTo>
                    <a:pt x="6107" y="14240"/>
                  </a:moveTo>
                  <a:cubicBezTo>
                    <a:pt x="5886" y="14130"/>
                    <a:pt x="5886" y="14130"/>
                    <a:pt x="5886" y="14130"/>
                  </a:cubicBezTo>
                  <a:cubicBezTo>
                    <a:pt x="5812" y="14329"/>
                    <a:pt x="5812" y="14329"/>
                    <a:pt x="5812" y="14329"/>
                  </a:cubicBezTo>
                  <a:cubicBezTo>
                    <a:pt x="6025" y="14503"/>
                    <a:pt x="6025" y="14503"/>
                    <a:pt x="6025" y="14503"/>
                  </a:cubicBezTo>
                  <a:cubicBezTo>
                    <a:pt x="6105" y="14246"/>
                    <a:pt x="6105" y="14246"/>
                    <a:pt x="6105" y="14246"/>
                  </a:cubicBezTo>
                  <a:lnTo>
                    <a:pt x="6107" y="14240"/>
                  </a:lnTo>
                  <a:close/>
                  <a:moveTo>
                    <a:pt x="6017" y="14477"/>
                  </a:moveTo>
                  <a:cubicBezTo>
                    <a:pt x="5830" y="14324"/>
                    <a:pt x="5830" y="14324"/>
                    <a:pt x="5830" y="14324"/>
                  </a:cubicBezTo>
                  <a:cubicBezTo>
                    <a:pt x="5894" y="14150"/>
                    <a:pt x="5894" y="14150"/>
                    <a:pt x="5894" y="14150"/>
                  </a:cubicBezTo>
                  <a:cubicBezTo>
                    <a:pt x="6089" y="14247"/>
                    <a:pt x="6089" y="14247"/>
                    <a:pt x="6089" y="14247"/>
                  </a:cubicBezTo>
                  <a:lnTo>
                    <a:pt x="6017" y="14477"/>
                  </a:lnTo>
                  <a:close/>
                  <a:moveTo>
                    <a:pt x="5996" y="14353"/>
                  </a:moveTo>
                  <a:cubicBezTo>
                    <a:pt x="6030" y="14279"/>
                    <a:pt x="6030" y="14279"/>
                    <a:pt x="6030" y="14279"/>
                  </a:cubicBezTo>
                  <a:cubicBezTo>
                    <a:pt x="6033" y="14273"/>
                    <a:pt x="6033" y="14273"/>
                    <a:pt x="6033" y="14273"/>
                  </a:cubicBezTo>
                  <a:cubicBezTo>
                    <a:pt x="5914" y="14207"/>
                    <a:pt x="5914" y="14207"/>
                    <a:pt x="5914" y="14207"/>
                  </a:cubicBezTo>
                  <a:cubicBezTo>
                    <a:pt x="5878" y="14312"/>
                    <a:pt x="5878" y="14312"/>
                    <a:pt x="5878" y="14312"/>
                  </a:cubicBezTo>
                  <a:lnTo>
                    <a:pt x="5996" y="14353"/>
                  </a:lnTo>
                  <a:close/>
                  <a:moveTo>
                    <a:pt x="5922" y="14229"/>
                  </a:moveTo>
                  <a:cubicBezTo>
                    <a:pt x="6014" y="14279"/>
                    <a:pt x="6014" y="14279"/>
                    <a:pt x="6014" y="14279"/>
                  </a:cubicBezTo>
                  <a:cubicBezTo>
                    <a:pt x="5988" y="14335"/>
                    <a:pt x="5988" y="14335"/>
                    <a:pt x="5988" y="14335"/>
                  </a:cubicBezTo>
                  <a:cubicBezTo>
                    <a:pt x="5897" y="14303"/>
                    <a:pt x="5897" y="14303"/>
                    <a:pt x="5897" y="14303"/>
                  </a:cubicBezTo>
                  <a:lnTo>
                    <a:pt x="5922" y="14229"/>
                  </a:lnTo>
                  <a:close/>
                  <a:moveTo>
                    <a:pt x="5798" y="14495"/>
                  </a:moveTo>
                  <a:cubicBezTo>
                    <a:pt x="5805" y="14489"/>
                    <a:pt x="5805" y="14489"/>
                    <a:pt x="5805" y="14489"/>
                  </a:cubicBezTo>
                  <a:cubicBezTo>
                    <a:pt x="5511" y="14230"/>
                    <a:pt x="5511" y="14230"/>
                    <a:pt x="5511" y="14230"/>
                  </a:cubicBezTo>
                  <a:cubicBezTo>
                    <a:pt x="5484" y="14189"/>
                    <a:pt x="5484" y="14189"/>
                    <a:pt x="5484" y="14189"/>
                  </a:cubicBezTo>
                  <a:cubicBezTo>
                    <a:pt x="5195" y="14380"/>
                    <a:pt x="5195" y="14380"/>
                    <a:pt x="5195" y="14380"/>
                  </a:cubicBezTo>
                  <a:cubicBezTo>
                    <a:pt x="5456" y="14771"/>
                    <a:pt x="5456" y="14771"/>
                    <a:pt x="5456" y="14771"/>
                  </a:cubicBezTo>
                  <a:lnTo>
                    <a:pt x="5798" y="14495"/>
                  </a:lnTo>
                  <a:close/>
                  <a:moveTo>
                    <a:pt x="5480" y="14210"/>
                  </a:moveTo>
                  <a:cubicBezTo>
                    <a:pt x="5499" y="14240"/>
                    <a:pt x="5499" y="14240"/>
                    <a:pt x="5499" y="14240"/>
                  </a:cubicBezTo>
                  <a:cubicBezTo>
                    <a:pt x="5782" y="14489"/>
                    <a:pt x="5782" y="14489"/>
                    <a:pt x="5782" y="14489"/>
                  </a:cubicBezTo>
                  <a:cubicBezTo>
                    <a:pt x="5459" y="14749"/>
                    <a:pt x="5459" y="14749"/>
                    <a:pt x="5459" y="14749"/>
                  </a:cubicBezTo>
                  <a:cubicBezTo>
                    <a:pt x="5215" y="14385"/>
                    <a:pt x="5215" y="14385"/>
                    <a:pt x="5215" y="14385"/>
                  </a:cubicBezTo>
                  <a:lnTo>
                    <a:pt x="5480" y="14210"/>
                  </a:lnTo>
                  <a:close/>
                  <a:moveTo>
                    <a:pt x="5641" y="14500"/>
                  </a:moveTo>
                  <a:cubicBezTo>
                    <a:pt x="5648" y="14495"/>
                    <a:pt x="5648" y="14495"/>
                    <a:pt x="5648" y="14495"/>
                  </a:cubicBezTo>
                  <a:cubicBezTo>
                    <a:pt x="5457" y="14311"/>
                    <a:pt x="5457" y="14311"/>
                    <a:pt x="5457" y="14311"/>
                  </a:cubicBezTo>
                  <a:cubicBezTo>
                    <a:pt x="5324" y="14407"/>
                    <a:pt x="5324" y="14407"/>
                    <a:pt x="5324" y="14407"/>
                  </a:cubicBezTo>
                  <a:cubicBezTo>
                    <a:pt x="5487" y="14616"/>
                    <a:pt x="5487" y="14616"/>
                    <a:pt x="5487" y="14616"/>
                  </a:cubicBezTo>
                  <a:lnTo>
                    <a:pt x="5641" y="14500"/>
                  </a:lnTo>
                  <a:close/>
                  <a:moveTo>
                    <a:pt x="5456" y="14330"/>
                  </a:moveTo>
                  <a:cubicBezTo>
                    <a:pt x="5626" y="14493"/>
                    <a:pt x="5626" y="14493"/>
                    <a:pt x="5626" y="14493"/>
                  </a:cubicBezTo>
                  <a:cubicBezTo>
                    <a:pt x="5490" y="14595"/>
                    <a:pt x="5490" y="14595"/>
                    <a:pt x="5490" y="14595"/>
                  </a:cubicBezTo>
                  <a:cubicBezTo>
                    <a:pt x="5345" y="14410"/>
                    <a:pt x="5345" y="14410"/>
                    <a:pt x="5345" y="14410"/>
                  </a:cubicBezTo>
                  <a:lnTo>
                    <a:pt x="5456" y="14330"/>
                  </a:lnTo>
                  <a:close/>
                  <a:moveTo>
                    <a:pt x="5398" y="14813"/>
                  </a:moveTo>
                  <a:cubicBezTo>
                    <a:pt x="5404" y="14809"/>
                    <a:pt x="5404" y="14809"/>
                    <a:pt x="5404" y="14809"/>
                  </a:cubicBezTo>
                  <a:cubicBezTo>
                    <a:pt x="5161" y="14428"/>
                    <a:pt x="5161" y="14428"/>
                    <a:pt x="5161" y="14428"/>
                  </a:cubicBezTo>
                  <a:cubicBezTo>
                    <a:pt x="4758" y="14641"/>
                    <a:pt x="4758" y="14641"/>
                    <a:pt x="4758" y="14641"/>
                  </a:cubicBezTo>
                  <a:cubicBezTo>
                    <a:pt x="5057" y="15070"/>
                    <a:pt x="5057" y="15070"/>
                    <a:pt x="5057" y="15070"/>
                  </a:cubicBezTo>
                  <a:lnTo>
                    <a:pt x="5398" y="14813"/>
                  </a:lnTo>
                  <a:close/>
                  <a:moveTo>
                    <a:pt x="5156" y="14447"/>
                  </a:moveTo>
                  <a:cubicBezTo>
                    <a:pt x="5384" y="14806"/>
                    <a:pt x="5384" y="14806"/>
                    <a:pt x="5384" y="14806"/>
                  </a:cubicBezTo>
                  <a:cubicBezTo>
                    <a:pt x="5060" y="15049"/>
                    <a:pt x="5060" y="15049"/>
                    <a:pt x="5060" y="15049"/>
                  </a:cubicBezTo>
                  <a:cubicBezTo>
                    <a:pt x="4779" y="14646"/>
                    <a:pt x="4779" y="14646"/>
                    <a:pt x="4779" y="14646"/>
                  </a:cubicBezTo>
                  <a:lnTo>
                    <a:pt x="5156" y="14447"/>
                  </a:lnTo>
                  <a:close/>
                  <a:moveTo>
                    <a:pt x="5244" y="14797"/>
                  </a:moveTo>
                  <a:cubicBezTo>
                    <a:pt x="5108" y="14576"/>
                    <a:pt x="5108" y="14576"/>
                    <a:pt x="5108" y="14576"/>
                  </a:cubicBezTo>
                  <a:cubicBezTo>
                    <a:pt x="5104" y="14571"/>
                    <a:pt x="5104" y="14571"/>
                    <a:pt x="5104" y="14571"/>
                  </a:cubicBezTo>
                  <a:cubicBezTo>
                    <a:pt x="4930" y="14660"/>
                    <a:pt x="4930" y="14660"/>
                    <a:pt x="4930" y="14660"/>
                  </a:cubicBezTo>
                  <a:cubicBezTo>
                    <a:pt x="5089" y="14898"/>
                    <a:pt x="5089" y="14898"/>
                    <a:pt x="5089" y="14898"/>
                  </a:cubicBezTo>
                  <a:lnTo>
                    <a:pt x="5244" y="14797"/>
                  </a:lnTo>
                  <a:close/>
                  <a:moveTo>
                    <a:pt x="5099" y="14590"/>
                  </a:moveTo>
                  <a:cubicBezTo>
                    <a:pt x="5224" y="14793"/>
                    <a:pt x="5224" y="14793"/>
                    <a:pt x="5224" y="14793"/>
                  </a:cubicBezTo>
                  <a:cubicBezTo>
                    <a:pt x="5093" y="14878"/>
                    <a:pt x="5093" y="14878"/>
                    <a:pt x="5093" y="14878"/>
                  </a:cubicBezTo>
                  <a:cubicBezTo>
                    <a:pt x="4951" y="14666"/>
                    <a:pt x="4951" y="14666"/>
                    <a:pt x="4951" y="14666"/>
                  </a:cubicBezTo>
                  <a:lnTo>
                    <a:pt x="5099" y="14590"/>
                  </a:lnTo>
                  <a:close/>
                  <a:moveTo>
                    <a:pt x="4713" y="14673"/>
                  </a:moveTo>
                  <a:cubicBezTo>
                    <a:pt x="4327" y="14890"/>
                    <a:pt x="4327" y="14890"/>
                    <a:pt x="4327" y="14890"/>
                  </a:cubicBezTo>
                  <a:cubicBezTo>
                    <a:pt x="4581" y="15332"/>
                    <a:pt x="4581" y="15332"/>
                    <a:pt x="4581" y="15332"/>
                  </a:cubicBezTo>
                  <a:cubicBezTo>
                    <a:pt x="4988" y="15101"/>
                    <a:pt x="4988" y="15101"/>
                    <a:pt x="4988" y="15101"/>
                  </a:cubicBezTo>
                  <a:cubicBezTo>
                    <a:pt x="4995" y="15097"/>
                    <a:pt x="4995" y="15097"/>
                    <a:pt x="4995" y="15097"/>
                  </a:cubicBezTo>
                  <a:lnTo>
                    <a:pt x="4713" y="14673"/>
                  </a:lnTo>
                  <a:close/>
                  <a:moveTo>
                    <a:pt x="4586" y="15312"/>
                  </a:moveTo>
                  <a:cubicBezTo>
                    <a:pt x="4347" y="14895"/>
                    <a:pt x="4347" y="14895"/>
                    <a:pt x="4347" y="14895"/>
                  </a:cubicBezTo>
                  <a:cubicBezTo>
                    <a:pt x="4708" y="14693"/>
                    <a:pt x="4708" y="14693"/>
                    <a:pt x="4708" y="14693"/>
                  </a:cubicBezTo>
                  <a:cubicBezTo>
                    <a:pt x="4974" y="15092"/>
                    <a:pt x="4974" y="15092"/>
                    <a:pt x="4974" y="15092"/>
                  </a:cubicBezTo>
                  <a:lnTo>
                    <a:pt x="4586" y="15312"/>
                  </a:lnTo>
                  <a:close/>
                  <a:moveTo>
                    <a:pt x="4669" y="14832"/>
                  </a:moveTo>
                  <a:cubicBezTo>
                    <a:pt x="4494" y="14922"/>
                    <a:pt x="4494" y="14922"/>
                    <a:pt x="4494" y="14922"/>
                  </a:cubicBezTo>
                  <a:cubicBezTo>
                    <a:pt x="4633" y="15154"/>
                    <a:pt x="4633" y="15154"/>
                    <a:pt x="4633" y="15154"/>
                  </a:cubicBezTo>
                  <a:cubicBezTo>
                    <a:pt x="4810" y="15060"/>
                    <a:pt x="4810" y="15060"/>
                    <a:pt x="4810" y="15060"/>
                  </a:cubicBezTo>
                  <a:cubicBezTo>
                    <a:pt x="4673" y="14838"/>
                    <a:pt x="4673" y="14838"/>
                    <a:pt x="4673" y="14838"/>
                  </a:cubicBezTo>
                  <a:lnTo>
                    <a:pt x="4669" y="14832"/>
                  </a:lnTo>
                  <a:close/>
                  <a:moveTo>
                    <a:pt x="4639" y="15134"/>
                  </a:moveTo>
                  <a:cubicBezTo>
                    <a:pt x="4515" y="14928"/>
                    <a:pt x="4515" y="14928"/>
                    <a:pt x="4515" y="14928"/>
                  </a:cubicBezTo>
                  <a:cubicBezTo>
                    <a:pt x="4664" y="14851"/>
                    <a:pt x="4664" y="14851"/>
                    <a:pt x="4664" y="14851"/>
                  </a:cubicBezTo>
                  <a:cubicBezTo>
                    <a:pt x="4789" y="15055"/>
                    <a:pt x="4789" y="15055"/>
                    <a:pt x="4789" y="15055"/>
                  </a:cubicBezTo>
                  <a:lnTo>
                    <a:pt x="4639" y="15134"/>
                  </a:lnTo>
                  <a:close/>
                  <a:moveTo>
                    <a:pt x="4088" y="15024"/>
                  </a:moveTo>
                  <a:cubicBezTo>
                    <a:pt x="4158" y="15130"/>
                    <a:pt x="4158" y="15130"/>
                    <a:pt x="4158" y="15130"/>
                  </a:cubicBezTo>
                  <a:cubicBezTo>
                    <a:pt x="4242" y="15090"/>
                    <a:pt x="4242" y="15090"/>
                    <a:pt x="4242" y="15090"/>
                  </a:cubicBezTo>
                  <a:cubicBezTo>
                    <a:pt x="4287" y="15162"/>
                    <a:pt x="4287" y="15162"/>
                    <a:pt x="4287" y="15162"/>
                  </a:cubicBezTo>
                  <a:cubicBezTo>
                    <a:pt x="4362" y="15115"/>
                    <a:pt x="4362" y="15115"/>
                    <a:pt x="4362" y="15115"/>
                  </a:cubicBezTo>
                  <a:cubicBezTo>
                    <a:pt x="4368" y="15111"/>
                    <a:pt x="4368" y="15111"/>
                    <a:pt x="4368" y="15111"/>
                  </a:cubicBezTo>
                  <a:cubicBezTo>
                    <a:pt x="4267" y="14933"/>
                    <a:pt x="4267" y="14933"/>
                    <a:pt x="4267" y="14933"/>
                  </a:cubicBezTo>
                  <a:lnTo>
                    <a:pt x="4088" y="15024"/>
                  </a:lnTo>
                  <a:close/>
                  <a:moveTo>
                    <a:pt x="4292" y="15142"/>
                  </a:moveTo>
                  <a:cubicBezTo>
                    <a:pt x="4248" y="15071"/>
                    <a:pt x="4248" y="15071"/>
                    <a:pt x="4248" y="15071"/>
                  </a:cubicBezTo>
                  <a:cubicBezTo>
                    <a:pt x="4163" y="15111"/>
                    <a:pt x="4163" y="15111"/>
                    <a:pt x="4163" y="15111"/>
                  </a:cubicBezTo>
                  <a:cubicBezTo>
                    <a:pt x="4109" y="15030"/>
                    <a:pt x="4109" y="15030"/>
                    <a:pt x="4109" y="15030"/>
                  </a:cubicBezTo>
                  <a:cubicBezTo>
                    <a:pt x="4262" y="14953"/>
                    <a:pt x="4262" y="14953"/>
                    <a:pt x="4262" y="14953"/>
                  </a:cubicBezTo>
                  <a:cubicBezTo>
                    <a:pt x="4348" y="15106"/>
                    <a:pt x="4348" y="15106"/>
                    <a:pt x="4348" y="15106"/>
                  </a:cubicBezTo>
                  <a:lnTo>
                    <a:pt x="4292" y="15142"/>
                  </a:lnTo>
                  <a:close/>
                  <a:moveTo>
                    <a:pt x="5119" y="15478"/>
                  </a:moveTo>
                  <a:cubicBezTo>
                    <a:pt x="5120" y="15598"/>
                    <a:pt x="5120" y="15598"/>
                    <a:pt x="5120" y="15598"/>
                  </a:cubicBezTo>
                  <a:cubicBezTo>
                    <a:pt x="5433" y="15508"/>
                    <a:pt x="5433" y="15508"/>
                    <a:pt x="5433" y="15508"/>
                  </a:cubicBezTo>
                  <a:cubicBezTo>
                    <a:pt x="5368" y="15150"/>
                    <a:pt x="5368" y="15150"/>
                    <a:pt x="5368" y="15150"/>
                  </a:cubicBezTo>
                  <a:cubicBezTo>
                    <a:pt x="5367" y="15144"/>
                    <a:pt x="5367" y="15144"/>
                    <a:pt x="5367" y="15144"/>
                  </a:cubicBezTo>
                  <a:cubicBezTo>
                    <a:pt x="5094" y="15156"/>
                    <a:pt x="5094" y="15156"/>
                    <a:pt x="5094" y="15156"/>
                  </a:cubicBezTo>
                  <a:cubicBezTo>
                    <a:pt x="4997" y="15286"/>
                    <a:pt x="4997" y="15286"/>
                    <a:pt x="4997" y="15286"/>
                  </a:cubicBezTo>
                  <a:cubicBezTo>
                    <a:pt x="5003" y="15506"/>
                    <a:pt x="5003" y="15506"/>
                    <a:pt x="5003" y="15506"/>
                  </a:cubicBezTo>
                  <a:lnTo>
                    <a:pt x="5119" y="15478"/>
                  </a:lnTo>
                  <a:close/>
                  <a:moveTo>
                    <a:pt x="5102" y="15170"/>
                  </a:moveTo>
                  <a:cubicBezTo>
                    <a:pt x="5355" y="15159"/>
                    <a:pt x="5355" y="15159"/>
                    <a:pt x="5355" y="15159"/>
                  </a:cubicBezTo>
                  <a:cubicBezTo>
                    <a:pt x="5416" y="15498"/>
                    <a:pt x="5416" y="15498"/>
                    <a:pt x="5416" y="15498"/>
                  </a:cubicBezTo>
                  <a:cubicBezTo>
                    <a:pt x="5135" y="15578"/>
                    <a:pt x="5135" y="15578"/>
                    <a:pt x="5135" y="15578"/>
                  </a:cubicBezTo>
                  <a:cubicBezTo>
                    <a:pt x="5134" y="15460"/>
                    <a:pt x="5134" y="15460"/>
                    <a:pt x="5134" y="15460"/>
                  </a:cubicBezTo>
                  <a:cubicBezTo>
                    <a:pt x="5017" y="15487"/>
                    <a:pt x="5017" y="15487"/>
                    <a:pt x="5017" y="15487"/>
                  </a:cubicBezTo>
                  <a:cubicBezTo>
                    <a:pt x="5012" y="15290"/>
                    <a:pt x="5012" y="15290"/>
                    <a:pt x="5012" y="15290"/>
                  </a:cubicBezTo>
                  <a:lnTo>
                    <a:pt x="5102" y="15170"/>
                  </a:lnTo>
                  <a:close/>
                  <a:moveTo>
                    <a:pt x="4875" y="16039"/>
                  </a:moveTo>
                  <a:cubicBezTo>
                    <a:pt x="5052" y="16037"/>
                    <a:pt x="5052" y="16037"/>
                    <a:pt x="5052" y="16037"/>
                  </a:cubicBezTo>
                  <a:cubicBezTo>
                    <a:pt x="5075" y="15546"/>
                    <a:pt x="5075" y="15546"/>
                    <a:pt x="5075" y="15546"/>
                  </a:cubicBezTo>
                  <a:cubicBezTo>
                    <a:pt x="5076" y="15536"/>
                    <a:pt x="5076" y="15536"/>
                    <a:pt x="5076" y="15536"/>
                  </a:cubicBezTo>
                  <a:cubicBezTo>
                    <a:pt x="4963" y="15562"/>
                    <a:pt x="4963" y="15562"/>
                    <a:pt x="4963" y="15562"/>
                  </a:cubicBezTo>
                  <a:cubicBezTo>
                    <a:pt x="4932" y="15434"/>
                    <a:pt x="4932" y="15434"/>
                    <a:pt x="4932" y="15434"/>
                  </a:cubicBezTo>
                  <a:cubicBezTo>
                    <a:pt x="4726" y="15529"/>
                    <a:pt x="4726" y="15529"/>
                    <a:pt x="4726" y="15529"/>
                  </a:cubicBezTo>
                  <a:cubicBezTo>
                    <a:pt x="4766" y="15752"/>
                    <a:pt x="4766" y="15752"/>
                    <a:pt x="4766" y="15752"/>
                  </a:cubicBezTo>
                  <a:cubicBezTo>
                    <a:pt x="4873" y="15767"/>
                    <a:pt x="4873" y="15767"/>
                    <a:pt x="4873" y="15767"/>
                  </a:cubicBezTo>
                  <a:lnTo>
                    <a:pt x="4875" y="16039"/>
                  </a:lnTo>
                  <a:close/>
                  <a:moveTo>
                    <a:pt x="4742" y="15538"/>
                  </a:moveTo>
                  <a:cubicBezTo>
                    <a:pt x="4922" y="15455"/>
                    <a:pt x="4922" y="15455"/>
                    <a:pt x="4922" y="15455"/>
                  </a:cubicBezTo>
                  <a:cubicBezTo>
                    <a:pt x="4952" y="15580"/>
                    <a:pt x="4952" y="15580"/>
                    <a:pt x="4952" y="15580"/>
                  </a:cubicBezTo>
                  <a:cubicBezTo>
                    <a:pt x="5060" y="15555"/>
                    <a:pt x="5060" y="15555"/>
                    <a:pt x="5060" y="15555"/>
                  </a:cubicBezTo>
                  <a:cubicBezTo>
                    <a:pt x="5038" y="16022"/>
                    <a:pt x="5038" y="16022"/>
                    <a:pt x="5038" y="16022"/>
                  </a:cubicBezTo>
                  <a:cubicBezTo>
                    <a:pt x="4890" y="16024"/>
                    <a:pt x="4890" y="16024"/>
                    <a:pt x="4890" y="16024"/>
                  </a:cubicBezTo>
                  <a:cubicBezTo>
                    <a:pt x="4888" y="15755"/>
                    <a:pt x="4888" y="15755"/>
                    <a:pt x="4888" y="15755"/>
                  </a:cubicBezTo>
                  <a:cubicBezTo>
                    <a:pt x="4779" y="15739"/>
                    <a:pt x="4779" y="15739"/>
                    <a:pt x="4779" y="15739"/>
                  </a:cubicBezTo>
                  <a:lnTo>
                    <a:pt x="4742" y="15538"/>
                  </a:lnTo>
                  <a:close/>
                  <a:moveTo>
                    <a:pt x="5600" y="13950"/>
                  </a:moveTo>
                  <a:cubicBezTo>
                    <a:pt x="5632" y="13644"/>
                    <a:pt x="5632" y="13644"/>
                    <a:pt x="5632" y="13644"/>
                  </a:cubicBezTo>
                  <a:cubicBezTo>
                    <a:pt x="5633" y="13637"/>
                    <a:pt x="5633" y="13637"/>
                    <a:pt x="5633" y="13637"/>
                  </a:cubicBezTo>
                  <a:cubicBezTo>
                    <a:pt x="5385" y="13593"/>
                    <a:pt x="5385" y="13593"/>
                    <a:pt x="5385" y="13593"/>
                  </a:cubicBezTo>
                  <a:cubicBezTo>
                    <a:pt x="5270" y="13839"/>
                    <a:pt x="5270" y="13839"/>
                    <a:pt x="5270" y="13839"/>
                  </a:cubicBezTo>
                  <a:cubicBezTo>
                    <a:pt x="5031" y="14009"/>
                    <a:pt x="5031" y="14009"/>
                    <a:pt x="5031" y="14009"/>
                  </a:cubicBezTo>
                  <a:cubicBezTo>
                    <a:pt x="5161" y="14274"/>
                    <a:pt x="5161" y="14274"/>
                    <a:pt x="5161" y="14274"/>
                  </a:cubicBezTo>
                  <a:lnTo>
                    <a:pt x="5600" y="13950"/>
                  </a:lnTo>
                  <a:close/>
                  <a:moveTo>
                    <a:pt x="5281" y="13849"/>
                  </a:moveTo>
                  <a:cubicBezTo>
                    <a:pt x="5394" y="13609"/>
                    <a:pt x="5394" y="13609"/>
                    <a:pt x="5394" y="13609"/>
                  </a:cubicBezTo>
                  <a:cubicBezTo>
                    <a:pt x="5617" y="13649"/>
                    <a:pt x="5617" y="13649"/>
                    <a:pt x="5617" y="13649"/>
                  </a:cubicBezTo>
                  <a:cubicBezTo>
                    <a:pt x="5586" y="13942"/>
                    <a:pt x="5586" y="13942"/>
                    <a:pt x="5586" y="13942"/>
                  </a:cubicBezTo>
                  <a:cubicBezTo>
                    <a:pt x="5166" y="14252"/>
                    <a:pt x="5166" y="14252"/>
                    <a:pt x="5166" y="14252"/>
                  </a:cubicBezTo>
                  <a:cubicBezTo>
                    <a:pt x="5050" y="14014"/>
                    <a:pt x="5050" y="14014"/>
                    <a:pt x="5050" y="14014"/>
                  </a:cubicBezTo>
                  <a:lnTo>
                    <a:pt x="5281" y="13849"/>
                  </a:lnTo>
                  <a:close/>
                  <a:moveTo>
                    <a:pt x="5487" y="13776"/>
                  </a:moveTo>
                  <a:cubicBezTo>
                    <a:pt x="5486" y="13771"/>
                    <a:pt x="5486" y="13771"/>
                    <a:pt x="5486" y="13771"/>
                  </a:cubicBezTo>
                  <a:cubicBezTo>
                    <a:pt x="5425" y="13767"/>
                    <a:pt x="5425" y="13767"/>
                    <a:pt x="5425" y="13767"/>
                  </a:cubicBezTo>
                  <a:cubicBezTo>
                    <a:pt x="5370" y="13895"/>
                    <a:pt x="5370" y="13895"/>
                    <a:pt x="5370" y="13895"/>
                  </a:cubicBezTo>
                  <a:cubicBezTo>
                    <a:pt x="5096" y="14014"/>
                    <a:pt x="5096" y="14014"/>
                    <a:pt x="5096" y="14014"/>
                  </a:cubicBezTo>
                  <a:cubicBezTo>
                    <a:pt x="5116" y="14070"/>
                    <a:pt x="5116" y="14070"/>
                    <a:pt x="5116" y="14070"/>
                  </a:cubicBezTo>
                  <a:cubicBezTo>
                    <a:pt x="5529" y="13950"/>
                    <a:pt x="5529" y="13950"/>
                    <a:pt x="5529" y="13950"/>
                  </a:cubicBezTo>
                  <a:lnTo>
                    <a:pt x="5487" y="13776"/>
                  </a:lnTo>
                  <a:close/>
                  <a:moveTo>
                    <a:pt x="5115" y="14023"/>
                  </a:moveTo>
                  <a:cubicBezTo>
                    <a:pt x="5381" y="13906"/>
                    <a:pt x="5381" y="13906"/>
                    <a:pt x="5381" y="13906"/>
                  </a:cubicBezTo>
                  <a:cubicBezTo>
                    <a:pt x="5434" y="13782"/>
                    <a:pt x="5434" y="13782"/>
                    <a:pt x="5434" y="13782"/>
                  </a:cubicBezTo>
                  <a:cubicBezTo>
                    <a:pt x="5474" y="13785"/>
                    <a:pt x="5474" y="13785"/>
                    <a:pt x="5474" y="13785"/>
                  </a:cubicBezTo>
                  <a:cubicBezTo>
                    <a:pt x="5511" y="13940"/>
                    <a:pt x="5511" y="13940"/>
                    <a:pt x="5511" y="13940"/>
                  </a:cubicBezTo>
                  <a:cubicBezTo>
                    <a:pt x="5125" y="14052"/>
                    <a:pt x="5125" y="14052"/>
                    <a:pt x="5125" y="14052"/>
                  </a:cubicBezTo>
                  <a:lnTo>
                    <a:pt x="5115" y="14023"/>
                  </a:lnTo>
                  <a:close/>
                  <a:moveTo>
                    <a:pt x="4964" y="14380"/>
                  </a:moveTo>
                  <a:cubicBezTo>
                    <a:pt x="4963" y="14306"/>
                    <a:pt x="4963" y="14306"/>
                    <a:pt x="4963" y="14306"/>
                  </a:cubicBezTo>
                  <a:cubicBezTo>
                    <a:pt x="5039" y="14266"/>
                    <a:pt x="5039" y="14266"/>
                    <a:pt x="5039" y="14266"/>
                  </a:cubicBezTo>
                  <a:cubicBezTo>
                    <a:pt x="4988" y="14199"/>
                    <a:pt x="4988" y="14199"/>
                    <a:pt x="4988" y="14199"/>
                  </a:cubicBezTo>
                  <a:cubicBezTo>
                    <a:pt x="4984" y="14195"/>
                    <a:pt x="4984" y="14195"/>
                    <a:pt x="4984" y="14195"/>
                  </a:cubicBezTo>
                  <a:cubicBezTo>
                    <a:pt x="4893" y="14228"/>
                    <a:pt x="4893" y="14228"/>
                    <a:pt x="4893" y="14228"/>
                  </a:cubicBezTo>
                  <a:cubicBezTo>
                    <a:pt x="4881" y="14314"/>
                    <a:pt x="4881" y="14314"/>
                    <a:pt x="4881" y="14314"/>
                  </a:cubicBezTo>
                  <a:cubicBezTo>
                    <a:pt x="4593" y="14436"/>
                    <a:pt x="4593" y="14436"/>
                    <a:pt x="4593" y="14436"/>
                  </a:cubicBezTo>
                  <a:cubicBezTo>
                    <a:pt x="4628" y="14583"/>
                    <a:pt x="4628" y="14583"/>
                    <a:pt x="4628" y="14583"/>
                  </a:cubicBezTo>
                  <a:lnTo>
                    <a:pt x="4964" y="14380"/>
                  </a:lnTo>
                  <a:close/>
                  <a:moveTo>
                    <a:pt x="4895" y="14325"/>
                  </a:moveTo>
                  <a:cubicBezTo>
                    <a:pt x="4906" y="14238"/>
                    <a:pt x="4906" y="14238"/>
                    <a:pt x="4906" y="14238"/>
                  </a:cubicBezTo>
                  <a:cubicBezTo>
                    <a:pt x="4979" y="14212"/>
                    <a:pt x="4979" y="14212"/>
                    <a:pt x="4979" y="14212"/>
                  </a:cubicBezTo>
                  <a:cubicBezTo>
                    <a:pt x="5016" y="14261"/>
                    <a:pt x="5016" y="14261"/>
                    <a:pt x="5016" y="14261"/>
                  </a:cubicBezTo>
                  <a:cubicBezTo>
                    <a:pt x="4949" y="14298"/>
                    <a:pt x="4949" y="14298"/>
                    <a:pt x="4949" y="14298"/>
                  </a:cubicBezTo>
                  <a:cubicBezTo>
                    <a:pt x="4949" y="14372"/>
                    <a:pt x="4949" y="14372"/>
                    <a:pt x="4949" y="14372"/>
                  </a:cubicBezTo>
                  <a:cubicBezTo>
                    <a:pt x="4638" y="14560"/>
                    <a:pt x="4638" y="14560"/>
                    <a:pt x="4638" y="14560"/>
                  </a:cubicBezTo>
                  <a:cubicBezTo>
                    <a:pt x="4610" y="14445"/>
                    <a:pt x="4610" y="14445"/>
                    <a:pt x="4610" y="14445"/>
                  </a:cubicBezTo>
                  <a:lnTo>
                    <a:pt x="4895" y="14325"/>
                  </a:lnTo>
                  <a:close/>
                  <a:moveTo>
                    <a:pt x="4472" y="14373"/>
                  </a:moveTo>
                  <a:cubicBezTo>
                    <a:pt x="4358" y="14429"/>
                    <a:pt x="4358" y="14429"/>
                    <a:pt x="4358" y="14429"/>
                  </a:cubicBezTo>
                  <a:cubicBezTo>
                    <a:pt x="4331" y="14417"/>
                    <a:pt x="4331" y="14417"/>
                    <a:pt x="4331" y="14417"/>
                  </a:cubicBezTo>
                  <a:cubicBezTo>
                    <a:pt x="3994" y="14819"/>
                    <a:pt x="3994" y="14819"/>
                    <a:pt x="3994" y="14819"/>
                  </a:cubicBezTo>
                  <a:cubicBezTo>
                    <a:pt x="4029" y="14911"/>
                    <a:pt x="4029" y="14911"/>
                    <a:pt x="4029" y="14911"/>
                  </a:cubicBezTo>
                  <a:cubicBezTo>
                    <a:pt x="4167" y="14825"/>
                    <a:pt x="4167" y="14825"/>
                    <a:pt x="4167" y="14825"/>
                  </a:cubicBezTo>
                  <a:cubicBezTo>
                    <a:pt x="4352" y="14552"/>
                    <a:pt x="4352" y="14552"/>
                    <a:pt x="4352" y="14552"/>
                  </a:cubicBezTo>
                  <a:cubicBezTo>
                    <a:pt x="4376" y="14591"/>
                    <a:pt x="4376" y="14591"/>
                    <a:pt x="4376" y="14591"/>
                  </a:cubicBezTo>
                  <a:cubicBezTo>
                    <a:pt x="4521" y="14527"/>
                    <a:pt x="4521" y="14527"/>
                    <a:pt x="4521" y="14527"/>
                  </a:cubicBezTo>
                  <a:cubicBezTo>
                    <a:pt x="4475" y="14381"/>
                    <a:pt x="4475" y="14381"/>
                    <a:pt x="4475" y="14381"/>
                  </a:cubicBezTo>
                  <a:lnTo>
                    <a:pt x="4472" y="14373"/>
                  </a:lnTo>
                  <a:close/>
                  <a:moveTo>
                    <a:pt x="4382" y="14572"/>
                  </a:moveTo>
                  <a:cubicBezTo>
                    <a:pt x="4352" y="14526"/>
                    <a:pt x="4352" y="14526"/>
                    <a:pt x="4352" y="14526"/>
                  </a:cubicBezTo>
                  <a:cubicBezTo>
                    <a:pt x="4156" y="14815"/>
                    <a:pt x="4156" y="14815"/>
                    <a:pt x="4156" y="14815"/>
                  </a:cubicBezTo>
                  <a:cubicBezTo>
                    <a:pt x="4037" y="14889"/>
                    <a:pt x="4037" y="14889"/>
                    <a:pt x="4037" y="14889"/>
                  </a:cubicBezTo>
                  <a:cubicBezTo>
                    <a:pt x="4011" y="14822"/>
                    <a:pt x="4011" y="14822"/>
                    <a:pt x="4011" y="14822"/>
                  </a:cubicBezTo>
                  <a:cubicBezTo>
                    <a:pt x="4335" y="14435"/>
                    <a:pt x="4335" y="14435"/>
                    <a:pt x="4335" y="14435"/>
                  </a:cubicBezTo>
                  <a:cubicBezTo>
                    <a:pt x="4359" y="14446"/>
                    <a:pt x="4359" y="14446"/>
                    <a:pt x="4359" y="14446"/>
                  </a:cubicBezTo>
                  <a:cubicBezTo>
                    <a:pt x="4463" y="14394"/>
                    <a:pt x="4463" y="14394"/>
                    <a:pt x="4463" y="14394"/>
                  </a:cubicBezTo>
                  <a:cubicBezTo>
                    <a:pt x="4503" y="14519"/>
                    <a:pt x="4503" y="14519"/>
                    <a:pt x="4503" y="14519"/>
                  </a:cubicBezTo>
                  <a:lnTo>
                    <a:pt x="4382" y="14572"/>
                  </a:lnTo>
                  <a:close/>
                  <a:moveTo>
                    <a:pt x="3820" y="14336"/>
                  </a:moveTo>
                  <a:cubicBezTo>
                    <a:pt x="4019" y="14387"/>
                    <a:pt x="4019" y="14387"/>
                    <a:pt x="4019" y="14387"/>
                  </a:cubicBezTo>
                  <a:cubicBezTo>
                    <a:pt x="4155" y="14340"/>
                    <a:pt x="4155" y="14340"/>
                    <a:pt x="4155" y="14340"/>
                  </a:cubicBezTo>
                  <a:cubicBezTo>
                    <a:pt x="4175" y="14333"/>
                    <a:pt x="4175" y="14333"/>
                    <a:pt x="4175" y="14333"/>
                  </a:cubicBezTo>
                  <a:cubicBezTo>
                    <a:pt x="3628" y="14143"/>
                    <a:pt x="3628" y="14143"/>
                    <a:pt x="3628" y="14143"/>
                  </a:cubicBezTo>
                  <a:cubicBezTo>
                    <a:pt x="3617" y="14240"/>
                    <a:pt x="3617" y="14240"/>
                    <a:pt x="3617" y="14240"/>
                  </a:cubicBezTo>
                  <a:cubicBezTo>
                    <a:pt x="3494" y="14202"/>
                    <a:pt x="3494" y="14202"/>
                    <a:pt x="3494" y="14202"/>
                  </a:cubicBezTo>
                  <a:cubicBezTo>
                    <a:pt x="3479" y="14319"/>
                    <a:pt x="3479" y="14319"/>
                    <a:pt x="3479" y="14319"/>
                  </a:cubicBezTo>
                  <a:cubicBezTo>
                    <a:pt x="3655" y="14365"/>
                    <a:pt x="3655" y="14365"/>
                    <a:pt x="3655" y="14365"/>
                  </a:cubicBezTo>
                  <a:lnTo>
                    <a:pt x="3820" y="14336"/>
                  </a:lnTo>
                  <a:close/>
                  <a:moveTo>
                    <a:pt x="3506" y="14222"/>
                  </a:moveTo>
                  <a:cubicBezTo>
                    <a:pt x="3630" y="14259"/>
                    <a:pt x="3630" y="14259"/>
                    <a:pt x="3630" y="14259"/>
                  </a:cubicBezTo>
                  <a:cubicBezTo>
                    <a:pt x="3640" y="14163"/>
                    <a:pt x="3640" y="14163"/>
                    <a:pt x="3640" y="14163"/>
                  </a:cubicBezTo>
                  <a:cubicBezTo>
                    <a:pt x="4130" y="14333"/>
                    <a:pt x="4130" y="14333"/>
                    <a:pt x="4130" y="14333"/>
                  </a:cubicBezTo>
                  <a:cubicBezTo>
                    <a:pt x="4018" y="14372"/>
                    <a:pt x="4018" y="14372"/>
                    <a:pt x="4018" y="14372"/>
                  </a:cubicBezTo>
                  <a:cubicBezTo>
                    <a:pt x="3821" y="14321"/>
                    <a:pt x="3821" y="14321"/>
                    <a:pt x="3821" y="14321"/>
                  </a:cubicBezTo>
                  <a:cubicBezTo>
                    <a:pt x="3656" y="14350"/>
                    <a:pt x="3656" y="14350"/>
                    <a:pt x="3656" y="14350"/>
                  </a:cubicBezTo>
                  <a:cubicBezTo>
                    <a:pt x="3495" y="14308"/>
                    <a:pt x="3495" y="14308"/>
                    <a:pt x="3495" y="14308"/>
                  </a:cubicBezTo>
                  <a:lnTo>
                    <a:pt x="3506" y="14222"/>
                  </a:lnTo>
                  <a:close/>
                  <a:moveTo>
                    <a:pt x="3892" y="14710"/>
                  </a:moveTo>
                  <a:cubicBezTo>
                    <a:pt x="4010" y="14549"/>
                    <a:pt x="4010" y="14549"/>
                    <a:pt x="4010" y="14549"/>
                  </a:cubicBezTo>
                  <a:cubicBezTo>
                    <a:pt x="4016" y="14541"/>
                    <a:pt x="4016" y="14541"/>
                    <a:pt x="4016" y="14541"/>
                  </a:cubicBezTo>
                  <a:cubicBezTo>
                    <a:pt x="3879" y="14503"/>
                    <a:pt x="3879" y="14503"/>
                    <a:pt x="3879" y="14503"/>
                  </a:cubicBezTo>
                  <a:cubicBezTo>
                    <a:pt x="3834" y="14715"/>
                    <a:pt x="3834" y="14715"/>
                    <a:pt x="3834" y="14715"/>
                  </a:cubicBezTo>
                  <a:lnTo>
                    <a:pt x="3892" y="14710"/>
                  </a:lnTo>
                  <a:close/>
                  <a:moveTo>
                    <a:pt x="3890" y="14521"/>
                  </a:moveTo>
                  <a:cubicBezTo>
                    <a:pt x="3991" y="14549"/>
                    <a:pt x="3991" y="14549"/>
                    <a:pt x="3991" y="14549"/>
                  </a:cubicBezTo>
                  <a:cubicBezTo>
                    <a:pt x="3885" y="14696"/>
                    <a:pt x="3885" y="14696"/>
                    <a:pt x="3885" y="14696"/>
                  </a:cubicBezTo>
                  <a:cubicBezTo>
                    <a:pt x="3852" y="14698"/>
                    <a:pt x="3852" y="14698"/>
                    <a:pt x="3852" y="14698"/>
                  </a:cubicBezTo>
                  <a:lnTo>
                    <a:pt x="3890" y="14521"/>
                  </a:lnTo>
                  <a:close/>
                  <a:moveTo>
                    <a:pt x="3576" y="14523"/>
                  </a:moveTo>
                  <a:cubicBezTo>
                    <a:pt x="3768" y="14562"/>
                    <a:pt x="3768" y="14562"/>
                    <a:pt x="3768" y="14562"/>
                  </a:cubicBezTo>
                  <a:cubicBezTo>
                    <a:pt x="3778" y="14493"/>
                    <a:pt x="3778" y="14493"/>
                    <a:pt x="3778" y="14493"/>
                  </a:cubicBezTo>
                  <a:cubicBezTo>
                    <a:pt x="3779" y="14486"/>
                    <a:pt x="3779" y="14486"/>
                    <a:pt x="3779" y="14486"/>
                  </a:cubicBezTo>
                  <a:cubicBezTo>
                    <a:pt x="3449" y="14407"/>
                    <a:pt x="3449" y="14407"/>
                    <a:pt x="3449" y="14407"/>
                  </a:cubicBezTo>
                  <a:cubicBezTo>
                    <a:pt x="3417" y="14690"/>
                    <a:pt x="3417" y="14690"/>
                    <a:pt x="3417" y="14690"/>
                  </a:cubicBezTo>
                  <a:cubicBezTo>
                    <a:pt x="3556" y="14699"/>
                    <a:pt x="3556" y="14699"/>
                    <a:pt x="3556" y="14699"/>
                  </a:cubicBezTo>
                  <a:lnTo>
                    <a:pt x="3576" y="14523"/>
                  </a:lnTo>
                  <a:close/>
                  <a:moveTo>
                    <a:pt x="3434" y="14677"/>
                  </a:moveTo>
                  <a:cubicBezTo>
                    <a:pt x="3462" y="14425"/>
                    <a:pt x="3462" y="14425"/>
                    <a:pt x="3462" y="14425"/>
                  </a:cubicBezTo>
                  <a:cubicBezTo>
                    <a:pt x="3762" y="14497"/>
                    <a:pt x="3762" y="14497"/>
                    <a:pt x="3762" y="14497"/>
                  </a:cubicBezTo>
                  <a:cubicBezTo>
                    <a:pt x="3755" y="14545"/>
                    <a:pt x="3755" y="14545"/>
                    <a:pt x="3755" y="14545"/>
                  </a:cubicBezTo>
                  <a:cubicBezTo>
                    <a:pt x="3564" y="14506"/>
                    <a:pt x="3564" y="14506"/>
                    <a:pt x="3564" y="14506"/>
                  </a:cubicBezTo>
                  <a:cubicBezTo>
                    <a:pt x="3543" y="14684"/>
                    <a:pt x="3543" y="14684"/>
                    <a:pt x="3543" y="14684"/>
                  </a:cubicBezTo>
                  <a:lnTo>
                    <a:pt x="3434" y="14677"/>
                  </a:lnTo>
                  <a:close/>
                  <a:moveTo>
                    <a:pt x="3045" y="12405"/>
                  </a:moveTo>
                  <a:cubicBezTo>
                    <a:pt x="3226" y="12473"/>
                    <a:pt x="3226" y="12473"/>
                    <a:pt x="3226" y="12473"/>
                  </a:cubicBezTo>
                  <a:cubicBezTo>
                    <a:pt x="3293" y="12330"/>
                    <a:pt x="3293" y="12330"/>
                    <a:pt x="3293" y="12330"/>
                  </a:cubicBezTo>
                  <a:cubicBezTo>
                    <a:pt x="3297" y="12319"/>
                    <a:pt x="3297" y="12319"/>
                    <a:pt x="3297" y="12319"/>
                  </a:cubicBezTo>
                  <a:cubicBezTo>
                    <a:pt x="3092" y="12315"/>
                    <a:pt x="3092" y="12315"/>
                    <a:pt x="3092" y="12315"/>
                  </a:cubicBezTo>
                  <a:lnTo>
                    <a:pt x="3045" y="12405"/>
                  </a:lnTo>
                  <a:close/>
                  <a:moveTo>
                    <a:pt x="3274" y="12334"/>
                  </a:moveTo>
                  <a:cubicBezTo>
                    <a:pt x="3219" y="12454"/>
                    <a:pt x="3219" y="12454"/>
                    <a:pt x="3219" y="12454"/>
                  </a:cubicBezTo>
                  <a:cubicBezTo>
                    <a:pt x="3066" y="12397"/>
                    <a:pt x="3066" y="12397"/>
                    <a:pt x="3066" y="12397"/>
                  </a:cubicBezTo>
                  <a:cubicBezTo>
                    <a:pt x="3101" y="12330"/>
                    <a:pt x="3101" y="12330"/>
                    <a:pt x="3101" y="12330"/>
                  </a:cubicBezTo>
                  <a:lnTo>
                    <a:pt x="3274" y="12334"/>
                  </a:lnTo>
                  <a:close/>
                  <a:moveTo>
                    <a:pt x="3209" y="12938"/>
                  </a:moveTo>
                  <a:cubicBezTo>
                    <a:pt x="3209" y="12938"/>
                    <a:pt x="3286" y="12946"/>
                    <a:pt x="3315" y="12948"/>
                  </a:cubicBezTo>
                  <a:cubicBezTo>
                    <a:pt x="3291" y="13006"/>
                    <a:pt x="3233" y="13064"/>
                    <a:pt x="3180" y="13107"/>
                  </a:cubicBezTo>
                  <a:cubicBezTo>
                    <a:pt x="3123" y="13153"/>
                    <a:pt x="3072" y="13182"/>
                    <a:pt x="3072" y="13182"/>
                  </a:cubicBezTo>
                  <a:cubicBezTo>
                    <a:pt x="3069" y="13184"/>
                    <a:pt x="3068" y="13188"/>
                    <a:pt x="3070" y="13192"/>
                  </a:cubicBezTo>
                  <a:cubicBezTo>
                    <a:pt x="3086" y="13221"/>
                    <a:pt x="3086" y="13221"/>
                    <a:pt x="3086" y="13221"/>
                  </a:cubicBezTo>
                  <a:cubicBezTo>
                    <a:pt x="3087" y="13224"/>
                    <a:pt x="3090" y="13225"/>
                    <a:pt x="3092" y="13225"/>
                  </a:cubicBezTo>
                  <a:cubicBezTo>
                    <a:pt x="3093" y="13225"/>
                    <a:pt x="3093" y="13225"/>
                    <a:pt x="3094" y="13225"/>
                  </a:cubicBezTo>
                  <a:cubicBezTo>
                    <a:pt x="3094" y="13224"/>
                    <a:pt x="3391" y="13164"/>
                    <a:pt x="3483" y="13058"/>
                  </a:cubicBezTo>
                  <a:cubicBezTo>
                    <a:pt x="3529" y="13004"/>
                    <a:pt x="3548" y="12953"/>
                    <a:pt x="3548" y="12907"/>
                  </a:cubicBezTo>
                  <a:cubicBezTo>
                    <a:pt x="3548" y="12863"/>
                    <a:pt x="3530" y="12825"/>
                    <a:pt x="3504" y="12794"/>
                  </a:cubicBezTo>
                  <a:cubicBezTo>
                    <a:pt x="3450" y="12731"/>
                    <a:pt x="3346" y="12658"/>
                    <a:pt x="3346" y="12658"/>
                  </a:cubicBezTo>
                  <a:cubicBezTo>
                    <a:pt x="3343" y="12656"/>
                    <a:pt x="3338" y="12656"/>
                    <a:pt x="3336" y="12659"/>
                  </a:cubicBezTo>
                  <a:cubicBezTo>
                    <a:pt x="3284" y="12726"/>
                    <a:pt x="3284" y="12726"/>
                    <a:pt x="3284" y="12726"/>
                  </a:cubicBezTo>
                  <a:cubicBezTo>
                    <a:pt x="3283" y="12730"/>
                    <a:pt x="3283" y="12730"/>
                    <a:pt x="3283" y="12730"/>
                  </a:cubicBezTo>
                  <a:cubicBezTo>
                    <a:pt x="3276" y="12834"/>
                    <a:pt x="3276" y="12834"/>
                    <a:pt x="3276" y="12834"/>
                  </a:cubicBezTo>
                  <a:cubicBezTo>
                    <a:pt x="3219" y="12830"/>
                    <a:pt x="3219" y="12830"/>
                    <a:pt x="3219" y="12830"/>
                  </a:cubicBezTo>
                  <a:cubicBezTo>
                    <a:pt x="3215" y="12830"/>
                    <a:pt x="3211" y="12833"/>
                    <a:pt x="3211" y="12836"/>
                  </a:cubicBezTo>
                  <a:cubicBezTo>
                    <a:pt x="3202" y="12930"/>
                    <a:pt x="3202" y="12930"/>
                    <a:pt x="3202" y="12930"/>
                  </a:cubicBezTo>
                  <a:cubicBezTo>
                    <a:pt x="3202" y="12934"/>
                    <a:pt x="3205" y="12937"/>
                    <a:pt x="3209" y="12938"/>
                  </a:cubicBezTo>
                  <a:close/>
                  <a:moveTo>
                    <a:pt x="3225" y="12845"/>
                  </a:moveTo>
                  <a:cubicBezTo>
                    <a:pt x="3282" y="12849"/>
                    <a:pt x="3282" y="12849"/>
                    <a:pt x="3282" y="12849"/>
                  </a:cubicBezTo>
                  <a:cubicBezTo>
                    <a:pt x="3286" y="12849"/>
                    <a:pt x="3290" y="12846"/>
                    <a:pt x="3290" y="12842"/>
                  </a:cubicBezTo>
                  <a:cubicBezTo>
                    <a:pt x="3297" y="12734"/>
                    <a:pt x="3297" y="12734"/>
                    <a:pt x="3297" y="12734"/>
                  </a:cubicBezTo>
                  <a:cubicBezTo>
                    <a:pt x="3343" y="12674"/>
                    <a:pt x="3343" y="12674"/>
                    <a:pt x="3343" y="12674"/>
                  </a:cubicBezTo>
                  <a:cubicBezTo>
                    <a:pt x="3366" y="12690"/>
                    <a:pt x="3448" y="12751"/>
                    <a:pt x="3493" y="12803"/>
                  </a:cubicBezTo>
                  <a:cubicBezTo>
                    <a:pt x="3517" y="12832"/>
                    <a:pt x="3533" y="12867"/>
                    <a:pt x="3533" y="12907"/>
                  </a:cubicBezTo>
                  <a:cubicBezTo>
                    <a:pt x="3533" y="12948"/>
                    <a:pt x="3516" y="12996"/>
                    <a:pt x="3472" y="13048"/>
                  </a:cubicBezTo>
                  <a:cubicBezTo>
                    <a:pt x="3430" y="13097"/>
                    <a:pt x="3334" y="13139"/>
                    <a:pt x="3250" y="13167"/>
                  </a:cubicBezTo>
                  <a:cubicBezTo>
                    <a:pt x="3178" y="13190"/>
                    <a:pt x="3114" y="13205"/>
                    <a:pt x="3096" y="13209"/>
                  </a:cubicBezTo>
                  <a:cubicBezTo>
                    <a:pt x="3086" y="13191"/>
                    <a:pt x="3086" y="13191"/>
                    <a:pt x="3086" y="13191"/>
                  </a:cubicBezTo>
                  <a:cubicBezTo>
                    <a:pt x="3121" y="13170"/>
                    <a:pt x="3291" y="13063"/>
                    <a:pt x="3332" y="12943"/>
                  </a:cubicBezTo>
                  <a:cubicBezTo>
                    <a:pt x="3332" y="12943"/>
                    <a:pt x="3332" y="12943"/>
                    <a:pt x="3332" y="12943"/>
                  </a:cubicBezTo>
                  <a:cubicBezTo>
                    <a:pt x="3332" y="12942"/>
                    <a:pt x="3332" y="12942"/>
                    <a:pt x="3333" y="12941"/>
                  </a:cubicBezTo>
                  <a:cubicBezTo>
                    <a:pt x="3333" y="12938"/>
                    <a:pt x="3331" y="12934"/>
                    <a:pt x="3327" y="12933"/>
                  </a:cubicBezTo>
                  <a:cubicBezTo>
                    <a:pt x="3326" y="12933"/>
                    <a:pt x="3325" y="12933"/>
                    <a:pt x="3324" y="12933"/>
                  </a:cubicBezTo>
                  <a:cubicBezTo>
                    <a:pt x="3323" y="12933"/>
                    <a:pt x="3323" y="12933"/>
                    <a:pt x="3323" y="12933"/>
                  </a:cubicBezTo>
                  <a:cubicBezTo>
                    <a:pt x="3312" y="12933"/>
                    <a:pt x="3241" y="12926"/>
                    <a:pt x="3218" y="12924"/>
                  </a:cubicBezTo>
                  <a:lnTo>
                    <a:pt x="3225" y="12845"/>
                  </a:lnTo>
                  <a:close/>
                  <a:moveTo>
                    <a:pt x="3225" y="12974"/>
                  </a:moveTo>
                  <a:cubicBezTo>
                    <a:pt x="3147" y="12958"/>
                    <a:pt x="3147" y="12958"/>
                    <a:pt x="3147" y="12958"/>
                  </a:cubicBezTo>
                  <a:cubicBezTo>
                    <a:pt x="3146" y="12892"/>
                    <a:pt x="3146" y="12892"/>
                    <a:pt x="3146" y="12892"/>
                  </a:cubicBezTo>
                  <a:cubicBezTo>
                    <a:pt x="2945" y="13085"/>
                    <a:pt x="2945" y="13085"/>
                    <a:pt x="2945" y="13085"/>
                  </a:cubicBezTo>
                  <a:cubicBezTo>
                    <a:pt x="3029" y="13137"/>
                    <a:pt x="3029" y="13137"/>
                    <a:pt x="3029" y="13137"/>
                  </a:cubicBezTo>
                  <a:cubicBezTo>
                    <a:pt x="3213" y="12984"/>
                    <a:pt x="3213" y="12984"/>
                    <a:pt x="3213" y="12984"/>
                  </a:cubicBezTo>
                  <a:lnTo>
                    <a:pt x="3225" y="12974"/>
                  </a:lnTo>
                  <a:close/>
                  <a:moveTo>
                    <a:pt x="3028" y="13119"/>
                  </a:moveTo>
                  <a:cubicBezTo>
                    <a:pt x="2969" y="13082"/>
                    <a:pt x="2969" y="13082"/>
                    <a:pt x="2969" y="13082"/>
                  </a:cubicBezTo>
                  <a:cubicBezTo>
                    <a:pt x="3132" y="12926"/>
                    <a:pt x="3132" y="12926"/>
                    <a:pt x="3132" y="12926"/>
                  </a:cubicBezTo>
                  <a:cubicBezTo>
                    <a:pt x="3133" y="12970"/>
                    <a:pt x="3133" y="12970"/>
                    <a:pt x="3133" y="12970"/>
                  </a:cubicBezTo>
                  <a:cubicBezTo>
                    <a:pt x="3192" y="12982"/>
                    <a:pt x="3192" y="12982"/>
                    <a:pt x="3192" y="12982"/>
                  </a:cubicBezTo>
                  <a:lnTo>
                    <a:pt x="3028" y="13119"/>
                  </a:lnTo>
                  <a:close/>
                  <a:moveTo>
                    <a:pt x="3401" y="13286"/>
                  </a:moveTo>
                  <a:cubicBezTo>
                    <a:pt x="3403" y="13289"/>
                    <a:pt x="3406" y="13291"/>
                    <a:pt x="3410" y="13293"/>
                  </a:cubicBezTo>
                  <a:cubicBezTo>
                    <a:pt x="3416" y="13298"/>
                    <a:pt x="3422" y="13302"/>
                    <a:pt x="3422" y="13302"/>
                  </a:cubicBezTo>
                  <a:cubicBezTo>
                    <a:pt x="3424" y="13304"/>
                    <a:pt x="3424" y="13304"/>
                    <a:pt x="3424" y="13304"/>
                  </a:cubicBezTo>
                  <a:cubicBezTo>
                    <a:pt x="3747" y="13274"/>
                    <a:pt x="3747" y="13274"/>
                    <a:pt x="3747" y="13274"/>
                  </a:cubicBezTo>
                  <a:cubicBezTo>
                    <a:pt x="3747" y="13133"/>
                    <a:pt x="3747" y="13133"/>
                    <a:pt x="3747" y="13133"/>
                  </a:cubicBezTo>
                  <a:cubicBezTo>
                    <a:pt x="3747" y="13127"/>
                    <a:pt x="3747" y="13127"/>
                    <a:pt x="3747" y="13127"/>
                  </a:cubicBezTo>
                  <a:cubicBezTo>
                    <a:pt x="3623" y="13086"/>
                    <a:pt x="3623" y="13086"/>
                    <a:pt x="3623" y="13086"/>
                  </a:cubicBezTo>
                  <a:cubicBezTo>
                    <a:pt x="3620" y="13091"/>
                    <a:pt x="3620" y="13091"/>
                    <a:pt x="3620" y="13091"/>
                  </a:cubicBezTo>
                  <a:cubicBezTo>
                    <a:pt x="3620" y="13091"/>
                    <a:pt x="3609" y="13113"/>
                    <a:pt x="3590" y="13139"/>
                  </a:cubicBezTo>
                  <a:cubicBezTo>
                    <a:pt x="3571" y="13166"/>
                    <a:pt x="3545" y="13196"/>
                    <a:pt x="3516" y="13214"/>
                  </a:cubicBezTo>
                  <a:cubicBezTo>
                    <a:pt x="3457" y="13251"/>
                    <a:pt x="3405" y="13269"/>
                    <a:pt x="3403" y="13268"/>
                  </a:cubicBezTo>
                  <a:cubicBezTo>
                    <a:pt x="3402" y="13268"/>
                    <a:pt x="3401" y="13268"/>
                    <a:pt x="3398" y="13269"/>
                  </a:cubicBezTo>
                  <a:cubicBezTo>
                    <a:pt x="3396" y="13271"/>
                    <a:pt x="3394" y="13274"/>
                    <a:pt x="3395" y="13276"/>
                  </a:cubicBezTo>
                  <a:cubicBezTo>
                    <a:pt x="3396" y="13284"/>
                    <a:pt x="3398" y="13283"/>
                    <a:pt x="3401" y="13286"/>
                  </a:cubicBezTo>
                  <a:close/>
                  <a:moveTo>
                    <a:pt x="3524" y="13227"/>
                  </a:moveTo>
                  <a:cubicBezTo>
                    <a:pt x="3578" y="13193"/>
                    <a:pt x="3619" y="13124"/>
                    <a:pt x="3630" y="13104"/>
                  </a:cubicBezTo>
                  <a:cubicBezTo>
                    <a:pt x="3732" y="13138"/>
                    <a:pt x="3732" y="13138"/>
                    <a:pt x="3732" y="13138"/>
                  </a:cubicBezTo>
                  <a:cubicBezTo>
                    <a:pt x="3732" y="13261"/>
                    <a:pt x="3732" y="13261"/>
                    <a:pt x="3732" y="13261"/>
                  </a:cubicBezTo>
                  <a:cubicBezTo>
                    <a:pt x="3428" y="13288"/>
                    <a:pt x="3428" y="13288"/>
                    <a:pt x="3428" y="13288"/>
                  </a:cubicBezTo>
                  <a:cubicBezTo>
                    <a:pt x="3425" y="13287"/>
                    <a:pt x="3420" y="13283"/>
                    <a:pt x="3416" y="13280"/>
                  </a:cubicBezTo>
                  <a:cubicBezTo>
                    <a:pt x="3437" y="13273"/>
                    <a:pt x="3476" y="13256"/>
                    <a:pt x="3524" y="13227"/>
                  </a:cubicBezTo>
                  <a:close/>
                  <a:moveTo>
                    <a:pt x="3846" y="13385"/>
                  </a:moveTo>
                  <a:cubicBezTo>
                    <a:pt x="3748" y="13349"/>
                    <a:pt x="3748" y="13349"/>
                    <a:pt x="3748" y="13349"/>
                  </a:cubicBezTo>
                  <a:cubicBezTo>
                    <a:pt x="3746" y="13348"/>
                    <a:pt x="3746" y="13348"/>
                    <a:pt x="3746" y="13348"/>
                  </a:cubicBezTo>
                  <a:cubicBezTo>
                    <a:pt x="3383" y="13361"/>
                    <a:pt x="3383" y="13361"/>
                    <a:pt x="3383" y="13361"/>
                  </a:cubicBezTo>
                  <a:cubicBezTo>
                    <a:pt x="3322" y="13302"/>
                    <a:pt x="3322" y="13302"/>
                    <a:pt x="3322" y="13302"/>
                  </a:cubicBezTo>
                  <a:cubicBezTo>
                    <a:pt x="3130" y="13330"/>
                    <a:pt x="3130" y="13330"/>
                    <a:pt x="3130" y="13330"/>
                  </a:cubicBezTo>
                  <a:cubicBezTo>
                    <a:pt x="3329" y="13464"/>
                    <a:pt x="3329" y="13464"/>
                    <a:pt x="3329" y="13464"/>
                  </a:cubicBezTo>
                  <a:lnTo>
                    <a:pt x="3846" y="13385"/>
                  </a:lnTo>
                  <a:close/>
                  <a:moveTo>
                    <a:pt x="3317" y="13318"/>
                  </a:moveTo>
                  <a:cubicBezTo>
                    <a:pt x="3377" y="13376"/>
                    <a:pt x="3377" y="13376"/>
                    <a:pt x="3377" y="13376"/>
                  </a:cubicBezTo>
                  <a:cubicBezTo>
                    <a:pt x="3744" y="13363"/>
                    <a:pt x="3744" y="13363"/>
                    <a:pt x="3744" y="13363"/>
                  </a:cubicBezTo>
                  <a:cubicBezTo>
                    <a:pt x="3788" y="13379"/>
                    <a:pt x="3788" y="13379"/>
                    <a:pt x="3788" y="13379"/>
                  </a:cubicBezTo>
                  <a:cubicBezTo>
                    <a:pt x="3333" y="13449"/>
                    <a:pt x="3333" y="13449"/>
                    <a:pt x="3333" y="13449"/>
                  </a:cubicBezTo>
                  <a:cubicBezTo>
                    <a:pt x="3170" y="13339"/>
                    <a:pt x="3170" y="13339"/>
                    <a:pt x="3170" y="13339"/>
                  </a:cubicBezTo>
                  <a:lnTo>
                    <a:pt x="3317" y="13318"/>
                  </a:lnTo>
                  <a:close/>
                  <a:moveTo>
                    <a:pt x="4049" y="14073"/>
                  </a:moveTo>
                  <a:cubicBezTo>
                    <a:pt x="4074" y="13978"/>
                    <a:pt x="4074" y="13978"/>
                    <a:pt x="4074" y="13978"/>
                  </a:cubicBezTo>
                  <a:cubicBezTo>
                    <a:pt x="3873" y="13766"/>
                    <a:pt x="3873" y="13766"/>
                    <a:pt x="3873" y="13766"/>
                  </a:cubicBezTo>
                  <a:cubicBezTo>
                    <a:pt x="3883" y="13464"/>
                    <a:pt x="3883" y="13464"/>
                    <a:pt x="3883" y="13464"/>
                  </a:cubicBezTo>
                  <a:cubicBezTo>
                    <a:pt x="3883" y="13455"/>
                    <a:pt x="3883" y="13455"/>
                    <a:pt x="3883" y="13455"/>
                  </a:cubicBezTo>
                  <a:cubicBezTo>
                    <a:pt x="3648" y="13485"/>
                    <a:pt x="3648" y="13485"/>
                    <a:pt x="3648" y="13485"/>
                  </a:cubicBezTo>
                  <a:cubicBezTo>
                    <a:pt x="3612" y="13992"/>
                    <a:pt x="3612" y="13992"/>
                    <a:pt x="3612" y="13992"/>
                  </a:cubicBezTo>
                  <a:cubicBezTo>
                    <a:pt x="4109" y="14183"/>
                    <a:pt x="4109" y="14183"/>
                    <a:pt x="4109" y="14183"/>
                  </a:cubicBezTo>
                  <a:lnTo>
                    <a:pt x="4049" y="14073"/>
                  </a:lnTo>
                  <a:close/>
                  <a:moveTo>
                    <a:pt x="3662" y="13498"/>
                  </a:moveTo>
                  <a:cubicBezTo>
                    <a:pt x="3868" y="13472"/>
                    <a:pt x="3868" y="13472"/>
                    <a:pt x="3868" y="13472"/>
                  </a:cubicBezTo>
                  <a:cubicBezTo>
                    <a:pt x="3858" y="13772"/>
                    <a:pt x="3858" y="13772"/>
                    <a:pt x="3858" y="13772"/>
                  </a:cubicBezTo>
                  <a:cubicBezTo>
                    <a:pt x="4057" y="13982"/>
                    <a:pt x="4057" y="13982"/>
                    <a:pt x="4057" y="13982"/>
                  </a:cubicBezTo>
                  <a:cubicBezTo>
                    <a:pt x="4033" y="14075"/>
                    <a:pt x="4033" y="14075"/>
                    <a:pt x="4033" y="14075"/>
                  </a:cubicBezTo>
                  <a:cubicBezTo>
                    <a:pt x="4077" y="14155"/>
                    <a:pt x="4077" y="14155"/>
                    <a:pt x="4077" y="14155"/>
                  </a:cubicBezTo>
                  <a:cubicBezTo>
                    <a:pt x="3627" y="13983"/>
                    <a:pt x="3627" y="13983"/>
                    <a:pt x="3627" y="13983"/>
                  </a:cubicBezTo>
                  <a:lnTo>
                    <a:pt x="3662" y="13498"/>
                  </a:lnTo>
                  <a:close/>
                  <a:moveTo>
                    <a:pt x="3796" y="13569"/>
                  </a:moveTo>
                  <a:cubicBezTo>
                    <a:pt x="3722" y="13577"/>
                    <a:pt x="3722" y="13577"/>
                    <a:pt x="3722" y="13577"/>
                  </a:cubicBezTo>
                  <a:cubicBezTo>
                    <a:pt x="3706" y="13953"/>
                    <a:pt x="3706" y="13953"/>
                    <a:pt x="3706" y="13953"/>
                  </a:cubicBezTo>
                  <a:cubicBezTo>
                    <a:pt x="3904" y="14030"/>
                    <a:pt x="3904" y="14030"/>
                    <a:pt x="3904" y="14030"/>
                  </a:cubicBezTo>
                  <a:cubicBezTo>
                    <a:pt x="3928" y="13966"/>
                    <a:pt x="3928" y="13966"/>
                    <a:pt x="3928" y="13966"/>
                  </a:cubicBezTo>
                  <a:cubicBezTo>
                    <a:pt x="3929" y="13962"/>
                    <a:pt x="3929" y="13962"/>
                    <a:pt x="3929" y="13962"/>
                  </a:cubicBezTo>
                  <a:cubicBezTo>
                    <a:pt x="3785" y="13809"/>
                    <a:pt x="3785" y="13809"/>
                    <a:pt x="3785" y="13809"/>
                  </a:cubicBezTo>
                  <a:lnTo>
                    <a:pt x="3796" y="13569"/>
                  </a:lnTo>
                  <a:close/>
                  <a:moveTo>
                    <a:pt x="3912" y="13966"/>
                  </a:moveTo>
                  <a:cubicBezTo>
                    <a:pt x="3895" y="14011"/>
                    <a:pt x="3895" y="14011"/>
                    <a:pt x="3895" y="14011"/>
                  </a:cubicBezTo>
                  <a:cubicBezTo>
                    <a:pt x="3722" y="13943"/>
                    <a:pt x="3722" y="13943"/>
                    <a:pt x="3722" y="13943"/>
                  </a:cubicBezTo>
                  <a:cubicBezTo>
                    <a:pt x="3737" y="13591"/>
                    <a:pt x="3737" y="13591"/>
                    <a:pt x="3737" y="13591"/>
                  </a:cubicBezTo>
                  <a:cubicBezTo>
                    <a:pt x="3781" y="13586"/>
                    <a:pt x="3781" y="13586"/>
                    <a:pt x="3781" y="13586"/>
                  </a:cubicBezTo>
                  <a:cubicBezTo>
                    <a:pt x="3770" y="13814"/>
                    <a:pt x="3770" y="13814"/>
                    <a:pt x="3770" y="13814"/>
                  </a:cubicBezTo>
                  <a:lnTo>
                    <a:pt x="3912" y="13966"/>
                  </a:lnTo>
                  <a:close/>
                  <a:moveTo>
                    <a:pt x="3287" y="13643"/>
                  </a:moveTo>
                  <a:cubicBezTo>
                    <a:pt x="3379" y="13642"/>
                    <a:pt x="3379" y="13642"/>
                    <a:pt x="3379" y="13642"/>
                  </a:cubicBezTo>
                  <a:cubicBezTo>
                    <a:pt x="3403" y="13577"/>
                    <a:pt x="3403" y="13577"/>
                    <a:pt x="3403" y="13577"/>
                  </a:cubicBezTo>
                  <a:cubicBezTo>
                    <a:pt x="3472" y="13573"/>
                    <a:pt x="3472" y="13573"/>
                    <a:pt x="3472" y="13573"/>
                  </a:cubicBezTo>
                  <a:cubicBezTo>
                    <a:pt x="3400" y="13836"/>
                    <a:pt x="3400" y="13836"/>
                    <a:pt x="3400" y="13836"/>
                  </a:cubicBezTo>
                  <a:cubicBezTo>
                    <a:pt x="3342" y="13819"/>
                    <a:pt x="3342" y="13819"/>
                    <a:pt x="3342" y="13819"/>
                  </a:cubicBezTo>
                  <a:cubicBezTo>
                    <a:pt x="3352" y="13733"/>
                    <a:pt x="3352" y="13733"/>
                    <a:pt x="3352" y="13733"/>
                  </a:cubicBezTo>
                  <a:cubicBezTo>
                    <a:pt x="3279" y="13693"/>
                    <a:pt x="3279" y="13693"/>
                    <a:pt x="3279" y="13693"/>
                  </a:cubicBezTo>
                  <a:cubicBezTo>
                    <a:pt x="3205" y="13844"/>
                    <a:pt x="3205" y="13844"/>
                    <a:pt x="3205" y="13844"/>
                  </a:cubicBezTo>
                  <a:cubicBezTo>
                    <a:pt x="3542" y="13964"/>
                    <a:pt x="3542" y="13964"/>
                    <a:pt x="3542" y="13964"/>
                  </a:cubicBezTo>
                  <a:cubicBezTo>
                    <a:pt x="3574" y="13501"/>
                    <a:pt x="3574" y="13501"/>
                    <a:pt x="3574" y="13501"/>
                  </a:cubicBezTo>
                  <a:cubicBezTo>
                    <a:pt x="3574" y="13492"/>
                    <a:pt x="3574" y="13492"/>
                    <a:pt x="3574" y="13492"/>
                  </a:cubicBezTo>
                  <a:cubicBezTo>
                    <a:pt x="3346" y="13517"/>
                    <a:pt x="3346" y="13517"/>
                    <a:pt x="3346" y="13517"/>
                  </a:cubicBezTo>
                  <a:lnTo>
                    <a:pt x="3287" y="13643"/>
                  </a:lnTo>
                  <a:close/>
                  <a:moveTo>
                    <a:pt x="3558" y="13509"/>
                  </a:moveTo>
                  <a:cubicBezTo>
                    <a:pt x="3529" y="13944"/>
                    <a:pt x="3529" y="13944"/>
                    <a:pt x="3529" y="13944"/>
                  </a:cubicBezTo>
                  <a:cubicBezTo>
                    <a:pt x="3226" y="13835"/>
                    <a:pt x="3226" y="13835"/>
                    <a:pt x="3226" y="13835"/>
                  </a:cubicBezTo>
                  <a:cubicBezTo>
                    <a:pt x="3286" y="13713"/>
                    <a:pt x="3286" y="13713"/>
                    <a:pt x="3286" y="13713"/>
                  </a:cubicBezTo>
                  <a:cubicBezTo>
                    <a:pt x="3336" y="13741"/>
                    <a:pt x="3336" y="13741"/>
                    <a:pt x="3336" y="13741"/>
                  </a:cubicBezTo>
                  <a:cubicBezTo>
                    <a:pt x="3326" y="13830"/>
                    <a:pt x="3326" y="13830"/>
                    <a:pt x="3326" y="13830"/>
                  </a:cubicBezTo>
                  <a:cubicBezTo>
                    <a:pt x="3410" y="13854"/>
                    <a:pt x="3410" y="13854"/>
                    <a:pt x="3410" y="13854"/>
                  </a:cubicBezTo>
                  <a:cubicBezTo>
                    <a:pt x="3492" y="13557"/>
                    <a:pt x="3492" y="13557"/>
                    <a:pt x="3492" y="13557"/>
                  </a:cubicBezTo>
                  <a:cubicBezTo>
                    <a:pt x="3392" y="13563"/>
                    <a:pt x="3392" y="13563"/>
                    <a:pt x="3392" y="13563"/>
                  </a:cubicBezTo>
                  <a:cubicBezTo>
                    <a:pt x="3369" y="13627"/>
                    <a:pt x="3369" y="13627"/>
                    <a:pt x="3369" y="13627"/>
                  </a:cubicBezTo>
                  <a:cubicBezTo>
                    <a:pt x="3311" y="13628"/>
                    <a:pt x="3311" y="13628"/>
                    <a:pt x="3311" y="13628"/>
                  </a:cubicBezTo>
                  <a:cubicBezTo>
                    <a:pt x="3355" y="13531"/>
                    <a:pt x="3355" y="13531"/>
                    <a:pt x="3355" y="13531"/>
                  </a:cubicBezTo>
                  <a:lnTo>
                    <a:pt x="3558" y="13509"/>
                  </a:lnTo>
                  <a:close/>
                  <a:moveTo>
                    <a:pt x="2895" y="13412"/>
                  </a:moveTo>
                  <a:cubicBezTo>
                    <a:pt x="2896" y="13413"/>
                    <a:pt x="2897" y="13413"/>
                    <a:pt x="2899" y="13414"/>
                  </a:cubicBezTo>
                  <a:cubicBezTo>
                    <a:pt x="2902" y="13417"/>
                    <a:pt x="2906" y="13419"/>
                    <a:pt x="2911" y="13422"/>
                  </a:cubicBezTo>
                  <a:cubicBezTo>
                    <a:pt x="2921" y="13428"/>
                    <a:pt x="2933" y="13436"/>
                    <a:pt x="2946" y="13443"/>
                  </a:cubicBezTo>
                  <a:cubicBezTo>
                    <a:pt x="2972" y="13458"/>
                    <a:pt x="2997" y="13472"/>
                    <a:pt x="2997" y="13472"/>
                  </a:cubicBezTo>
                  <a:cubicBezTo>
                    <a:pt x="3000" y="13474"/>
                    <a:pt x="3000" y="13474"/>
                    <a:pt x="3000" y="13474"/>
                  </a:cubicBezTo>
                  <a:cubicBezTo>
                    <a:pt x="3077" y="13446"/>
                    <a:pt x="3077" y="13446"/>
                    <a:pt x="3077" y="13446"/>
                  </a:cubicBezTo>
                  <a:cubicBezTo>
                    <a:pt x="3225" y="13609"/>
                    <a:pt x="3225" y="13609"/>
                    <a:pt x="3225" y="13609"/>
                  </a:cubicBezTo>
                  <a:cubicBezTo>
                    <a:pt x="3276" y="13502"/>
                    <a:pt x="3276" y="13502"/>
                    <a:pt x="3276" y="13502"/>
                  </a:cubicBezTo>
                  <a:cubicBezTo>
                    <a:pt x="3279" y="13496"/>
                    <a:pt x="3279" y="13496"/>
                    <a:pt x="3279" y="13496"/>
                  </a:cubicBezTo>
                  <a:cubicBezTo>
                    <a:pt x="3061" y="13350"/>
                    <a:pt x="3061" y="13350"/>
                    <a:pt x="3061" y="13350"/>
                  </a:cubicBezTo>
                  <a:cubicBezTo>
                    <a:pt x="3058" y="13350"/>
                    <a:pt x="3058" y="13350"/>
                    <a:pt x="3058" y="13350"/>
                  </a:cubicBezTo>
                  <a:cubicBezTo>
                    <a:pt x="3058" y="13350"/>
                    <a:pt x="2933" y="13369"/>
                    <a:pt x="2894" y="13399"/>
                  </a:cubicBezTo>
                  <a:cubicBezTo>
                    <a:pt x="2889" y="13402"/>
                    <a:pt x="2889" y="13402"/>
                    <a:pt x="2889" y="13402"/>
                  </a:cubicBezTo>
                  <a:cubicBezTo>
                    <a:pt x="2891" y="13407"/>
                    <a:pt x="2891" y="13407"/>
                    <a:pt x="2891" y="13407"/>
                  </a:cubicBezTo>
                  <a:cubicBezTo>
                    <a:pt x="2893" y="13411"/>
                    <a:pt x="2894" y="13411"/>
                    <a:pt x="2895" y="13412"/>
                  </a:cubicBezTo>
                  <a:close/>
                  <a:moveTo>
                    <a:pt x="2994" y="13378"/>
                  </a:moveTo>
                  <a:cubicBezTo>
                    <a:pt x="3023" y="13371"/>
                    <a:pt x="3049" y="13367"/>
                    <a:pt x="3058" y="13365"/>
                  </a:cubicBezTo>
                  <a:cubicBezTo>
                    <a:pt x="3260" y="13501"/>
                    <a:pt x="3260" y="13501"/>
                    <a:pt x="3260" y="13501"/>
                  </a:cubicBezTo>
                  <a:cubicBezTo>
                    <a:pt x="3221" y="13583"/>
                    <a:pt x="3221" y="13583"/>
                    <a:pt x="3221" y="13583"/>
                  </a:cubicBezTo>
                  <a:cubicBezTo>
                    <a:pt x="3081" y="13429"/>
                    <a:pt x="3081" y="13429"/>
                    <a:pt x="3081" y="13429"/>
                  </a:cubicBezTo>
                  <a:cubicBezTo>
                    <a:pt x="3001" y="13458"/>
                    <a:pt x="3001" y="13458"/>
                    <a:pt x="3001" y="13458"/>
                  </a:cubicBezTo>
                  <a:cubicBezTo>
                    <a:pt x="2994" y="13454"/>
                    <a:pt x="2975" y="13443"/>
                    <a:pt x="2956" y="13432"/>
                  </a:cubicBezTo>
                  <a:cubicBezTo>
                    <a:pt x="2939" y="13422"/>
                    <a:pt x="2921" y="13411"/>
                    <a:pt x="2911" y="13405"/>
                  </a:cubicBezTo>
                  <a:cubicBezTo>
                    <a:pt x="2930" y="13395"/>
                    <a:pt x="2964" y="13385"/>
                    <a:pt x="2994" y="13378"/>
                  </a:cubicBezTo>
                  <a:close/>
                  <a:moveTo>
                    <a:pt x="3209" y="13635"/>
                  </a:moveTo>
                  <a:cubicBezTo>
                    <a:pt x="3158" y="13593"/>
                    <a:pt x="3158" y="13593"/>
                    <a:pt x="3158" y="13593"/>
                  </a:cubicBezTo>
                  <a:cubicBezTo>
                    <a:pt x="3050" y="13658"/>
                    <a:pt x="3050" y="13658"/>
                    <a:pt x="3050" y="13658"/>
                  </a:cubicBezTo>
                  <a:cubicBezTo>
                    <a:pt x="2955" y="13612"/>
                    <a:pt x="2955" y="13612"/>
                    <a:pt x="2955" y="13612"/>
                  </a:cubicBezTo>
                  <a:cubicBezTo>
                    <a:pt x="2974" y="13504"/>
                    <a:pt x="2974" y="13504"/>
                    <a:pt x="2974" y="13504"/>
                  </a:cubicBezTo>
                  <a:cubicBezTo>
                    <a:pt x="2866" y="13433"/>
                    <a:pt x="2866" y="13433"/>
                    <a:pt x="2866" y="13433"/>
                  </a:cubicBezTo>
                  <a:cubicBezTo>
                    <a:pt x="2862" y="13438"/>
                    <a:pt x="2862" y="13438"/>
                    <a:pt x="2862" y="13438"/>
                  </a:cubicBezTo>
                  <a:cubicBezTo>
                    <a:pt x="2861" y="13438"/>
                    <a:pt x="2822" y="13484"/>
                    <a:pt x="2808" y="13533"/>
                  </a:cubicBezTo>
                  <a:cubicBezTo>
                    <a:pt x="2793" y="13580"/>
                    <a:pt x="2772" y="13688"/>
                    <a:pt x="2772" y="13688"/>
                  </a:cubicBezTo>
                  <a:cubicBezTo>
                    <a:pt x="2770" y="13694"/>
                    <a:pt x="2770" y="13694"/>
                    <a:pt x="2770" y="13694"/>
                  </a:cubicBezTo>
                  <a:cubicBezTo>
                    <a:pt x="3138" y="13821"/>
                    <a:pt x="3138" y="13821"/>
                    <a:pt x="3138" y="13821"/>
                  </a:cubicBezTo>
                  <a:cubicBezTo>
                    <a:pt x="3207" y="13640"/>
                    <a:pt x="3207" y="13640"/>
                    <a:pt x="3207" y="13640"/>
                  </a:cubicBezTo>
                  <a:lnTo>
                    <a:pt x="3209" y="13635"/>
                  </a:lnTo>
                  <a:close/>
                  <a:moveTo>
                    <a:pt x="3130" y="13802"/>
                  </a:moveTo>
                  <a:cubicBezTo>
                    <a:pt x="2787" y="13684"/>
                    <a:pt x="2787" y="13684"/>
                    <a:pt x="2787" y="13684"/>
                  </a:cubicBezTo>
                  <a:cubicBezTo>
                    <a:pt x="2792" y="13661"/>
                    <a:pt x="2810" y="13576"/>
                    <a:pt x="2822" y="13537"/>
                  </a:cubicBezTo>
                  <a:cubicBezTo>
                    <a:pt x="2832" y="13502"/>
                    <a:pt x="2859" y="13465"/>
                    <a:pt x="2869" y="13452"/>
                  </a:cubicBezTo>
                  <a:cubicBezTo>
                    <a:pt x="2958" y="13511"/>
                    <a:pt x="2958" y="13511"/>
                    <a:pt x="2958" y="13511"/>
                  </a:cubicBezTo>
                  <a:cubicBezTo>
                    <a:pt x="2938" y="13620"/>
                    <a:pt x="2938" y="13620"/>
                    <a:pt x="2938" y="13620"/>
                  </a:cubicBezTo>
                  <a:cubicBezTo>
                    <a:pt x="3051" y="13675"/>
                    <a:pt x="3051" y="13675"/>
                    <a:pt x="3051" y="13675"/>
                  </a:cubicBezTo>
                  <a:cubicBezTo>
                    <a:pt x="3156" y="13611"/>
                    <a:pt x="3156" y="13611"/>
                    <a:pt x="3156" y="13611"/>
                  </a:cubicBezTo>
                  <a:cubicBezTo>
                    <a:pt x="3191" y="13640"/>
                    <a:pt x="3191" y="13640"/>
                    <a:pt x="3191" y="13640"/>
                  </a:cubicBezTo>
                  <a:lnTo>
                    <a:pt x="3130" y="13802"/>
                  </a:lnTo>
                  <a:close/>
                  <a:moveTo>
                    <a:pt x="3007" y="13530"/>
                  </a:moveTo>
                  <a:cubicBezTo>
                    <a:pt x="2994" y="13578"/>
                    <a:pt x="2994" y="13578"/>
                    <a:pt x="2994" y="13578"/>
                  </a:cubicBezTo>
                  <a:cubicBezTo>
                    <a:pt x="3051" y="13604"/>
                    <a:pt x="3051" y="13604"/>
                    <a:pt x="3051" y="13604"/>
                  </a:cubicBezTo>
                  <a:cubicBezTo>
                    <a:pt x="3091" y="13562"/>
                    <a:pt x="3091" y="13562"/>
                    <a:pt x="3091" y="13562"/>
                  </a:cubicBezTo>
                  <a:cubicBezTo>
                    <a:pt x="3096" y="13556"/>
                    <a:pt x="3096" y="13556"/>
                    <a:pt x="3096" y="13556"/>
                  </a:cubicBezTo>
                  <a:cubicBezTo>
                    <a:pt x="3044" y="13511"/>
                    <a:pt x="3044" y="13511"/>
                    <a:pt x="3044" y="13511"/>
                  </a:cubicBezTo>
                  <a:lnTo>
                    <a:pt x="3007" y="13530"/>
                  </a:lnTo>
                  <a:close/>
                  <a:moveTo>
                    <a:pt x="3047" y="13586"/>
                  </a:moveTo>
                  <a:cubicBezTo>
                    <a:pt x="3012" y="13570"/>
                    <a:pt x="3012" y="13570"/>
                    <a:pt x="3012" y="13570"/>
                  </a:cubicBezTo>
                  <a:cubicBezTo>
                    <a:pt x="3020" y="13540"/>
                    <a:pt x="3020" y="13540"/>
                    <a:pt x="3020" y="13540"/>
                  </a:cubicBezTo>
                  <a:cubicBezTo>
                    <a:pt x="3042" y="13529"/>
                    <a:pt x="3042" y="13529"/>
                    <a:pt x="3042" y="13529"/>
                  </a:cubicBezTo>
                  <a:cubicBezTo>
                    <a:pt x="3075" y="13557"/>
                    <a:pt x="3075" y="13557"/>
                    <a:pt x="3075" y="13557"/>
                  </a:cubicBezTo>
                  <a:lnTo>
                    <a:pt x="3047" y="13586"/>
                  </a:lnTo>
                  <a:close/>
                  <a:moveTo>
                    <a:pt x="2623" y="13446"/>
                  </a:moveTo>
                  <a:cubicBezTo>
                    <a:pt x="2593" y="13517"/>
                    <a:pt x="2593" y="13517"/>
                    <a:pt x="2593" y="13517"/>
                  </a:cubicBezTo>
                  <a:cubicBezTo>
                    <a:pt x="2561" y="13506"/>
                    <a:pt x="2561" y="13506"/>
                    <a:pt x="2561" y="13506"/>
                  </a:cubicBezTo>
                  <a:cubicBezTo>
                    <a:pt x="2671" y="13241"/>
                    <a:pt x="2671" y="13241"/>
                    <a:pt x="2671" y="13241"/>
                  </a:cubicBezTo>
                  <a:cubicBezTo>
                    <a:pt x="2728" y="13251"/>
                    <a:pt x="2728" y="13251"/>
                    <a:pt x="2728" y="13251"/>
                  </a:cubicBezTo>
                  <a:cubicBezTo>
                    <a:pt x="2683" y="13359"/>
                    <a:pt x="2683" y="13359"/>
                    <a:pt x="2683" y="13359"/>
                  </a:cubicBezTo>
                  <a:cubicBezTo>
                    <a:pt x="2757" y="13385"/>
                    <a:pt x="2757" y="13385"/>
                    <a:pt x="2757" y="13385"/>
                  </a:cubicBezTo>
                  <a:cubicBezTo>
                    <a:pt x="2759" y="13377"/>
                    <a:pt x="2759" y="13377"/>
                    <a:pt x="2759" y="13377"/>
                  </a:cubicBezTo>
                  <a:cubicBezTo>
                    <a:pt x="2759" y="13377"/>
                    <a:pt x="2760" y="13373"/>
                    <a:pt x="2764" y="13366"/>
                  </a:cubicBezTo>
                  <a:cubicBezTo>
                    <a:pt x="2768" y="13359"/>
                    <a:pt x="2774" y="13350"/>
                    <a:pt x="2784" y="13339"/>
                  </a:cubicBezTo>
                  <a:cubicBezTo>
                    <a:pt x="2805" y="13319"/>
                    <a:pt x="2843" y="13296"/>
                    <a:pt x="2910" y="13289"/>
                  </a:cubicBezTo>
                  <a:cubicBezTo>
                    <a:pt x="2919" y="13288"/>
                    <a:pt x="2919" y="13288"/>
                    <a:pt x="2919" y="13288"/>
                  </a:cubicBezTo>
                  <a:cubicBezTo>
                    <a:pt x="2864" y="13123"/>
                    <a:pt x="2864" y="13123"/>
                    <a:pt x="2864" y="13123"/>
                  </a:cubicBezTo>
                  <a:cubicBezTo>
                    <a:pt x="2648" y="13068"/>
                    <a:pt x="2648" y="13068"/>
                    <a:pt x="2648" y="13068"/>
                  </a:cubicBezTo>
                  <a:cubicBezTo>
                    <a:pt x="2440" y="13559"/>
                    <a:pt x="2440" y="13559"/>
                    <a:pt x="2440" y="13559"/>
                  </a:cubicBezTo>
                  <a:cubicBezTo>
                    <a:pt x="2676" y="13644"/>
                    <a:pt x="2676" y="13644"/>
                    <a:pt x="2676" y="13644"/>
                  </a:cubicBezTo>
                  <a:cubicBezTo>
                    <a:pt x="2719" y="13471"/>
                    <a:pt x="2719" y="13471"/>
                    <a:pt x="2719" y="13471"/>
                  </a:cubicBezTo>
                  <a:lnTo>
                    <a:pt x="2623" y="13446"/>
                  </a:lnTo>
                  <a:close/>
                  <a:moveTo>
                    <a:pt x="2666" y="13624"/>
                  </a:moveTo>
                  <a:cubicBezTo>
                    <a:pt x="2460" y="13550"/>
                    <a:pt x="2460" y="13550"/>
                    <a:pt x="2460" y="13550"/>
                  </a:cubicBezTo>
                  <a:cubicBezTo>
                    <a:pt x="2657" y="13085"/>
                    <a:pt x="2657" y="13085"/>
                    <a:pt x="2657" y="13085"/>
                  </a:cubicBezTo>
                  <a:cubicBezTo>
                    <a:pt x="2853" y="13135"/>
                    <a:pt x="2853" y="13135"/>
                    <a:pt x="2853" y="13135"/>
                  </a:cubicBezTo>
                  <a:cubicBezTo>
                    <a:pt x="2899" y="13275"/>
                    <a:pt x="2899" y="13275"/>
                    <a:pt x="2899" y="13275"/>
                  </a:cubicBezTo>
                  <a:cubicBezTo>
                    <a:pt x="2791" y="13290"/>
                    <a:pt x="2756" y="13346"/>
                    <a:pt x="2748" y="13366"/>
                  </a:cubicBezTo>
                  <a:cubicBezTo>
                    <a:pt x="2703" y="13351"/>
                    <a:pt x="2703" y="13351"/>
                    <a:pt x="2703" y="13351"/>
                  </a:cubicBezTo>
                  <a:cubicBezTo>
                    <a:pt x="2748" y="13240"/>
                    <a:pt x="2748" y="13240"/>
                    <a:pt x="2748" y="13240"/>
                  </a:cubicBezTo>
                  <a:cubicBezTo>
                    <a:pt x="2662" y="13225"/>
                    <a:pt x="2662" y="13225"/>
                    <a:pt x="2662" y="13225"/>
                  </a:cubicBezTo>
                  <a:cubicBezTo>
                    <a:pt x="2541" y="13515"/>
                    <a:pt x="2541" y="13515"/>
                    <a:pt x="2541" y="13515"/>
                  </a:cubicBezTo>
                  <a:cubicBezTo>
                    <a:pt x="2601" y="13535"/>
                    <a:pt x="2601" y="13535"/>
                    <a:pt x="2601" y="13535"/>
                  </a:cubicBezTo>
                  <a:cubicBezTo>
                    <a:pt x="2631" y="13464"/>
                    <a:pt x="2631" y="13464"/>
                    <a:pt x="2631" y="13464"/>
                  </a:cubicBezTo>
                  <a:cubicBezTo>
                    <a:pt x="2701" y="13481"/>
                    <a:pt x="2701" y="13481"/>
                    <a:pt x="2701" y="13481"/>
                  </a:cubicBezTo>
                  <a:lnTo>
                    <a:pt x="2666" y="13624"/>
                  </a:lnTo>
                  <a:close/>
                  <a:moveTo>
                    <a:pt x="2116" y="13001"/>
                  </a:moveTo>
                  <a:cubicBezTo>
                    <a:pt x="2116" y="13001"/>
                    <a:pt x="2139" y="12952"/>
                    <a:pt x="2148" y="12933"/>
                  </a:cubicBezTo>
                  <a:cubicBezTo>
                    <a:pt x="2149" y="12934"/>
                    <a:pt x="2150" y="12934"/>
                    <a:pt x="2151" y="12935"/>
                  </a:cubicBezTo>
                  <a:cubicBezTo>
                    <a:pt x="2154" y="12935"/>
                    <a:pt x="2156" y="12936"/>
                    <a:pt x="2158" y="12937"/>
                  </a:cubicBezTo>
                  <a:cubicBezTo>
                    <a:pt x="2239" y="13067"/>
                    <a:pt x="2239" y="13067"/>
                    <a:pt x="2239" y="13067"/>
                  </a:cubicBezTo>
                  <a:cubicBezTo>
                    <a:pt x="2404" y="13111"/>
                    <a:pt x="2404" y="13111"/>
                    <a:pt x="2404" y="13111"/>
                  </a:cubicBezTo>
                  <a:cubicBezTo>
                    <a:pt x="2390" y="13147"/>
                    <a:pt x="2390" y="13147"/>
                    <a:pt x="2390" y="13147"/>
                  </a:cubicBezTo>
                  <a:cubicBezTo>
                    <a:pt x="2510" y="13183"/>
                    <a:pt x="2510" y="13183"/>
                    <a:pt x="2510" y="13183"/>
                  </a:cubicBezTo>
                  <a:cubicBezTo>
                    <a:pt x="2562" y="13027"/>
                    <a:pt x="2562" y="13027"/>
                    <a:pt x="2562" y="13027"/>
                  </a:cubicBezTo>
                  <a:cubicBezTo>
                    <a:pt x="2565" y="13019"/>
                    <a:pt x="2565" y="13019"/>
                    <a:pt x="2565" y="13019"/>
                  </a:cubicBezTo>
                  <a:cubicBezTo>
                    <a:pt x="2333" y="12953"/>
                    <a:pt x="2333" y="12953"/>
                    <a:pt x="2333" y="12953"/>
                  </a:cubicBezTo>
                  <a:cubicBezTo>
                    <a:pt x="2233" y="12797"/>
                    <a:pt x="2233" y="12797"/>
                    <a:pt x="2233" y="12797"/>
                  </a:cubicBezTo>
                  <a:cubicBezTo>
                    <a:pt x="2087" y="12749"/>
                    <a:pt x="2087" y="12749"/>
                    <a:pt x="2087" y="12749"/>
                  </a:cubicBezTo>
                  <a:cubicBezTo>
                    <a:pt x="1989" y="12972"/>
                    <a:pt x="1989" y="12972"/>
                    <a:pt x="1989" y="12972"/>
                  </a:cubicBezTo>
                  <a:cubicBezTo>
                    <a:pt x="2114" y="13007"/>
                    <a:pt x="2114" y="13007"/>
                    <a:pt x="2114" y="13007"/>
                  </a:cubicBezTo>
                  <a:lnTo>
                    <a:pt x="2116" y="13001"/>
                  </a:lnTo>
                  <a:close/>
                  <a:moveTo>
                    <a:pt x="2010" y="12963"/>
                  </a:moveTo>
                  <a:cubicBezTo>
                    <a:pt x="2095" y="12767"/>
                    <a:pt x="2095" y="12767"/>
                    <a:pt x="2095" y="12767"/>
                  </a:cubicBezTo>
                  <a:cubicBezTo>
                    <a:pt x="2224" y="12809"/>
                    <a:pt x="2224" y="12809"/>
                    <a:pt x="2224" y="12809"/>
                  </a:cubicBezTo>
                  <a:cubicBezTo>
                    <a:pt x="2324" y="12965"/>
                    <a:pt x="2324" y="12965"/>
                    <a:pt x="2324" y="12965"/>
                  </a:cubicBezTo>
                  <a:cubicBezTo>
                    <a:pt x="2546" y="13029"/>
                    <a:pt x="2546" y="13029"/>
                    <a:pt x="2546" y="13029"/>
                  </a:cubicBezTo>
                  <a:cubicBezTo>
                    <a:pt x="2500" y="13165"/>
                    <a:pt x="2500" y="13165"/>
                    <a:pt x="2500" y="13165"/>
                  </a:cubicBezTo>
                  <a:cubicBezTo>
                    <a:pt x="2410" y="13137"/>
                    <a:pt x="2410" y="13137"/>
                    <a:pt x="2410" y="13137"/>
                  </a:cubicBezTo>
                  <a:cubicBezTo>
                    <a:pt x="2424" y="13101"/>
                    <a:pt x="2424" y="13101"/>
                    <a:pt x="2424" y="13101"/>
                  </a:cubicBezTo>
                  <a:cubicBezTo>
                    <a:pt x="2248" y="13054"/>
                    <a:pt x="2248" y="13054"/>
                    <a:pt x="2248" y="13054"/>
                  </a:cubicBezTo>
                  <a:cubicBezTo>
                    <a:pt x="2168" y="12924"/>
                    <a:pt x="2168" y="12924"/>
                    <a:pt x="2168" y="12924"/>
                  </a:cubicBezTo>
                  <a:cubicBezTo>
                    <a:pt x="2165" y="12923"/>
                    <a:pt x="2165" y="12923"/>
                    <a:pt x="2165" y="12923"/>
                  </a:cubicBezTo>
                  <a:cubicBezTo>
                    <a:pt x="2165" y="12923"/>
                    <a:pt x="2151" y="12919"/>
                    <a:pt x="2147" y="12918"/>
                  </a:cubicBezTo>
                  <a:cubicBezTo>
                    <a:pt x="2146" y="12917"/>
                    <a:pt x="2145" y="12917"/>
                    <a:pt x="2143" y="12917"/>
                  </a:cubicBezTo>
                  <a:cubicBezTo>
                    <a:pt x="2142" y="12917"/>
                    <a:pt x="2141" y="12917"/>
                    <a:pt x="2141" y="12917"/>
                  </a:cubicBezTo>
                  <a:cubicBezTo>
                    <a:pt x="2140" y="12918"/>
                    <a:pt x="2139" y="12918"/>
                    <a:pt x="2138" y="12919"/>
                  </a:cubicBezTo>
                  <a:cubicBezTo>
                    <a:pt x="2138" y="12919"/>
                    <a:pt x="2138" y="12919"/>
                    <a:pt x="2138" y="12919"/>
                  </a:cubicBezTo>
                  <a:cubicBezTo>
                    <a:pt x="2138" y="12919"/>
                    <a:pt x="2138" y="12919"/>
                    <a:pt x="2138" y="12919"/>
                  </a:cubicBezTo>
                  <a:cubicBezTo>
                    <a:pt x="2138" y="12919"/>
                    <a:pt x="2138" y="12919"/>
                    <a:pt x="2138" y="12919"/>
                  </a:cubicBezTo>
                  <a:cubicBezTo>
                    <a:pt x="2138" y="12919"/>
                    <a:pt x="2138" y="12920"/>
                    <a:pt x="2138" y="12920"/>
                  </a:cubicBezTo>
                  <a:cubicBezTo>
                    <a:pt x="2137" y="12920"/>
                    <a:pt x="2137" y="12920"/>
                    <a:pt x="2137" y="12920"/>
                  </a:cubicBezTo>
                  <a:cubicBezTo>
                    <a:pt x="2137" y="12920"/>
                    <a:pt x="2137" y="12920"/>
                    <a:pt x="2137" y="12920"/>
                  </a:cubicBezTo>
                  <a:cubicBezTo>
                    <a:pt x="2137" y="12920"/>
                    <a:pt x="2137" y="12920"/>
                    <a:pt x="2137" y="12920"/>
                  </a:cubicBezTo>
                  <a:cubicBezTo>
                    <a:pt x="2137" y="12921"/>
                    <a:pt x="2136" y="12922"/>
                    <a:pt x="2136" y="12922"/>
                  </a:cubicBezTo>
                  <a:cubicBezTo>
                    <a:pt x="2136" y="12922"/>
                    <a:pt x="2136" y="12922"/>
                    <a:pt x="2136" y="12922"/>
                  </a:cubicBezTo>
                  <a:cubicBezTo>
                    <a:pt x="2136" y="12923"/>
                    <a:pt x="2136" y="12924"/>
                    <a:pt x="2135" y="12925"/>
                  </a:cubicBezTo>
                  <a:cubicBezTo>
                    <a:pt x="2134" y="12927"/>
                    <a:pt x="2133" y="12930"/>
                    <a:pt x="2131" y="12933"/>
                  </a:cubicBezTo>
                  <a:cubicBezTo>
                    <a:pt x="2128" y="12940"/>
                    <a:pt x="2124" y="12949"/>
                    <a:pt x="2120" y="12959"/>
                  </a:cubicBezTo>
                  <a:cubicBezTo>
                    <a:pt x="2114" y="12971"/>
                    <a:pt x="2109" y="12982"/>
                    <a:pt x="2106" y="12989"/>
                  </a:cubicBezTo>
                  <a:lnTo>
                    <a:pt x="2010" y="12963"/>
                  </a:lnTo>
                  <a:close/>
                  <a:moveTo>
                    <a:pt x="2337" y="13511"/>
                  </a:moveTo>
                  <a:cubicBezTo>
                    <a:pt x="2364" y="13443"/>
                    <a:pt x="2364" y="13443"/>
                    <a:pt x="2364" y="13443"/>
                  </a:cubicBezTo>
                  <a:cubicBezTo>
                    <a:pt x="2405" y="13457"/>
                    <a:pt x="2405" y="13457"/>
                    <a:pt x="2405" y="13457"/>
                  </a:cubicBezTo>
                  <a:cubicBezTo>
                    <a:pt x="2469" y="13296"/>
                    <a:pt x="2469" y="13296"/>
                    <a:pt x="2469" y="13296"/>
                  </a:cubicBezTo>
                  <a:cubicBezTo>
                    <a:pt x="2472" y="13288"/>
                    <a:pt x="2472" y="13288"/>
                    <a:pt x="2472" y="13288"/>
                  </a:cubicBezTo>
                  <a:cubicBezTo>
                    <a:pt x="2303" y="13233"/>
                    <a:pt x="2303" y="13233"/>
                    <a:pt x="2303" y="13233"/>
                  </a:cubicBezTo>
                  <a:cubicBezTo>
                    <a:pt x="2270" y="13298"/>
                    <a:pt x="2270" y="13298"/>
                    <a:pt x="2270" y="13298"/>
                  </a:cubicBezTo>
                  <a:cubicBezTo>
                    <a:pt x="2178" y="13265"/>
                    <a:pt x="2178" y="13265"/>
                    <a:pt x="2178" y="13265"/>
                  </a:cubicBezTo>
                  <a:cubicBezTo>
                    <a:pt x="2101" y="13109"/>
                    <a:pt x="2101" y="13109"/>
                    <a:pt x="2101" y="13109"/>
                  </a:cubicBezTo>
                  <a:cubicBezTo>
                    <a:pt x="1995" y="13075"/>
                    <a:pt x="1995" y="13075"/>
                    <a:pt x="1995" y="13075"/>
                  </a:cubicBezTo>
                  <a:cubicBezTo>
                    <a:pt x="2156" y="13451"/>
                    <a:pt x="2156" y="13451"/>
                    <a:pt x="2156" y="13451"/>
                  </a:cubicBezTo>
                  <a:lnTo>
                    <a:pt x="2337" y="13511"/>
                  </a:lnTo>
                  <a:close/>
                  <a:moveTo>
                    <a:pt x="2091" y="13121"/>
                  </a:moveTo>
                  <a:cubicBezTo>
                    <a:pt x="2167" y="13277"/>
                    <a:pt x="2167" y="13277"/>
                    <a:pt x="2167" y="13277"/>
                  </a:cubicBezTo>
                  <a:cubicBezTo>
                    <a:pt x="2278" y="13317"/>
                    <a:pt x="2278" y="13317"/>
                    <a:pt x="2278" y="13317"/>
                  </a:cubicBezTo>
                  <a:cubicBezTo>
                    <a:pt x="2310" y="13251"/>
                    <a:pt x="2310" y="13251"/>
                    <a:pt x="2310" y="13251"/>
                  </a:cubicBezTo>
                  <a:cubicBezTo>
                    <a:pt x="2453" y="13298"/>
                    <a:pt x="2453" y="13298"/>
                    <a:pt x="2453" y="13298"/>
                  </a:cubicBezTo>
                  <a:cubicBezTo>
                    <a:pt x="2396" y="13438"/>
                    <a:pt x="2396" y="13438"/>
                    <a:pt x="2396" y="13438"/>
                  </a:cubicBezTo>
                  <a:cubicBezTo>
                    <a:pt x="2356" y="13425"/>
                    <a:pt x="2356" y="13425"/>
                    <a:pt x="2356" y="13425"/>
                  </a:cubicBezTo>
                  <a:cubicBezTo>
                    <a:pt x="2328" y="13493"/>
                    <a:pt x="2328" y="13493"/>
                    <a:pt x="2328" y="13493"/>
                  </a:cubicBezTo>
                  <a:cubicBezTo>
                    <a:pt x="2167" y="13439"/>
                    <a:pt x="2167" y="13439"/>
                    <a:pt x="2167" y="13439"/>
                  </a:cubicBezTo>
                  <a:cubicBezTo>
                    <a:pt x="2021" y="13099"/>
                    <a:pt x="2021" y="13099"/>
                    <a:pt x="2021" y="13099"/>
                  </a:cubicBezTo>
                  <a:lnTo>
                    <a:pt x="2091" y="13121"/>
                  </a:lnTo>
                  <a:close/>
                  <a:moveTo>
                    <a:pt x="2428" y="10248"/>
                  </a:moveTo>
                  <a:cubicBezTo>
                    <a:pt x="2428" y="10239"/>
                    <a:pt x="2428" y="10239"/>
                    <a:pt x="2428" y="10239"/>
                  </a:cubicBezTo>
                  <a:cubicBezTo>
                    <a:pt x="2343" y="10241"/>
                    <a:pt x="2343" y="10241"/>
                    <a:pt x="2343" y="10241"/>
                  </a:cubicBezTo>
                  <a:cubicBezTo>
                    <a:pt x="2304" y="10510"/>
                    <a:pt x="2304" y="10510"/>
                    <a:pt x="2304" y="10510"/>
                  </a:cubicBezTo>
                  <a:cubicBezTo>
                    <a:pt x="2561" y="10517"/>
                    <a:pt x="2561" y="10517"/>
                    <a:pt x="2561" y="10517"/>
                  </a:cubicBezTo>
                  <a:cubicBezTo>
                    <a:pt x="2501" y="10407"/>
                    <a:pt x="2501" y="10407"/>
                    <a:pt x="2501" y="10407"/>
                  </a:cubicBezTo>
                  <a:cubicBezTo>
                    <a:pt x="2420" y="10351"/>
                    <a:pt x="2420" y="10351"/>
                    <a:pt x="2420" y="10351"/>
                  </a:cubicBezTo>
                  <a:lnTo>
                    <a:pt x="2428" y="10248"/>
                  </a:lnTo>
                  <a:close/>
                  <a:moveTo>
                    <a:pt x="2490" y="10417"/>
                  </a:moveTo>
                  <a:cubicBezTo>
                    <a:pt x="2536" y="10502"/>
                    <a:pt x="2536" y="10502"/>
                    <a:pt x="2536" y="10502"/>
                  </a:cubicBezTo>
                  <a:cubicBezTo>
                    <a:pt x="2321" y="10495"/>
                    <a:pt x="2321" y="10495"/>
                    <a:pt x="2321" y="10495"/>
                  </a:cubicBezTo>
                  <a:cubicBezTo>
                    <a:pt x="2356" y="10256"/>
                    <a:pt x="2356" y="10256"/>
                    <a:pt x="2356" y="10256"/>
                  </a:cubicBezTo>
                  <a:cubicBezTo>
                    <a:pt x="2412" y="10254"/>
                    <a:pt x="2412" y="10254"/>
                    <a:pt x="2412" y="10254"/>
                  </a:cubicBezTo>
                  <a:cubicBezTo>
                    <a:pt x="2404" y="10359"/>
                    <a:pt x="2404" y="10359"/>
                    <a:pt x="2404" y="10359"/>
                  </a:cubicBezTo>
                  <a:lnTo>
                    <a:pt x="2490" y="10417"/>
                  </a:lnTo>
                  <a:close/>
                  <a:moveTo>
                    <a:pt x="3082" y="10045"/>
                  </a:moveTo>
                  <a:cubicBezTo>
                    <a:pt x="2911" y="10138"/>
                    <a:pt x="2911" y="10138"/>
                    <a:pt x="2911" y="10138"/>
                  </a:cubicBezTo>
                  <a:cubicBezTo>
                    <a:pt x="2899" y="10241"/>
                    <a:pt x="2899" y="10241"/>
                    <a:pt x="2899" y="10241"/>
                  </a:cubicBezTo>
                  <a:cubicBezTo>
                    <a:pt x="2796" y="10193"/>
                    <a:pt x="2796" y="10193"/>
                    <a:pt x="2796" y="10193"/>
                  </a:cubicBezTo>
                  <a:cubicBezTo>
                    <a:pt x="2651" y="10215"/>
                    <a:pt x="2651" y="10215"/>
                    <a:pt x="2651" y="10215"/>
                  </a:cubicBezTo>
                  <a:cubicBezTo>
                    <a:pt x="2833" y="10430"/>
                    <a:pt x="2833" y="10430"/>
                    <a:pt x="2833" y="10430"/>
                  </a:cubicBezTo>
                  <a:cubicBezTo>
                    <a:pt x="3018" y="10330"/>
                    <a:pt x="3018" y="10330"/>
                    <a:pt x="3018" y="10330"/>
                  </a:cubicBezTo>
                  <a:cubicBezTo>
                    <a:pt x="3027" y="10247"/>
                    <a:pt x="3027" y="10247"/>
                    <a:pt x="3027" y="10247"/>
                  </a:cubicBezTo>
                  <a:cubicBezTo>
                    <a:pt x="3083" y="10297"/>
                    <a:pt x="3083" y="10297"/>
                    <a:pt x="3083" y="10297"/>
                  </a:cubicBezTo>
                  <a:cubicBezTo>
                    <a:pt x="3120" y="10283"/>
                    <a:pt x="3120" y="10283"/>
                    <a:pt x="3120" y="10283"/>
                  </a:cubicBezTo>
                  <a:cubicBezTo>
                    <a:pt x="3084" y="10055"/>
                    <a:pt x="3084" y="10055"/>
                    <a:pt x="3084" y="10055"/>
                  </a:cubicBezTo>
                  <a:lnTo>
                    <a:pt x="3082" y="10045"/>
                  </a:lnTo>
                  <a:close/>
                  <a:moveTo>
                    <a:pt x="3086" y="10280"/>
                  </a:moveTo>
                  <a:cubicBezTo>
                    <a:pt x="3015" y="10217"/>
                    <a:pt x="3015" y="10217"/>
                    <a:pt x="3015" y="10217"/>
                  </a:cubicBezTo>
                  <a:cubicBezTo>
                    <a:pt x="3004" y="10321"/>
                    <a:pt x="3004" y="10321"/>
                    <a:pt x="3004" y="10321"/>
                  </a:cubicBezTo>
                  <a:cubicBezTo>
                    <a:pt x="2836" y="10411"/>
                    <a:pt x="2836" y="10411"/>
                    <a:pt x="2836" y="10411"/>
                  </a:cubicBezTo>
                  <a:cubicBezTo>
                    <a:pt x="2679" y="10226"/>
                    <a:pt x="2679" y="10226"/>
                    <a:pt x="2679" y="10226"/>
                  </a:cubicBezTo>
                  <a:cubicBezTo>
                    <a:pt x="2794" y="10208"/>
                    <a:pt x="2794" y="10208"/>
                    <a:pt x="2794" y="10208"/>
                  </a:cubicBezTo>
                  <a:cubicBezTo>
                    <a:pt x="2912" y="10264"/>
                    <a:pt x="2912" y="10264"/>
                    <a:pt x="2912" y="10264"/>
                  </a:cubicBezTo>
                  <a:cubicBezTo>
                    <a:pt x="2925" y="10148"/>
                    <a:pt x="2925" y="10148"/>
                    <a:pt x="2925" y="10148"/>
                  </a:cubicBezTo>
                  <a:cubicBezTo>
                    <a:pt x="3071" y="10068"/>
                    <a:pt x="3071" y="10068"/>
                    <a:pt x="3071" y="10068"/>
                  </a:cubicBezTo>
                  <a:cubicBezTo>
                    <a:pt x="3104" y="10274"/>
                    <a:pt x="3104" y="10274"/>
                    <a:pt x="3104" y="10274"/>
                  </a:cubicBezTo>
                  <a:lnTo>
                    <a:pt x="3086" y="10280"/>
                  </a:lnTo>
                  <a:close/>
                  <a:moveTo>
                    <a:pt x="2610" y="10011"/>
                  </a:moveTo>
                  <a:cubicBezTo>
                    <a:pt x="2610" y="10011"/>
                    <a:pt x="2610" y="10011"/>
                    <a:pt x="2610" y="10011"/>
                  </a:cubicBezTo>
                  <a:cubicBezTo>
                    <a:pt x="2567" y="10007"/>
                    <a:pt x="2526" y="9989"/>
                    <a:pt x="2497" y="9972"/>
                  </a:cubicBezTo>
                  <a:cubicBezTo>
                    <a:pt x="2472" y="9958"/>
                    <a:pt x="2455" y="9945"/>
                    <a:pt x="2450" y="9941"/>
                  </a:cubicBezTo>
                  <a:cubicBezTo>
                    <a:pt x="2314" y="9529"/>
                    <a:pt x="2314" y="9529"/>
                    <a:pt x="2314" y="9529"/>
                  </a:cubicBezTo>
                  <a:cubicBezTo>
                    <a:pt x="2266" y="9517"/>
                    <a:pt x="2266" y="9517"/>
                    <a:pt x="2266" y="9517"/>
                  </a:cubicBezTo>
                  <a:cubicBezTo>
                    <a:pt x="2219" y="10076"/>
                    <a:pt x="2219" y="10076"/>
                    <a:pt x="2219" y="10076"/>
                  </a:cubicBezTo>
                  <a:cubicBezTo>
                    <a:pt x="2225" y="10078"/>
                    <a:pt x="2225" y="10078"/>
                    <a:pt x="2225" y="10078"/>
                  </a:cubicBezTo>
                  <a:cubicBezTo>
                    <a:pt x="2225" y="10078"/>
                    <a:pt x="2325" y="10106"/>
                    <a:pt x="2448" y="10110"/>
                  </a:cubicBezTo>
                  <a:cubicBezTo>
                    <a:pt x="2454" y="10110"/>
                    <a:pt x="2460" y="10110"/>
                    <a:pt x="2466" y="10110"/>
                  </a:cubicBezTo>
                  <a:cubicBezTo>
                    <a:pt x="2582" y="10110"/>
                    <a:pt x="2686" y="10074"/>
                    <a:pt x="2686" y="10074"/>
                  </a:cubicBezTo>
                  <a:cubicBezTo>
                    <a:pt x="2700" y="10069"/>
                    <a:pt x="2700" y="10069"/>
                    <a:pt x="2700" y="10069"/>
                  </a:cubicBezTo>
                  <a:cubicBezTo>
                    <a:pt x="2688" y="10061"/>
                    <a:pt x="2688" y="10061"/>
                    <a:pt x="2688" y="10061"/>
                  </a:cubicBezTo>
                  <a:cubicBezTo>
                    <a:pt x="2688" y="10061"/>
                    <a:pt x="2616" y="10013"/>
                    <a:pt x="2613" y="10012"/>
                  </a:cubicBezTo>
                  <a:cubicBezTo>
                    <a:pt x="2613" y="10012"/>
                    <a:pt x="2613" y="10012"/>
                    <a:pt x="2610" y="10011"/>
                  </a:cubicBezTo>
                  <a:close/>
                  <a:moveTo>
                    <a:pt x="2643" y="10049"/>
                  </a:moveTo>
                  <a:cubicBezTo>
                    <a:pt x="2652" y="10055"/>
                    <a:pt x="2660" y="10060"/>
                    <a:pt x="2667" y="10065"/>
                  </a:cubicBezTo>
                  <a:cubicBezTo>
                    <a:pt x="2656" y="10068"/>
                    <a:pt x="2638" y="10073"/>
                    <a:pt x="2616" y="10078"/>
                  </a:cubicBezTo>
                  <a:cubicBezTo>
                    <a:pt x="2576" y="10087"/>
                    <a:pt x="2522" y="10096"/>
                    <a:pt x="2466" y="10096"/>
                  </a:cubicBezTo>
                  <a:cubicBezTo>
                    <a:pt x="2460" y="10096"/>
                    <a:pt x="2454" y="10096"/>
                    <a:pt x="2449" y="10095"/>
                  </a:cubicBezTo>
                  <a:cubicBezTo>
                    <a:pt x="2345" y="10092"/>
                    <a:pt x="2258" y="10071"/>
                    <a:pt x="2235" y="10065"/>
                  </a:cubicBezTo>
                  <a:cubicBezTo>
                    <a:pt x="2279" y="9536"/>
                    <a:pt x="2279" y="9536"/>
                    <a:pt x="2279" y="9536"/>
                  </a:cubicBezTo>
                  <a:cubicBezTo>
                    <a:pt x="2303" y="9541"/>
                    <a:pt x="2303" y="9541"/>
                    <a:pt x="2303" y="9541"/>
                  </a:cubicBezTo>
                  <a:cubicBezTo>
                    <a:pt x="2437" y="9949"/>
                    <a:pt x="2437" y="9949"/>
                    <a:pt x="2437" y="9949"/>
                  </a:cubicBezTo>
                  <a:cubicBezTo>
                    <a:pt x="2439" y="9951"/>
                    <a:pt x="2439" y="9951"/>
                    <a:pt x="2439" y="9951"/>
                  </a:cubicBezTo>
                  <a:cubicBezTo>
                    <a:pt x="2439" y="9951"/>
                    <a:pt x="2515" y="10016"/>
                    <a:pt x="2608" y="10026"/>
                  </a:cubicBezTo>
                  <a:cubicBezTo>
                    <a:pt x="2608" y="10026"/>
                    <a:pt x="2609" y="10027"/>
                    <a:pt x="2609" y="10027"/>
                  </a:cubicBezTo>
                  <a:cubicBezTo>
                    <a:pt x="2611" y="10028"/>
                    <a:pt x="2614" y="10030"/>
                    <a:pt x="2618" y="10032"/>
                  </a:cubicBezTo>
                  <a:cubicBezTo>
                    <a:pt x="2625" y="10037"/>
                    <a:pt x="2634" y="10043"/>
                    <a:pt x="2643" y="10049"/>
                  </a:cubicBezTo>
                  <a:close/>
                  <a:moveTo>
                    <a:pt x="2244" y="9345"/>
                  </a:moveTo>
                  <a:cubicBezTo>
                    <a:pt x="2271" y="9442"/>
                    <a:pt x="2271" y="9442"/>
                    <a:pt x="2271" y="9442"/>
                  </a:cubicBezTo>
                  <a:cubicBezTo>
                    <a:pt x="2352" y="9464"/>
                    <a:pt x="2352" y="9464"/>
                    <a:pt x="2352" y="9464"/>
                  </a:cubicBezTo>
                  <a:cubicBezTo>
                    <a:pt x="2365" y="9503"/>
                    <a:pt x="2476" y="9839"/>
                    <a:pt x="2476" y="9841"/>
                  </a:cubicBezTo>
                  <a:cubicBezTo>
                    <a:pt x="2477" y="9842"/>
                    <a:pt x="2477" y="9842"/>
                    <a:pt x="2477" y="9842"/>
                  </a:cubicBezTo>
                  <a:cubicBezTo>
                    <a:pt x="2477" y="9843"/>
                    <a:pt x="2477" y="9843"/>
                    <a:pt x="2477" y="9843"/>
                  </a:cubicBezTo>
                  <a:cubicBezTo>
                    <a:pt x="2518" y="9898"/>
                    <a:pt x="2628" y="9915"/>
                    <a:pt x="2628" y="9915"/>
                  </a:cubicBezTo>
                  <a:cubicBezTo>
                    <a:pt x="2641" y="9917"/>
                    <a:pt x="2641" y="9917"/>
                    <a:pt x="2641" y="9917"/>
                  </a:cubicBezTo>
                  <a:cubicBezTo>
                    <a:pt x="2401" y="9274"/>
                    <a:pt x="2401" y="9274"/>
                    <a:pt x="2401" y="9274"/>
                  </a:cubicBezTo>
                  <a:lnTo>
                    <a:pt x="2244" y="9345"/>
                  </a:lnTo>
                  <a:close/>
                  <a:moveTo>
                    <a:pt x="2573" y="9885"/>
                  </a:moveTo>
                  <a:cubicBezTo>
                    <a:pt x="2542" y="9875"/>
                    <a:pt x="2507" y="9858"/>
                    <a:pt x="2490" y="9835"/>
                  </a:cubicBezTo>
                  <a:cubicBezTo>
                    <a:pt x="2483" y="9814"/>
                    <a:pt x="2365" y="9456"/>
                    <a:pt x="2365" y="9455"/>
                  </a:cubicBezTo>
                  <a:cubicBezTo>
                    <a:pt x="2363" y="9451"/>
                    <a:pt x="2363" y="9451"/>
                    <a:pt x="2363" y="9451"/>
                  </a:cubicBezTo>
                  <a:cubicBezTo>
                    <a:pt x="2283" y="9430"/>
                    <a:pt x="2283" y="9430"/>
                    <a:pt x="2283" y="9430"/>
                  </a:cubicBezTo>
                  <a:cubicBezTo>
                    <a:pt x="2262" y="9353"/>
                    <a:pt x="2262" y="9353"/>
                    <a:pt x="2262" y="9353"/>
                  </a:cubicBezTo>
                  <a:cubicBezTo>
                    <a:pt x="2393" y="9294"/>
                    <a:pt x="2393" y="9294"/>
                    <a:pt x="2393" y="9294"/>
                  </a:cubicBezTo>
                  <a:cubicBezTo>
                    <a:pt x="2618" y="9898"/>
                    <a:pt x="2618" y="9898"/>
                    <a:pt x="2618" y="9898"/>
                  </a:cubicBezTo>
                  <a:cubicBezTo>
                    <a:pt x="2607" y="9896"/>
                    <a:pt x="2591" y="9892"/>
                    <a:pt x="2573" y="9885"/>
                  </a:cubicBezTo>
                  <a:close/>
                  <a:moveTo>
                    <a:pt x="2469" y="9217"/>
                  </a:moveTo>
                  <a:cubicBezTo>
                    <a:pt x="2800" y="10071"/>
                    <a:pt x="2800" y="10071"/>
                    <a:pt x="2800" y="10071"/>
                  </a:cubicBezTo>
                  <a:cubicBezTo>
                    <a:pt x="2942" y="10005"/>
                    <a:pt x="2942" y="10005"/>
                    <a:pt x="2942" y="10005"/>
                  </a:cubicBezTo>
                  <a:cubicBezTo>
                    <a:pt x="2897" y="9851"/>
                    <a:pt x="2897" y="9851"/>
                    <a:pt x="2897" y="9851"/>
                  </a:cubicBezTo>
                  <a:cubicBezTo>
                    <a:pt x="2838" y="9907"/>
                    <a:pt x="2838" y="9907"/>
                    <a:pt x="2838" y="9907"/>
                  </a:cubicBezTo>
                  <a:cubicBezTo>
                    <a:pt x="2642" y="9351"/>
                    <a:pt x="2642" y="9351"/>
                    <a:pt x="2642" y="9351"/>
                  </a:cubicBezTo>
                  <a:cubicBezTo>
                    <a:pt x="2645" y="9349"/>
                    <a:pt x="2645" y="9349"/>
                    <a:pt x="2645" y="9349"/>
                  </a:cubicBezTo>
                  <a:cubicBezTo>
                    <a:pt x="2932" y="9754"/>
                    <a:pt x="2932" y="9754"/>
                    <a:pt x="2932" y="9754"/>
                  </a:cubicBezTo>
                  <a:cubicBezTo>
                    <a:pt x="2874" y="9760"/>
                    <a:pt x="2874" y="9760"/>
                    <a:pt x="2874" y="9760"/>
                  </a:cubicBezTo>
                  <a:cubicBezTo>
                    <a:pt x="3023" y="9961"/>
                    <a:pt x="3023" y="9961"/>
                    <a:pt x="3023" y="9961"/>
                  </a:cubicBezTo>
                  <a:cubicBezTo>
                    <a:pt x="3158" y="9867"/>
                    <a:pt x="3158" y="9867"/>
                    <a:pt x="3158" y="9867"/>
                  </a:cubicBezTo>
                  <a:cubicBezTo>
                    <a:pt x="3164" y="9863"/>
                    <a:pt x="3164" y="9863"/>
                    <a:pt x="3164" y="9863"/>
                  </a:cubicBezTo>
                  <a:cubicBezTo>
                    <a:pt x="2641" y="9117"/>
                    <a:pt x="2641" y="9117"/>
                    <a:pt x="2641" y="9117"/>
                  </a:cubicBezTo>
                  <a:lnTo>
                    <a:pt x="2469" y="9217"/>
                  </a:lnTo>
                  <a:close/>
                  <a:moveTo>
                    <a:pt x="3026" y="9940"/>
                  </a:moveTo>
                  <a:cubicBezTo>
                    <a:pt x="2901" y="9772"/>
                    <a:pt x="2901" y="9772"/>
                    <a:pt x="2901" y="9772"/>
                  </a:cubicBezTo>
                  <a:cubicBezTo>
                    <a:pt x="2958" y="9767"/>
                    <a:pt x="2958" y="9767"/>
                    <a:pt x="2958" y="9767"/>
                  </a:cubicBezTo>
                  <a:cubicBezTo>
                    <a:pt x="2649" y="9328"/>
                    <a:pt x="2649" y="9328"/>
                    <a:pt x="2649" y="9328"/>
                  </a:cubicBezTo>
                  <a:cubicBezTo>
                    <a:pt x="2625" y="9345"/>
                    <a:pt x="2625" y="9345"/>
                    <a:pt x="2625" y="9345"/>
                  </a:cubicBezTo>
                  <a:cubicBezTo>
                    <a:pt x="2831" y="9934"/>
                    <a:pt x="2831" y="9934"/>
                    <a:pt x="2831" y="9934"/>
                  </a:cubicBezTo>
                  <a:cubicBezTo>
                    <a:pt x="2889" y="9878"/>
                    <a:pt x="2889" y="9878"/>
                    <a:pt x="2889" y="9878"/>
                  </a:cubicBezTo>
                  <a:cubicBezTo>
                    <a:pt x="2924" y="9997"/>
                    <a:pt x="2924" y="9997"/>
                    <a:pt x="2924" y="9997"/>
                  </a:cubicBezTo>
                  <a:cubicBezTo>
                    <a:pt x="2808" y="10051"/>
                    <a:pt x="2808" y="10051"/>
                    <a:pt x="2808" y="10051"/>
                  </a:cubicBezTo>
                  <a:cubicBezTo>
                    <a:pt x="2487" y="9224"/>
                    <a:pt x="2487" y="9224"/>
                    <a:pt x="2487" y="9224"/>
                  </a:cubicBezTo>
                  <a:cubicBezTo>
                    <a:pt x="2637" y="9137"/>
                    <a:pt x="2637" y="9137"/>
                    <a:pt x="2637" y="9137"/>
                  </a:cubicBezTo>
                  <a:cubicBezTo>
                    <a:pt x="3144" y="9859"/>
                    <a:pt x="3144" y="9859"/>
                    <a:pt x="3144" y="9859"/>
                  </a:cubicBezTo>
                  <a:lnTo>
                    <a:pt x="3026" y="9940"/>
                  </a:lnTo>
                  <a:close/>
                  <a:moveTo>
                    <a:pt x="2893" y="9010"/>
                  </a:moveTo>
                  <a:cubicBezTo>
                    <a:pt x="2736" y="9094"/>
                    <a:pt x="2736" y="9094"/>
                    <a:pt x="2736" y="9094"/>
                  </a:cubicBezTo>
                  <a:cubicBezTo>
                    <a:pt x="3213" y="9820"/>
                    <a:pt x="3213" y="9820"/>
                    <a:pt x="3213" y="9820"/>
                  </a:cubicBezTo>
                  <a:cubicBezTo>
                    <a:pt x="3256" y="9761"/>
                    <a:pt x="3256" y="9761"/>
                    <a:pt x="3256" y="9761"/>
                  </a:cubicBezTo>
                  <a:cubicBezTo>
                    <a:pt x="3071" y="9493"/>
                    <a:pt x="3071" y="9493"/>
                    <a:pt x="3071" y="9493"/>
                  </a:cubicBezTo>
                  <a:cubicBezTo>
                    <a:pt x="3101" y="9447"/>
                    <a:pt x="3101" y="9447"/>
                    <a:pt x="3101" y="9447"/>
                  </a:cubicBezTo>
                  <a:cubicBezTo>
                    <a:pt x="2988" y="9212"/>
                    <a:pt x="2988" y="9212"/>
                    <a:pt x="2988" y="9212"/>
                  </a:cubicBezTo>
                  <a:cubicBezTo>
                    <a:pt x="3046" y="9180"/>
                    <a:pt x="3046" y="9180"/>
                    <a:pt x="3046" y="9180"/>
                  </a:cubicBezTo>
                  <a:cubicBezTo>
                    <a:pt x="3056" y="9197"/>
                    <a:pt x="3084" y="9248"/>
                    <a:pt x="3112" y="9299"/>
                  </a:cubicBezTo>
                  <a:cubicBezTo>
                    <a:pt x="3145" y="9359"/>
                    <a:pt x="3179" y="9421"/>
                    <a:pt x="3184" y="9431"/>
                  </a:cubicBezTo>
                  <a:cubicBezTo>
                    <a:pt x="3181" y="9457"/>
                    <a:pt x="3157" y="9516"/>
                    <a:pt x="3157" y="9516"/>
                  </a:cubicBezTo>
                  <a:cubicBezTo>
                    <a:pt x="3155" y="9519"/>
                    <a:pt x="3155" y="9519"/>
                    <a:pt x="3155" y="9519"/>
                  </a:cubicBezTo>
                  <a:cubicBezTo>
                    <a:pt x="3157" y="9523"/>
                    <a:pt x="3157" y="9523"/>
                    <a:pt x="3157" y="9523"/>
                  </a:cubicBezTo>
                  <a:cubicBezTo>
                    <a:pt x="3157" y="9523"/>
                    <a:pt x="3183" y="9564"/>
                    <a:pt x="3210" y="9607"/>
                  </a:cubicBezTo>
                  <a:cubicBezTo>
                    <a:pt x="3238" y="9650"/>
                    <a:pt x="3265" y="9692"/>
                    <a:pt x="3273" y="9700"/>
                  </a:cubicBezTo>
                  <a:cubicBezTo>
                    <a:pt x="3274" y="9700"/>
                    <a:pt x="3273" y="9702"/>
                    <a:pt x="3278" y="9702"/>
                  </a:cubicBezTo>
                  <a:cubicBezTo>
                    <a:pt x="3281" y="9702"/>
                    <a:pt x="3284" y="9701"/>
                    <a:pt x="3285" y="9698"/>
                  </a:cubicBezTo>
                  <a:cubicBezTo>
                    <a:pt x="3317" y="9630"/>
                    <a:pt x="3344" y="9474"/>
                    <a:pt x="3344" y="9473"/>
                  </a:cubicBezTo>
                  <a:cubicBezTo>
                    <a:pt x="3345" y="9471"/>
                    <a:pt x="3345" y="9471"/>
                    <a:pt x="3345" y="9471"/>
                  </a:cubicBezTo>
                  <a:cubicBezTo>
                    <a:pt x="3092" y="8986"/>
                    <a:pt x="3092" y="8986"/>
                    <a:pt x="3092" y="8986"/>
                  </a:cubicBezTo>
                  <a:cubicBezTo>
                    <a:pt x="2924" y="9075"/>
                    <a:pt x="2924" y="9075"/>
                    <a:pt x="2924" y="9075"/>
                  </a:cubicBezTo>
                  <a:lnTo>
                    <a:pt x="2893" y="9010"/>
                  </a:lnTo>
                  <a:close/>
                  <a:moveTo>
                    <a:pt x="3329" y="9473"/>
                  </a:moveTo>
                  <a:cubicBezTo>
                    <a:pt x="3326" y="9492"/>
                    <a:pt x="3302" y="9617"/>
                    <a:pt x="3277" y="9681"/>
                  </a:cubicBezTo>
                  <a:cubicBezTo>
                    <a:pt x="3273" y="9676"/>
                    <a:pt x="3269" y="9670"/>
                    <a:pt x="3264" y="9663"/>
                  </a:cubicBezTo>
                  <a:cubicBezTo>
                    <a:pt x="3254" y="9647"/>
                    <a:pt x="3239" y="9625"/>
                    <a:pt x="3225" y="9603"/>
                  </a:cubicBezTo>
                  <a:cubicBezTo>
                    <a:pt x="3202" y="9566"/>
                    <a:pt x="3179" y="9529"/>
                    <a:pt x="3172" y="9518"/>
                  </a:cubicBezTo>
                  <a:cubicBezTo>
                    <a:pt x="3177" y="9504"/>
                    <a:pt x="3196" y="9456"/>
                    <a:pt x="3198" y="9430"/>
                  </a:cubicBezTo>
                  <a:cubicBezTo>
                    <a:pt x="3198" y="9430"/>
                    <a:pt x="3198" y="9430"/>
                    <a:pt x="3198" y="9430"/>
                  </a:cubicBezTo>
                  <a:cubicBezTo>
                    <a:pt x="3198" y="9430"/>
                    <a:pt x="3198" y="9430"/>
                    <a:pt x="3198" y="9430"/>
                  </a:cubicBezTo>
                  <a:cubicBezTo>
                    <a:pt x="3198" y="9425"/>
                    <a:pt x="3198" y="9427"/>
                    <a:pt x="3197" y="9426"/>
                  </a:cubicBezTo>
                  <a:cubicBezTo>
                    <a:pt x="3197" y="9425"/>
                    <a:pt x="3197" y="9424"/>
                    <a:pt x="3196" y="9423"/>
                  </a:cubicBezTo>
                  <a:cubicBezTo>
                    <a:pt x="3195" y="9421"/>
                    <a:pt x="3193" y="9418"/>
                    <a:pt x="3191" y="9414"/>
                  </a:cubicBezTo>
                  <a:cubicBezTo>
                    <a:pt x="3188" y="9407"/>
                    <a:pt x="3182" y="9397"/>
                    <a:pt x="3175" y="9384"/>
                  </a:cubicBezTo>
                  <a:cubicBezTo>
                    <a:pt x="3162" y="9360"/>
                    <a:pt x="3144" y="9328"/>
                    <a:pt x="3126" y="9295"/>
                  </a:cubicBezTo>
                  <a:cubicBezTo>
                    <a:pt x="3091" y="9231"/>
                    <a:pt x="3055" y="9167"/>
                    <a:pt x="3055" y="9167"/>
                  </a:cubicBezTo>
                  <a:cubicBezTo>
                    <a:pt x="3052" y="9160"/>
                    <a:pt x="3052" y="9160"/>
                    <a:pt x="3052" y="9160"/>
                  </a:cubicBezTo>
                  <a:cubicBezTo>
                    <a:pt x="2968" y="9205"/>
                    <a:pt x="2968" y="9205"/>
                    <a:pt x="2968" y="9205"/>
                  </a:cubicBezTo>
                  <a:cubicBezTo>
                    <a:pt x="3084" y="9446"/>
                    <a:pt x="3084" y="9446"/>
                    <a:pt x="3084" y="9446"/>
                  </a:cubicBezTo>
                  <a:cubicBezTo>
                    <a:pt x="3054" y="9493"/>
                    <a:pt x="3054" y="9493"/>
                    <a:pt x="3054" y="9493"/>
                  </a:cubicBezTo>
                  <a:cubicBezTo>
                    <a:pt x="3238" y="9760"/>
                    <a:pt x="3238" y="9760"/>
                    <a:pt x="3238" y="9760"/>
                  </a:cubicBezTo>
                  <a:cubicBezTo>
                    <a:pt x="3213" y="9794"/>
                    <a:pt x="3213" y="9794"/>
                    <a:pt x="3213" y="9794"/>
                  </a:cubicBezTo>
                  <a:cubicBezTo>
                    <a:pt x="2758" y="9100"/>
                    <a:pt x="2758" y="9100"/>
                    <a:pt x="2758" y="9100"/>
                  </a:cubicBezTo>
                  <a:cubicBezTo>
                    <a:pt x="2887" y="9030"/>
                    <a:pt x="2887" y="9030"/>
                    <a:pt x="2887" y="9030"/>
                  </a:cubicBezTo>
                  <a:cubicBezTo>
                    <a:pt x="2917" y="9095"/>
                    <a:pt x="2917" y="9095"/>
                    <a:pt x="2917" y="9095"/>
                  </a:cubicBezTo>
                  <a:cubicBezTo>
                    <a:pt x="3085" y="9006"/>
                    <a:pt x="3085" y="9006"/>
                    <a:pt x="3085" y="9006"/>
                  </a:cubicBezTo>
                  <a:lnTo>
                    <a:pt x="3329" y="9473"/>
                  </a:lnTo>
                  <a:close/>
                  <a:moveTo>
                    <a:pt x="3162" y="8876"/>
                  </a:moveTo>
                  <a:cubicBezTo>
                    <a:pt x="3356" y="9297"/>
                    <a:pt x="3356" y="9297"/>
                    <a:pt x="3356" y="9297"/>
                  </a:cubicBezTo>
                  <a:cubicBezTo>
                    <a:pt x="3370" y="9294"/>
                    <a:pt x="3370" y="9294"/>
                    <a:pt x="3370" y="9294"/>
                  </a:cubicBezTo>
                  <a:cubicBezTo>
                    <a:pt x="3370" y="9293"/>
                    <a:pt x="3370" y="9293"/>
                    <a:pt x="3370" y="9293"/>
                  </a:cubicBezTo>
                  <a:cubicBezTo>
                    <a:pt x="3369" y="9280"/>
                    <a:pt x="3373" y="9148"/>
                    <a:pt x="3436" y="9105"/>
                  </a:cubicBezTo>
                  <a:cubicBezTo>
                    <a:pt x="3484" y="9071"/>
                    <a:pt x="3507" y="9055"/>
                    <a:pt x="3516" y="9047"/>
                  </a:cubicBezTo>
                  <a:cubicBezTo>
                    <a:pt x="3546" y="9093"/>
                    <a:pt x="3546" y="9093"/>
                    <a:pt x="3546" y="9093"/>
                  </a:cubicBezTo>
                  <a:cubicBezTo>
                    <a:pt x="3552" y="9089"/>
                    <a:pt x="3552" y="9089"/>
                    <a:pt x="3552" y="9089"/>
                  </a:cubicBezTo>
                  <a:cubicBezTo>
                    <a:pt x="3552" y="9089"/>
                    <a:pt x="3617" y="9046"/>
                    <a:pt x="3675" y="9020"/>
                  </a:cubicBezTo>
                  <a:cubicBezTo>
                    <a:pt x="3732" y="8994"/>
                    <a:pt x="3816" y="8972"/>
                    <a:pt x="3816" y="8972"/>
                  </a:cubicBezTo>
                  <a:cubicBezTo>
                    <a:pt x="3825" y="8970"/>
                    <a:pt x="3825" y="8970"/>
                    <a:pt x="3825" y="8970"/>
                  </a:cubicBezTo>
                  <a:cubicBezTo>
                    <a:pt x="3803" y="8921"/>
                    <a:pt x="3803" y="8921"/>
                    <a:pt x="3803" y="8921"/>
                  </a:cubicBezTo>
                  <a:cubicBezTo>
                    <a:pt x="3918" y="8878"/>
                    <a:pt x="3918" y="8878"/>
                    <a:pt x="3918" y="8878"/>
                  </a:cubicBezTo>
                  <a:cubicBezTo>
                    <a:pt x="3799" y="8600"/>
                    <a:pt x="3799" y="8600"/>
                    <a:pt x="3799" y="8600"/>
                  </a:cubicBezTo>
                  <a:cubicBezTo>
                    <a:pt x="3796" y="8593"/>
                    <a:pt x="3796" y="8593"/>
                    <a:pt x="3796" y="8593"/>
                  </a:cubicBezTo>
                  <a:cubicBezTo>
                    <a:pt x="3548" y="8708"/>
                    <a:pt x="3548" y="8708"/>
                    <a:pt x="3548" y="8708"/>
                  </a:cubicBezTo>
                  <a:cubicBezTo>
                    <a:pt x="3524" y="8654"/>
                    <a:pt x="3524" y="8654"/>
                    <a:pt x="3524" y="8654"/>
                  </a:cubicBezTo>
                  <a:cubicBezTo>
                    <a:pt x="3244" y="8795"/>
                    <a:pt x="3244" y="8795"/>
                    <a:pt x="3244" y="8795"/>
                  </a:cubicBezTo>
                  <a:cubicBezTo>
                    <a:pt x="3259" y="8827"/>
                    <a:pt x="3259" y="8827"/>
                    <a:pt x="3259" y="8827"/>
                  </a:cubicBezTo>
                  <a:lnTo>
                    <a:pt x="3162" y="8876"/>
                  </a:lnTo>
                  <a:close/>
                  <a:moveTo>
                    <a:pt x="3517" y="8674"/>
                  </a:moveTo>
                  <a:cubicBezTo>
                    <a:pt x="3540" y="8728"/>
                    <a:pt x="3540" y="8728"/>
                    <a:pt x="3540" y="8728"/>
                  </a:cubicBezTo>
                  <a:cubicBezTo>
                    <a:pt x="3788" y="8613"/>
                    <a:pt x="3788" y="8613"/>
                    <a:pt x="3788" y="8613"/>
                  </a:cubicBezTo>
                  <a:cubicBezTo>
                    <a:pt x="3898" y="8869"/>
                    <a:pt x="3898" y="8869"/>
                    <a:pt x="3898" y="8869"/>
                  </a:cubicBezTo>
                  <a:cubicBezTo>
                    <a:pt x="3783" y="8913"/>
                    <a:pt x="3783" y="8913"/>
                    <a:pt x="3783" y="8913"/>
                  </a:cubicBezTo>
                  <a:cubicBezTo>
                    <a:pt x="3804" y="8960"/>
                    <a:pt x="3804" y="8960"/>
                    <a:pt x="3804" y="8960"/>
                  </a:cubicBezTo>
                  <a:cubicBezTo>
                    <a:pt x="3781" y="8966"/>
                    <a:pt x="3716" y="8984"/>
                    <a:pt x="3668" y="9006"/>
                  </a:cubicBezTo>
                  <a:cubicBezTo>
                    <a:pt x="3620" y="9028"/>
                    <a:pt x="3568" y="9061"/>
                    <a:pt x="3550" y="9072"/>
                  </a:cubicBezTo>
                  <a:cubicBezTo>
                    <a:pt x="3520" y="9026"/>
                    <a:pt x="3520" y="9026"/>
                    <a:pt x="3520" y="9026"/>
                  </a:cubicBezTo>
                  <a:cubicBezTo>
                    <a:pt x="3514" y="9031"/>
                    <a:pt x="3514" y="9031"/>
                    <a:pt x="3514" y="9031"/>
                  </a:cubicBezTo>
                  <a:cubicBezTo>
                    <a:pt x="3513" y="9031"/>
                    <a:pt x="3498" y="9043"/>
                    <a:pt x="3427" y="9093"/>
                  </a:cubicBezTo>
                  <a:cubicBezTo>
                    <a:pt x="3373" y="9132"/>
                    <a:pt x="3360" y="9217"/>
                    <a:pt x="3356" y="9264"/>
                  </a:cubicBezTo>
                  <a:cubicBezTo>
                    <a:pt x="3181" y="8883"/>
                    <a:pt x="3181" y="8883"/>
                    <a:pt x="3181" y="8883"/>
                  </a:cubicBezTo>
                  <a:cubicBezTo>
                    <a:pt x="3278" y="8834"/>
                    <a:pt x="3278" y="8834"/>
                    <a:pt x="3278" y="8834"/>
                  </a:cubicBezTo>
                  <a:cubicBezTo>
                    <a:pt x="3263" y="8802"/>
                    <a:pt x="3263" y="8802"/>
                    <a:pt x="3263" y="8802"/>
                  </a:cubicBezTo>
                  <a:lnTo>
                    <a:pt x="3517" y="8674"/>
                  </a:lnTo>
                  <a:close/>
                  <a:moveTo>
                    <a:pt x="3352" y="9001"/>
                  </a:moveTo>
                  <a:cubicBezTo>
                    <a:pt x="3352" y="9001"/>
                    <a:pt x="3382" y="8978"/>
                    <a:pt x="3435" y="8946"/>
                  </a:cubicBezTo>
                  <a:cubicBezTo>
                    <a:pt x="3437" y="8944"/>
                    <a:pt x="3440" y="8944"/>
                    <a:pt x="3443" y="8944"/>
                  </a:cubicBezTo>
                  <a:cubicBezTo>
                    <a:pt x="3454" y="8944"/>
                    <a:pt x="3471" y="8953"/>
                    <a:pt x="3485" y="8964"/>
                  </a:cubicBezTo>
                  <a:cubicBezTo>
                    <a:pt x="3498" y="8974"/>
                    <a:pt x="3508" y="8984"/>
                    <a:pt x="3508" y="8984"/>
                  </a:cubicBezTo>
                  <a:cubicBezTo>
                    <a:pt x="3511" y="8988"/>
                    <a:pt x="3511" y="8988"/>
                    <a:pt x="3511" y="8988"/>
                  </a:cubicBezTo>
                  <a:cubicBezTo>
                    <a:pt x="3637" y="8931"/>
                    <a:pt x="3637" y="8931"/>
                    <a:pt x="3637" y="8931"/>
                  </a:cubicBezTo>
                  <a:cubicBezTo>
                    <a:pt x="3632" y="8924"/>
                    <a:pt x="3632" y="8924"/>
                    <a:pt x="3632" y="8924"/>
                  </a:cubicBezTo>
                  <a:cubicBezTo>
                    <a:pt x="3632" y="8924"/>
                    <a:pt x="3624" y="8911"/>
                    <a:pt x="3616" y="8896"/>
                  </a:cubicBezTo>
                  <a:cubicBezTo>
                    <a:pt x="3608" y="8881"/>
                    <a:pt x="3600" y="8861"/>
                    <a:pt x="3600" y="8851"/>
                  </a:cubicBezTo>
                  <a:cubicBezTo>
                    <a:pt x="3600" y="8845"/>
                    <a:pt x="3601" y="8844"/>
                    <a:pt x="3603" y="8843"/>
                  </a:cubicBezTo>
                  <a:cubicBezTo>
                    <a:pt x="3658" y="8809"/>
                    <a:pt x="3699" y="8784"/>
                    <a:pt x="3699" y="8784"/>
                  </a:cubicBezTo>
                  <a:cubicBezTo>
                    <a:pt x="3704" y="8780"/>
                    <a:pt x="3704" y="8780"/>
                    <a:pt x="3704" y="8780"/>
                  </a:cubicBezTo>
                  <a:cubicBezTo>
                    <a:pt x="3684" y="8738"/>
                    <a:pt x="3684" y="8738"/>
                    <a:pt x="3684" y="8738"/>
                  </a:cubicBezTo>
                  <a:cubicBezTo>
                    <a:pt x="3302" y="8924"/>
                    <a:pt x="3302" y="8924"/>
                    <a:pt x="3302" y="8924"/>
                  </a:cubicBezTo>
                  <a:cubicBezTo>
                    <a:pt x="3345" y="9006"/>
                    <a:pt x="3345" y="9006"/>
                    <a:pt x="3345" y="9006"/>
                  </a:cubicBezTo>
                  <a:lnTo>
                    <a:pt x="3352" y="9001"/>
                  </a:lnTo>
                  <a:close/>
                  <a:moveTo>
                    <a:pt x="3677" y="8758"/>
                  </a:moveTo>
                  <a:cubicBezTo>
                    <a:pt x="3685" y="8775"/>
                    <a:pt x="3685" y="8775"/>
                    <a:pt x="3685" y="8775"/>
                  </a:cubicBezTo>
                  <a:cubicBezTo>
                    <a:pt x="3672" y="8783"/>
                    <a:pt x="3638" y="8804"/>
                    <a:pt x="3595" y="8830"/>
                  </a:cubicBezTo>
                  <a:cubicBezTo>
                    <a:pt x="3588" y="8835"/>
                    <a:pt x="3585" y="8843"/>
                    <a:pt x="3585" y="8851"/>
                  </a:cubicBezTo>
                  <a:cubicBezTo>
                    <a:pt x="3586" y="8875"/>
                    <a:pt x="3606" y="8910"/>
                    <a:pt x="3615" y="8925"/>
                  </a:cubicBezTo>
                  <a:cubicBezTo>
                    <a:pt x="3515" y="8970"/>
                    <a:pt x="3515" y="8970"/>
                    <a:pt x="3515" y="8970"/>
                  </a:cubicBezTo>
                  <a:cubicBezTo>
                    <a:pt x="3504" y="8960"/>
                    <a:pt x="3472" y="8930"/>
                    <a:pt x="3443" y="8929"/>
                  </a:cubicBezTo>
                  <a:cubicBezTo>
                    <a:pt x="3438" y="8929"/>
                    <a:pt x="3432" y="8930"/>
                    <a:pt x="3427" y="8933"/>
                  </a:cubicBezTo>
                  <a:cubicBezTo>
                    <a:pt x="3389" y="8957"/>
                    <a:pt x="3362" y="8976"/>
                    <a:pt x="3350" y="8984"/>
                  </a:cubicBezTo>
                  <a:cubicBezTo>
                    <a:pt x="3322" y="8931"/>
                    <a:pt x="3322" y="8931"/>
                    <a:pt x="3322" y="8931"/>
                  </a:cubicBezTo>
                  <a:lnTo>
                    <a:pt x="3677" y="8758"/>
                  </a:lnTo>
                  <a:close/>
                  <a:moveTo>
                    <a:pt x="3999" y="9637"/>
                  </a:moveTo>
                  <a:cubicBezTo>
                    <a:pt x="4161" y="9519"/>
                    <a:pt x="4161" y="9519"/>
                    <a:pt x="4161" y="9519"/>
                  </a:cubicBezTo>
                  <a:cubicBezTo>
                    <a:pt x="4139" y="9489"/>
                    <a:pt x="4139" y="9489"/>
                    <a:pt x="4139" y="9489"/>
                  </a:cubicBezTo>
                  <a:cubicBezTo>
                    <a:pt x="4153" y="9471"/>
                    <a:pt x="4153" y="9471"/>
                    <a:pt x="4153" y="9471"/>
                  </a:cubicBezTo>
                  <a:cubicBezTo>
                    <a:pt x="4156" y="9468"/>
                    <a:pt x="4156" y="9468"/>
                    <a:pt x="4156" y="9468"/>
                  </a:cubicBezTo>
                  <a:cubicBezTo>
                    <a:pt x="4070" y="9284"/>
                    <a:pt x="4070" y="9284"/>
                    <a:pt x="4070" y="9284"/>
                  </a:cubicBezTo>
                  <a:cubicBezTo>
                    <a:pt x="4109" y="9266"/>
                    <a:pt x="4109" y="9266"/>
                    <a:pt x="4109" y="9266"/>
                  </a:cubicBezTo>
                  <a:cubicBezTo>
                    <a:pt x="4012" y="9046"/>
                    <a:pt x="4012" y="9046"/>
                    <a:pt x="4012" y="9046"/>
                  </a:cubicBezTo>
                  <a:cubicBezTo>
                    <a:pt x="3736" y="9122"/>
                    <a:pt x="3736" y="9122"/>
                    <a:pt x="3736" y="9122"/>
                  </a:cubicBezTo>
                  <a:cubicBezTo>
                    <a:pt x="3758" y="9175"/>
                    <a:pt x="3758" y="9175"/>
                    <a:pt x="3758" y="9175"/>
                  </a:cubicBezTo>
                  <a:cubicBezTo>
                    <a:pt x="3620" y="9229"/>
                    <a:pt x="3620" y="9229"/>
                    <a:pt x="3620" y="9229"/>
                  </a:cubicBezTo>
                  <a:cubicBezTo>
                    <a:pt x="3686" y="9324"/>
                    <a:pt x="3686" y="9324"/>
                    <a:pt x="3686" y="9324"/>
                  </a:cubicBezTo>
                  <a:cubicBezTo>
                    <a:pt x="3732" y="9294"/>
                    <a:pt x="3732" y="9294"/>
                    <a:pt x="3732" y="9294"/>
                  </a:cubicBezTo>
                  <a:cubicBezTo>
                    <a:pt x="3767" y="9343"/>
                    <a:pt x="3767" y="9343"/>
                    <a:pt x="3767" y="9343"/>
                  </a:cubicBezTo>
                  <a:cubicBezTo>
                    <a:pt x="3723" y="9372"/>
                    <a:pt x="3723" y="9372"/>
                    <a:pt x="3723" y="9372"/>
                  </a:cubicBezTo>
                  <a:cubicBezTo>
                    <a:pt x="3813" y="9490"/>
                    <a:pt x="3813" y="9490"/>
                    <a:pt x="3813" y="9490"/>
                  </a:cubicBezTo>
                  <a:cubicBezTo>
                    <a:pt x="3860" y="9453"/>
                    <a:pt x="3860" y="9453"/>
                    <a:pt x="3860" y="9453"/>
                  </a:cubicBezTo>
                  <a:cubicBezTo>
                    <a:pt x="3896" y="9501"/>
                    <a:pt x="3896" y="9501"/>
                    <a:pt x="3896" y="9501"/>
                  </a:cubicBezTo>
                  <a:cubicBezTo>
                    <a:pt x="3849" y="9537"/>
                    <a:pt x="3849" y="9537"/>
                    <a:pt x="3849" y="9537"/>
                  </a:cubicBezTo>
                  <a:cubicBezTo>
                    <a:pt x="3936" y="9651"/>
                    <a:pt x="3936" y="9651"/>
                    <a:pt x="3936" y="9651"/>
                  </a:cubicBezTo>
                  <a:cubicBezTo>
                    <a:pt x="3979" y="9612"/>
                    <a:pt x="3979" y="9612"/>
                    <a:pt x="3979" y="9612"/>
                  </a:cubicBezTo>
                  <a:lnTo>
                    <a:pt x="3999" y="9637"/>
                  </a:lnTo>
                  <a:close/>
                  <a:moveTo>
                    <a:pt x="3870" y="9540"/>
                  </a:moveTo>
                  <a:cubicBezTo>
                    <a:pt x="3916" y="9503"/>
                    <a:pt x="3916" y="9503"/>
                    <a:pt x="3916" y="9503"/>
                  </a:cubicBezTo>
                  <a:cubicBezTo>
                    <a:pt x="3863" y="9432"/>
                    <a:pt x="3863" y="9432"/>
                    <a:pt x="3863" y="9432"/>
                  </a:cubicBezTo>
                  <a:cubicBezTo>
                    <a:pt x="3816" y="9470"/>
                    <a:pt x="3816" y="9470"/>
                    <a:pt x="3816" y="9470"/>
                  </a:cubicBezTo>
                  <a:cubicBezTo>
                    <a:pt x="3745" y="9375"/>
                    <a:pt x="3745" y="9375"/>
                    <a:pt x="3745" y="9375"/>
                  </a:cubicBezTo>
                  <a:cubicBezTo>
                    <a:pt x="3787" y="9347"/>
                    <a:pt x="3787" y="9347"/>
                    <a:pt x="3787" y="9347"/>
                  </a:cubicBezTo>
                  <a:cubicBezTo>
                    <a:pt x="3736" y="9274"/>
                    <a:pt x="3736" y="9274"/>
                    <a:pt x="3736" y="9274"/>
                  </a:cubicBezTo>
                  <a:cubicBezTo>
                    <a:pt x="3690" y="9304"/>
                    <a:pt x="3690" y="9304"/>
                    <a:pt x="3690" y="9304"/>
                  </a:cubicBezTo>
                  <a:cubicBezTo>
                    <a:pt x="3643" y="9236"/>
                    <a:pt x="3643" y="9236"/>
                    <a:pt x="3643" y="9236"/>
                  </a:cubicBezTo>
                  <a:cubicBezTo>
                    <a:pt x="3778" y="9183"/>
                    <a:pt x="3778" y="9183"/>
                    <a:pt x="3778" y="9183"/>
                  </a:cubicBezTo>
                  <a:cubicBezTo>
                    <a:pt x="3756" y="9131"/>
                    <a:pt x="3756" y="9131"/>
                    <a:pt x="3756" y="9131"/>
                  </a:cubicBezTo>
                  <a:cubicBezTo>
                    <a:pt x="4004" y="9064"/>
                    <a:pt x="4004" y="9064"/>
                    <a:pt x="4004" y="9064"/>
                  </a:cubicBezTo>
                  <a:cubicBezTo>
                    <a:pt x="4090" y="9258"/>
                    <a:pt x="4090" y="9258"/>
                    <a:pt x="4090" y="9258"/>
                  </a:cubicBezTo>
                  <a:cubicBezTo>
                    <a:pt x="4050" y="9276"/>
                    <a:pt x="4050" y="9276"/>
                    <a:pt x="4050" y="9276"/>
                  </a:cubicBezTo>
                  <a:cubicBezTo>
                    <a:pt x="4138" y="9466"/>
                    <a:pt x="4138" y="9466"/>
                    <a:pt x="4138" y="9466"/>
                  </a:cubicBezTo>
                  <a:cubicBezTo>
                    <a:pt x="4120" y="9489"/>
                    <a:pt x="4120" y="9489"/>
                    <a:pt x="4120" y="9489"/>
                  </a:cubicBezTo>
                  <a:cubicBezTo>
                    <a:pt x="4140" y="9516"/>
                    <a:pt x="4140" y="9516"/>
                    <a:pt x="4140" y="9516"/>
                  </a:cubicBezTo>
                  <a:cubicBezTo>
                    <a:pt x="4002" y="9617"/>
                    <a:pt x="4002" y="9617"/>
                    <a:pt x="4002" y="9617"/>
                  </a:cubicBezTo>
                  <a:cubicBezTo>
                    <a:pt x="3981" y="9590"/>
                    <a:pt x="3981" y="9590"/>
                    <a:pt x="3981" y="9590"/>
                  </a:cubicBezTo>
                  <a:cubicBezTo>
                    <a:pt x="3938" y="9629"/>
                    <a:pt x="3938" y="9629"/>
                    <a:pt x="3938" y="9629"/>
                  </a:cubicBezTo>
                  <a:lnTo>
                    <a:pt x="3870" y="9540"/>
                  </a:lnTo>
                  <a:close/>
                  <a:moveTo>
                    <a:pt x="4093" y="8911"/>
                  </a:moveTo>
                  <a:cubicBezTo>
                    <a:pt x="4417" y="8707"/>
                    <a:pt x="4417" y="8707"/>
                    <a:pt x="4417" y="8707"/>
                  </a:cubicBezTo>
                  <a:cubicBezTo>
                    <a:pt x="4400" y="8647"/>
                    <a:pt x="4400" y="8647"/>
                    <a:pt x="4400" y="8647"/>
                  </a:cubicBezTo>
                  <a:cubicBezTo>
                    <a:pt x="4357" y="8648"/>
                    <a:pt x="4357" y="8648"/>
                    <a:pt x="4357" y="8648"/>
                  </a:cubicBezTo>
                  <a:cubicBezTo>
                    <a:pt x="4336" y="8450"/>
                    <a:pt x="4336" y="8450"/>
                    <a:pt x="4336" y="8450"/>
                  </a:cubicBezTo>
                  <a:cubicBezTo>
                    <a:pt x="4314" y="8338"/>
                    <a:pt x="4314" y="8338"/>
                    <a:pt x="4314" y="8338"/>
                  </a:cubicBezTo>
                  <a:cubicBezTo>
                    <a:pt x="4313" y="8330"/>
                    <a:pt x="4313" y="8330"/>
                    <a:pt x="4313" y="8330"/>
                  </a:cubicBezTo>
                  <a:cubicBezTo>
                    <a:pt x="4137" y="8369"/>
                    <a:pt x="4137" y="8369"/>
                    <a:pt x="4137" y="8369"/>
                  </a:cubicBezTo>
                  <a:cubicBezTo>
                    <a:pt x="4154" y="8423"/>
                    <a:pt x="4154" y="8423"/>
                    <a:pt x="4154" y="8423"/>
                  </a:cubicBezTo>
                  <a:cubicBezTo>
                    <a:pt x="4123" y="8431"/>
                    <a:pt x="4123" y="8431"/>
                    <a:pt x="4123" y="8431"/>
                  </a:cubicBezTo>
                  <a:cubicBezTo>
                    <a:pt x="4018" y="8403"/>
                    <a:pt x="4018" y="8403"/>
                    <a:pt x="4018" y="8403"/>
                  </a:cubicBezTo>
                  <a:cubicBezTo>
                    <a:pt x="3889" y="8453"/>
                    <a:pt x="3889" y="8453"/>
                    <a:pt x="3889" y="8453"/>
                  </a:cubicBezTo>
                  <a:cubicBezTo>
                    <a:pt x="3981" y="8676"/>
                    <a:pt x="3981" y="8676"/>
                    <a:pt x="3981" y="8676"/>
                  </a:cubicBezTo>
                  <a:cubicBezTo>
                    <a:pt x="4063" y="8696"/>
                    <a:pt x="4063" y="8696"/>
                    <a:pt x="4063" y="8696"/>
                  </a:cubicBezTo>
                  <a:cubicBezTo>
                    <a:pt x="4072" y="8716"/>
                    <a:pt x="4072" y="8716"/>
                    <a:pt x="4072" y="8716"/>
                  </a:cubicBezTo>
                  <a:cubicBezTo>
                    <a:pt x="4015" y="8749"/>
                    <a:pt x="4015" y="8749"/>
                    <a:pt x="4015" y="8749"/>
                  </a:cubicBezTo>
                  <a:lnTo>
                    <a:pt x="4093" y="8911"/>
                  </a:lnTo>
                  <a:close/>
                  <a:moveTo>
                    <a:pt x="4074" y="8683"/>
                  </a:moveTo>
                  <a:cubicBezTo>
                    <a:pt x="3991" y="8664"/>
                    <a:pt x="3991" y="8664"/>
                    <a:pt x="3991" y="8664"/>
                  </a:cubicBezTo>
                  <a:cubicBezTo>
                    <a:pt x="3908" y="8461"/>
                    <a:pt x="3908" y="8461"/>
                    <a:pt x="3908" y="8461"/>
                  </a:cubicBezTo>
                  <a:cubicBezTo>
                    <a:pt x="4018" y="8419"/>
                    <a:pt x="4018" y="8419"/>
                    <a:pt x="4018" y="8419"/>
                  </a:cubicBezTo>
                  <a:cubicBezTo>
                    <a:pt x="4123" y="8447"/>
                    <a:pt x="4123" y="8447"/>
                    <a:pt x="4123" y="8447"/>
                  </a:cubicBezTo>
                  <a:cubicBezTo>
                    <a:pt x="4172" y="8434"/>
                    <a:pt x="4172" y="8434"/>
                    <a:pt x="4172" y="8434"/>
                  </a:cubicBezTo>
                  <a:cubicBezTo>
                    <a:pt x="4156" y="8380"/>
                    <a:pt x="4156" y="8380"/>
                    <a:pt x="4156" y="8380"/>
                  </a:cubicBezTo>
                  <a:cubicBezTo>
                    <a:pt x="4301" y="8348"/>
                    <a:pt x="4301" y="8348"/>
                    <a:pt x="4301" y="8348"/>
                  </a:cubicBezTo>
                  <a:cubicBezTo>
                    <a:pt x="4321" y="8452"/>
                    <a:pt x="4321" y="8452"/>
                    <a:pt x="4321" y="8452"/>
                  </a:cubicBezTo>
                  <a:cubicBezTo>
                    <a:pt x="4344" y="8663"/>
                    <a:pt x="4344" y="8663"/>
                    <a:pt x="4344" y="8663"/>
                  </a:cubicBezTo>
                  <a:cubicBezTo>
                    <a:pt x="4389" y="8662"/>
                    <a:pt x="4389" y="8662"/>
                    <a:pt x="4389" y="8662"/>
                  </a:cubicBezTo>
                  <a:cubicBezTo>
                    <a:pt x="4400" y="8700"/>
                    <a:pt x="4400" y="8700"/>
                    <a:pt x="4400" y="8700"/>
                  </a:cubicBezTo>
                  <a:cubicBezTo>
                    <a:pt x="4099" y="8890"/>
                    <a:pt x="4099" y="8890"/>
                    <a:pt x="4099" y="8890"/>
                  </a:cubicBezTo>
                  <a:cubicBezTo>
                    <a:pt x="4035" y="8755"/>
                    <a:pt x="4035" y="8755"/>
                    <a:pt x="4035" y="8755"/>
                  </a:cubicBezTo>
                  <a:cubicBezTo>
                    <a:pt x="4091" y="8723"/>
                    <a:pt x="4091" y="8723"/>
                    <a:pt x="4091" y="8723"/>
                  </a:cubicBezTo>
                  <a:lnTo>
                    <a:pt x="4074" y="8683"/>
                  </a:lnTo>
                  <a:close/>
                  <a:moveTo>
                    <a:pt x="4222" y="8689"/>
                  </a:moveTo>
                  <a:cubicBezTo>
                    <a:pt x="4181" y="8475"/>
                    <a:pt x="4181" y="8475"/>
                    <a:pt x="4181" y="8475"/>
                  </a:cubicBezTo>
                  <a:cubicBezTo>
                    <a:pt x="4179" y="8466"/>
                    <a:pt x="4179" y="8466"/>
                    <a:pt x="4179" y="8466"/>
                  </a:cubicBezTo>
                  <a:cubicBezTo>
                    <a:pt x="4107" y="8500"/>
                    <a:pt x="4107" y="8500"/>
                    <a:pt x="4107" y="8500"/>
                  </a:cubicBezTo>
                  <a:cubicBezTo>
                    <a:pt x="4190" y="8703"/>
                    <a:pt x="4190" y="8703"/>
                    <a:pt x="4190" y="8703"/>
                  </a:cubicBezTo>
                  <a:lnTo>
                    <a:pt x="4222" y="8689"/>
                  </a:lnTo>
                  <a:close/>
                  <a:moveTo>
                    <a:pt x="4168" y="8487"/>
                  </a:moveTo>
                  <a:cubicBezTo>
                    <a:pt x="4205" y="8681"/>
                    <a:pt x="4205" y="8681"/>
                    <a:pt x="4205" y="8681"/>
                  </a:cubicBezTo>
                  <a:cubicBezTo>
                    <a:pt x="4198" y="8684"/>
                    <a:pt x="4198" y="8684"/>
                    <a:pt x="4198" y="8684"/>
                  </a:cubicBezTo>
                  <a:cubicBezTo>
                    <a:pt x="4126" y="8507"/>
                    <a:pt x="4126" y="8507"/>
                    <a:pt x="4126" y="8507"/>
                  </a:cubicBezTo>
                  <a:lnTo>
                    <a:pt x="4168" y="8487"/>
                  </a:lnTo>
                  <a:close/>
                  <a:moveTo>
                    <a:pt x="3573" y="10791"/>
                  </a:moveTo>
                  <a:cubicBezTo>
                    <a:pt x="3719" y="10675"/>
                    <a:pt x="3719" y="10675"/>
                    <a:pt x="3719" y="10675"/>
                  </a:cubicBezTo>
                  <a:cubicBezTo>
                    <a:pt x="3772" y="10727"/>
                    <a:pt x="3772" y="10727"/>
                    <a:pt x="3772" y="10727"/>
                  </a:cubicBezTo>
                  <a:cubicBezTo>
                    <a:pt x="3986" y="10680"/>
                    <a:pt x="3986" y="10680"/>
                    <a:pt x="3986" y="10680"/>
                  </a:cubicBezTo>
                  <a:cubicBezTo>
                    <a:pt x="3967" y="10584"/>
                    <a:pt x="3967" y="10584"/>
                    <a:pt x="3967" y="10584"/>
                  </a:cubicBezTo>
                  <a:cubicBezTo>
                    <a:pt x="4097" y="10546"/>
                    <a:pt x="4097" y="10546"/>
                    <a:pt x="4097" y="10546"/>
                  </a:cubicBezTo>
                  <a:cubicBezTo>
                    <a:pt x="4098" y="10451"/>
                    <a:pt x="4098" y="10451"/>
                    <a:pt x="4098" y="10451"/>
                  </a:cubicBezTo>
                  <a:cubicBezTo>
                    <a:pt x="4098" y="10441"/>
                    <a:pt x="4098" y="10441"/>
                    <a:pt x="4098" y="10441"/>
                  </a:cubicBezTo>
                  <a:cubicBezTo>
                    <a:pt x="3302" y="10681"/>
                    <a:pt x="3302" y="10681"/>
                    <a:pt x="3302" y="10681"/>
                  </a:cubicBezTo>
                  <a:cubicBezTo>
                    <a:pt x="3455" y="10888"/>
                    <a:pt x="3455" y="10888"/>
                    <a:pt x="3455" y="10888"/>
                  </a:cubicBezTo>
                  <a:cubicBezTo>
                    <a:pt x="3596" y="10837"/>
                    <a:pt x="3596" y="10837"/>
                    <a:pt x="3596" y="10837"/>
                  </a:cubicBezTo>
                  <a:lnTo>
                    <a:pt x="3573" y="10791"/>
                  </a:lnTo>
                  <a:close/>
                  <a:moveTo>
                    <a:pt x="3327" y="10689"/>
                  </a:moveTo>
                  <a:cubicBezTo>
                    <a:pt x="4083" y="10461"/>
                    <a:pt x="4083" y="10461"/>
                    <a:pt x="4083" y="10461"/>
                  </a:cubicBezTo>
                  <a:cubicBezTo>
                    <a:pt x="4082" y="10535"/>
                    <a:pt x="4082" y="10535"/>
                    <a:pt x="4082" y="10535"/>
                  </a:cubicBezTo>
                  <a:cubicBezTo>
                    <a:pt x="3950" y="10573"/>
                    <a:pt x="3950" y="10573"/>
                    <a:pt x="3950" y="10573"/>
                  </a:cubicBezTo>
                  <a:cubicBezTo>
                    <a:pt x="3969" y="10669"/>
                    <a:pt x="3969" y="10669"/>
                    <a:pt x="3969" y="10669"/>
                  </a:cubicBezTo>
                  <a:cubicBezTo>
                    <a:pt x="3777" y="10711"/>
                    <a:pt x="3777" y="10711"/>
                    <a:pt x="3777" y="10711"/>
                  </a:cubicBezTo>
                  <a:cubicBezTo>
                    <a:pt x="3720" y="10655"/>
                    <a:pt x="3720" y="10655"/>
                    <a:pt x="3720" y="10655"/>
                  </a:cubicBezTo>
                  <a:cubicBezTo>
                    <a:pt x="3555" y="10787"/>
                    <a:pt x="3555" y="10787"/>
                    <a:pt x="3555" y="10787"/>
                  </a:cubicBezTo>
                  <a:cubicBezTo>
                    <a:pt x="3576" y="10829"/>
                    <a:pt x="3576" y="10829"/>
                    <a:pt x="3576" y="10829"/>
                  </a:cubicBezTo>
                  <a:cubicBezTo>
                    <a:pt x="3460" y="10871"/>
                    <a:pt x="3460" y="10871"/>
                    <a:pt x="3460" y="10871"/>
                  </a:cubicBezTo>
                  <a:lnTo>
                    <a:pt x="3327" y="10689"/>
                  </a:lnTo>
                  <a:close/>
                  <a:moveTo>
                    <a:pt x="4018" y="10705"/>
                  </a:moveTo>
                  <a:cubicBezTo>
                    <a:pt x="4026" y="10762"/>
                    <a:pt x="4026" y="10762"/>
                    <a:pt x="4026" y="10762"/>
                  </a:cubicBezTo>
                  <a:cubicBezTo>
                    <a:pt x="3802" y="10810"/>
                    <a:pt x="3802" y="10810"/>
                    <a:pt x="3802" y="10810"/>
                  </a:cubicBezTo>
                  <a:cubicBezTo>
                    <a:pt x="3742" y="10773"/>
                    <a:pt x="3742" y="10773"/>
                    <a:pt x="3742" y="10773"/>
                  </a:cubicBezTo>
                  <a:cubicBezTo>
                    <a:pt x="3647" y="10820"/>
                    <a:pt x="3647" y="10820"/>
                    <a:pt x="3647" y="10820"/>
                  </a:cubicBezTo>
                  <a:cubicBezTo>
                    <a:pt x="3676" y="10858"/>
                    <a:pt x="3676" y="10858"/>
                    <a:pt x="3676" y="10858"/>
                  </a:cubicBezTo>
                  <a:cubicBezTo>
                    <a:pt x="3513" y="10935"/>
                    <a:pt x="3513" y="10935"/>
                    <a:pt x="3513" y="10935"/>
                  </a:cubicBezTo>
                  <a:cubicBezTo>
                    <a:pt x="3646" y="11096"/>
                    <a:pt x="3646" y="11096"/>
                    <a:pt x="3646" y="11096"/>
                  </a:cubicBezTo>
                  <a:cubicBezTo>
                    <a:pt x="3821" y="11045"/>
                    <a:pt x="3821" y="11045"/>
                    <a:pt x="3821" y="11045"/>
                  </a:cubicBezTo>
                  <a:cubicBezTo>
                    <a:pt x="3814" y="10968"/>
                    <a:pt x="3814" y="10968"/>
                    <a:pt x="3814" y="10968"/>
                  </a:cubicBezTo>
                  <a:cubicBezTo>
                    <a:pt x="4012" y="10926"/>
                    <a:pt x="4012" y="10926"/>
                    <a:pt x="4012" y="10926"/>
                  </a:cubicBezTo>
                  <a:cubicBezTo>
                    <a:pt x="4022" y="10981"/>
                    <a:pt x="4022" y="10981"/>
                    <a:pt x="4022" y="10981"/>
                  </a:cubicBezTo>
                  <a:cubicBezTo>
                    <a:pt x="4090" y="10965"/>
                    <a:pt x="4090" y="10965"/>
                    <a:pt x="4090" y="10965"/>
                  </a:cubicBezTo>
                  <a:cubicBezTo>
                    <a:pt x="4185" y="10729"/>
                    <a:pt x="4185" y="10729"/>
                    <a:pt x="4185" y="10729"/>
                  </a:cubicBezTo>
                  <a:cubicBezTo>
                    <a:pt x="4186" y="10724"/>
                    <a:pt x="4186" y="10724"/>
                    <a:pt x="4186" y="10724"/>
                  </a:cubicBezTo>
                  <a:cubicBezTo>
                    <a:pt x="4126" y="10666"/>
                    <a:pt x="4126" y="10666"/>
                    <a:pt x="4126" y="10666"/>
                  </a:cubicBezTo>
                  <a:lnTo>
                    <a:pt x="4018" y="10705"/>
                  </a:lnTo>
                  <a:close/>
                  <a:moveTo>
                    <a:pt x="4079" y="10952"/>
                  </a:moveTo>
                  <a:cubicBezTo>
                    <a:pt x="4034" y="10963"/>
                    <a:pt x="4034" y="10963"/>
                    <a:pt x="4034" y="10963"/>
                  </a:cubicBezTo>
                  <a:cubicBezTo>
                    <a:pt x="4023" y="10909"/>
                    <a:pt x="4023" y="10909"/>
                    <a:pt x="4023" y="10909"/>
                  </a:cubicBezTo>
                  <a:cubicBezTo>
                    <a:pt x="3798" y="10957"/>
                    <a:pt x="3798" y="10957"/>
                    <a:pt x="3798" y="10957"/>
                  </a:cubicBezTo>
                  <a:cubicBezTo>
                    <a:pt x="3805" y="11034"/>
                    <a:pt x="3805" y="11034"/>
                    <a:pt x="3805" y="11034"/>
                  </a:cubicBezTo>
                  <a:cubicBezTo>
                    <a:pt x="3652" y="11079"/>
                    <a:pt x="3652" y="11079"/>
                    <a:pt x="3652" y="11079"/>
                  </a:cubicBezTo>
                  <a:cubicBezTo>
                    <a:pt x="3536" y="10940"/>
                    <a:pt x="3536" y="10940"/>
                    <a:pt x="3536" y="10940"/>
                  </a:cubicBezTo>
                  <a:cubicBezTo>
                    <a:pt x="3699" y="10863"/>
                    <a:pt x="3699" y="10863"/>
                    <a:pt x="3699" y="10863"/>
                  </a:cubicBezTo>
                  <a:cubicBezTo>
                    <a:pt x="3670" y="10825"/>
                    <a:pt x="3670" y="10825"/>
                    <a:pt x="3670" y="10825"/>
                  </a:cubicBezTo>
                  <a:cubicBezTo>
                    <a:pt x="3741" y="10790"/>
                    <a:pt x="3741" y="10790"/>
                    <a:pt x="3741" y="10790"/>
                  </a:cubicBezTo>
                  <a:cubicBezTo>
                    <a:pt x="3800" y="10826"/>
                    <a:pt x="3800" y="10826"/>
                    <a:pt x="3800" y="10826"/>
                  </a:cubicBezTo>
                  <a:cubicBezTo>
                    <a:pt x="4043" y="10773"/>
                    <a:pt x="4043" y="10773"/>
                    <a:pt x="4043" y="10773"/>
                  </a:cubicBezTo>
                  <a:cubicBezTo>
                    <a:pt x="4034" y="10715"/>
                    <a:pt x="4034" y="10715"/>
                    <a:pt x="4034" y="10715"/>
                  </a:cubicBezTo>
                  <a:cubicBezTo>
                    <a:pt x="4122" y="10683"/>
                    <a:pt x="4122" y="10683"/>
                    <a:pt x="4122" y="10683"/>
                  </a:cubicBezTo>
                  <a:cubicBezTo>
                    <a:pt x="4169" y="10728"/>
                    <a:pt x="4169" y="10728"/>
                    <a:pt x="4169" y="10728"/>
                  </a:cubicBezTo>
                  <a:lnTo>
                    <a:pt x="4079" y="10952"/>
                  </a:lnTo>
                  <a:close/>
                  <a:moveTo>
                    <a:pt x="4358" y="10716"/>
                  </a:moveTo>
                  <a:cubicBezTo>
                    <a:pt x="4273" y="10775"/>
                    <a:pt x="4273" y="10775"/>
                    <a:pt x="4273" y="10775"/>
                  </a:cubicBezTo>
                  <a:cubicBezTo>
                    <a:pt x="4198" y="10958"/>
                    <a:pt x="4198" y="10958"/>
                    <a:pt x="4198" y="10958"/>
                  </a:cubicBezTo>
                  <a:cubicBezTo>
                    <a:pt x="4484" y="11037"/>
                    <a:pt x="4484" y="11037"/>
                    <a:pt x="4484" y="11037"/>
                  </a:cubicBezTo>
                  <a:cubicBezTo>
                    <a:pt x="4613" y="10963"/>
                    <a:pt x="4613" y="10963"/>
                    <a:pt x="4613" y="10963"/>
                  </a:cubicBezTo>
                  <a:cubicBezTo>
                    <a:pt x="4618" y="10959"/>
                    <a:pt x="4618" y="10959"/>
                    <a:pt x="4618" y="10959"/>
                  </a:cubicBezTo>
                  <a:cubicBezTo>
                    <a:pt x="4527" y="10699"/>
                    <a:pt x="4527" y="10699"/>
                    <a:pt x="4527" y="10699"/>
                  </a:cubicBezTo>
                  <a:lnTo>
                    <a:pt x="4358" y="10716"/>
                  </a:lnTo>
                  <a:close/>
                  <a:moveTo>
                    <a:pt x="4482" y="11022"/>
                  </a:moveTo>
                  <a:cubicBezTo>
                    <a:pt x="4218" y="10948"/>
                    <a:pt x="4218" y="10948"/>
                    <a:pt x="4218" y="10948"/>
                  </a:cubicBezTo>
                  <a:cubicBezTo>
                    <a:pt x="4285" y="10785"/>
                    <a:pt x="4285" y="10785"/>
                    <a:pt x="4285" y="10785"/>
                  </a:cubicBezTo>
                  <a:cubicBezTo>
                    <a:pt x="4363" y="10730"/>
                    <a:pt x="4363" y="10730"/>
                    <a:pt x="4363" y="10730"/>
                  </a:cubicBezTo>
                  <a:cubicBezTo>
                    <a:pt x="4517" y="10715"/>
                    <a:pt x="4517" y="10715"/>
                    <a:pt x="4517" y="10715"/>
                  </a:cubicBezTo>
                  <a:cubicBezTo>
                    <a:pt x="4600" y="10953"/>
                    <a:pt x="4600" y="10953"/>
                    <a:pt x="4600" y="10953"/>
                  </a:cubicBezTo>
                  <a:lnTo>
                    <a:pt x="4482" y="11022"/>
                  </a:lnTo>
                  <a:close/>
                  <a:moveTo>
                    <a:pt x="4409" y="10751"/>
                  </a:moveTo>
                  <a:cubicBezTo>
                    <a:pt x="4284" y="10840"/>
                    <a:pt x="4284" y="10840"/>
                    <a:pt x="4284" y="10840"/>
                  </a:cubicBezTo>
                  <a:cubicBezTo>
                    <a:pt x="4472" y="10955"/>
                    <a:pt x="4472" y="10955"/>
                    <a:pt x="4472" y="10955"/>
                  </a:cubicBezTo>
                  <a:cubicBezTo>
                    <a:pt x="4475" y="10953"/>
                    <a:pt x="4475" y="10953"/>
                    <a:pt x="4475" y="10953"/>
                  </a:cubicBezTo>
                  <a:cubicBezTo>
                    <a:pt x="4476" y="10953"/>
                    <a:pt x="4497" y="10942"/>
                    <a:pt x="4504" y="10937"/>
                  </a:cubicBezTo>
                  <a:cubicBezTo>
                    <a:pt x="4505" y="10935"/>
                    <a:pt x="4506" y="10937"/>
                    <a:pt x="4508" y="10930"/>
                  </a:cubicBezTo>
                  <a:cubicBezTo>
                    <a:pt x="4508" y="10928"/>
                    <a:pt x="4506" y="10925"/>
                    <a:pt x="4505" y="10924"/>
                  </a:cubicBezTo>
                  <a:lnTo>
                    <a:pt x="4409" y="10751"/>
                  </a:lnTo>
                  <a:close/>
                  <a:moveTo>
                    <a:pt x="4483" y="10932"/>
                  </a:moveTo>
                  <a:cubicBezTo>
                    <a:pt x="4479" y="10934"/>
                    <a:pt x="4475" y="10936"/>
                    <a:pt x="4472" y="10938"/>
                  </a:cubicBezTo>
                  <a:cubicBezTo>
                    <a:pt x="4310" y="10839"/>
                    <a:pt x="4310" y="10839"/>
                    <a:pt x="4310" y="10839"/>
                  </a:cubicBezTo>
                  <a:cubicBezTo>
                    <a:pt x="4404" y="10773"/>
                    <a:pt x="4404" y="10773"/>
                    <a:pt x="4404" y="10773"/>
                  </a:cubicBezTo>
                  <a:cubicBezTo>
                    <a:pt x="4490" y="10928"/>
                    <a:pt x="4490" y="10928"/>
                    <a:pt x="4490" y="10928"/>
                  </a:cubicBezTo>
                  <a:cubicBezTo>
                    <a:pt x="4488" y="10929"/>
                    <a:pt x="4485" y="10931"/>
                    <a:pt x="4483" y="10932"/>
                  </a:cubicBezTo>
                  <a:close/>
                  <a:moveTo>
                    <a:pt x="4931" y="12025"/>
                  </a:moveTo>
                  <a:cubicBezTo>
                    <a:pt x="5000" y="11906"/>
                    <a:pt x="5000" y="11906"/>
                    <a:pt x="5000" y="11906"/>
                  </a:cubicBezTo>
                  <a:cubicBezTo>
                    <a:pt x="4489" y="11478"/>
                    <a:pt x="4489" y="11478"/>
                    <a:pt x="4489" y="11478"/>
                  </a:cubicBezTo>
                  <a:cubicBezTo>
                    <a:pt x="4393" y="11231"/>
                    <a:pt x="4393" y="11231"/>
                    <a:pt x="4393" y="11231"/>
                  </a:cubicBezTo>
                  <a:cubicBezTo>
                    <a:pt x="4524" y="11247"/>
                    <a:pt x="4524" y="11247"/>
                    <a:pt x="4524" y="11247"/>
                  </a:cubicBezTo>
                  <a:cubicBezTo>
                    <a:pt x="4484" y="11145"/>
                    <a:pt x="4484" y="11145"/>
                    <a:pt x="4484" y="11145"/>
                  </a:cubicBezTo>
                  <a:cubicBezTo>
                    <a:pt x="4483" y="11141"/>
                    <a:pt x="4483" y="11141"/>
                    <a:pt x="4483" y="11141"/>
                  </a:cubicBezTo>
                  <a:cubicBezTo>
                    <a:pt x="4188" y="11078"/>
                    <a:pt x="4188" y="11078"/>
                    <a:pt x="4188" y="11078"/>
                  </a:cubicBezTo>
                  <a:cubicBezTo>
                    <a:pt x="4438" y="11661"/>
                    <a:pt x="4438" y="11661"/>
                    <a:pt x="4438" y="11661"/>
                  </a:cubicBezTo>
                  <a:lnTo>
                    <a:pt x="4931" y="12025"/>
                  </a:lnTo>
                  <a:close/>
                  <a:moveTo>
                    <a:pt x="4472" y="11154"/>
                  </a:moveTo>
                  <a:cubicBezTo>
                    <a:pt x="4501" y="11229"/>
                    <a:pt x="4501" y="11229"/>
                    <a:pt x="4501" y="11229"/>
                  </a:cubicBezTo>
                  <a:cubicBezTo>
                    <a:pt x="4370" y="11214"/>
                    <a:pt x="4370" y="11214"/>
                    <a:pt x="4370" y="11214"/>
                  </a:cubicBezTo>
                  <a:cubicBezTo>
                    <a:pt x="4476" y="11487"/>
                    <a:pt x="4476" y="11487"/>
                    <a:pt x="4476" y="11487"/>
                  </a:cubicBezTo>
                  <a:cubicBezTo>
                    <a:pt x="4981" y="11909"/>
                    <a:pt x="4981" y="11909"/>
                    <a:pt x="4981" y="11909"/>
                  </a:cubicBezTo>
                  <a:cubicBezTo>
                    <a:pt x="4927" y="12003"/>
                    <a:pt x="4927" y="12003"/>
                    <a:pt x="4927" y="12003"/>
                  </a:cubicBezTo>
                  <a:cubicBezTo>
                    <a:pt x="4450" y="11652"/>
                    <a:pt x="4450" y="11652"/>
                    <a:pt x="4450" y="11652"/>
                  </a:cubicBezTo>
                  <a:cubicBezTo>
                    <a:pt x="4213" y="11099"/>
                    <a:pt x="4213" y="11099"/>
                    <a:pt x="4213" y="11099"/>
                  </a:cubicBezTo>
                  <a:lnTo>
                    <a:pt x="4472" y="11154"/>
                  </a:lnTo>
                  <a:close/>
                  <a:moveTo>
                    <a:pt x="4526" y="11479"/>
                  </a:moveTo>
                  <a:cubicBezTo>
                    <a:pt x="4861" y="11737"/>
                    <a:pt x="4861" y="11737"/>
                    <a:pt x="4861" y="11737"/>
                  </a:cubicBezTo>
                  <a:cubicBezTo>
                    <a:pt x="4890" y="11725"/>
                    <a:pt x="4890" y="11725"/>
                    <a:pt x="4890" y="11725"/>
                  </a:cubicBezTo>
                  <a:cubicBezTo>
                    <a:pt x="4556" y="11291"/>
                    <a:pt x="4556" y="11291"/>
                    <a:pt x="4556" y="11291"/>
                  </a:cubicBezTo>
                  <a:cubicBezTo>
                    <a:pt x="4554" y="11289"/>
                    <a:pt x="4554" y="11289"/>
                    <a:pt x="4554" y="11289"/>
                  </a:cubicBezTo>
                  <a:cubicBezTo>
                    <a:pt x="4437" y="11267"/>
                    <a:pt x="4437" y="11267"/>
                    <a:pt x="4437" y="11267"/>
                  </a:cubicBezTo>
                  <a:lnTo>
                    <a:pt x="4526" y="11479"/>
                  </a:lnTo>
                  <a:close/>
                  <a:moveTo>
                    <a:pt x="4867" y="11719"/>
                  </a:moveTo>
                  <a:cubicBezTo>
                    <a:pt x="4863" y="11720"/>
                    <a:pt x="4863" y="11720"/>
                    <a:pt x="4863" y="11720"/>
                  </a:cubicBezTo>
                  <a:cubicBezTo>
                    <a:pt x="4538" y="11470"/>
                    <a:pt x="4538" y="11470"/>
                    <a:pt x="4538" y="11470"/>
                  </a:cubicBezTo>
                  <a:cubicBezTo>
                    <a:pt x="4462" y="11287"/>
                    <a:pt x="4462" y="11287"/>
                    <a:pt x="4462" y="11287"/>
                  </a:cubicBezTo>
                  <a:cubicBezTo>
                    <a:pt x="4546" y="11302"/>
                    <a:pt x="4546" y="11302"/>
                    <a:pt x="4546" y="11302"/>
                  </a:cubicBezTo>
                  <a:lnTo>
                    <a:pt x="4867" y="11719"/>
                  </a:lnTo>
                  <a:close/>
                  <a:moveTo>
                    <a:pt x="4546" y="12073"/>
                  </a:moveTo>
                  <a:cubicBezTo>
                    <a:pt x="4580" y="12061"/>
                    <a:pt x="4580" y="12061"/>
                    <a:pt x="4580" y="12061"/>
                  </a:cubicBezTo>
                  <a:cubicBezTo>
                    <a:pt x="4767" y="12333"/>
                    <a:pt x="4767" y="12333"/>
                    <a:pt x="4767" y="12333"/>
                  </a:cubicBezTo>
                  <a:cubicBezTo>
                    <a:pt x="4781" y="12328"/>
                    <a:pt x="4781" y="12328"/>
                    <a:pt x="4781" y="12328"/>
                  </a:cubicBezTo>
                  <a:cubicBezTo>
                    <a:pt x="4781" y="12328"/>
                    <a:pt x="4779" y="12318"/>
                    <a:pt x="4779" y="12302"/>
                  </a:cubicBezTo>
                  <a:cubicBezTo>
                    <a:pt x="4779" y="12279"/>
                    <a:pt x="4782" y="12247"/>
                    <a:pt x="4795" y="12222"/>
                  </a:cubicBezTo>
                  <a:cubicBezTo>
                    <a:pt x="4818" y="12175"/>
                    <a:pt x="4858" y="12108"/>
                    <a:pt x="4858" y="12108"/>
                  </a:cubicBezTo>
                  <a:cubicBezTo>
                    <a:pt x="4861" y="12102"/>
                    <a:pt x="4861" y="12102"/>
                    <a:pt x="4861" y="12102"/>
                  </a:cubicBezTo>
                  <a:cubicBezTo>
                    <a:pt x="4442" y="11795"/>
                    <a:pt x="4442" y="11795"/>
                    <a:pt x="4442" y="11795"/>
                  </a:cubicBezTo>
                  <a:cubicBezTo>
                    <a:pt x="4409" y="11967"/>
                    <a:pt x="4409" y="11967"/>
                    <a:pt x="4409" y="11967"/>
                  </a:cubicBezTo>
                  <a:cubicBezTo>
                    <a:pt x="4319" y="12032"/>
                    <a:pt x="4319" y="12032"/>
                    <a:pt x="4319" y="12032"/>
                  </a:cubicBezTo>
                  <a:cubicBezTo>
                    <a:pt x="4522" y="12286"/>
                    <a:pt x="4522" y="12286"/>
                    <a:pt x="4522" y="12286"/>
                  </a:cubicBezTo>
                  <a:cubicBezTo>
                    <a:pt x="4639" y="12208"/>
                    <a:pt x="4639" y="12208"/>
                    <a:pt x="4639" y="12208"/>
                  </a:cubicBezTo>
                  <a:lnTo>
                    <a:pt x="4546" y="12073"/>
                  </a:lnTo>
                  <a:close/>
                  <a:moveTo>
                    <a:pt x="4340" y="12035"/>
                  </a:moveTo>
                  <a:cubicBezTo>
                    <a:pt x="4422" y="11976"/>
                    <a:pt x="4422" y="11976"/>
                    <a:pt x="4422" y="11976"/>
                  </a:cubicBezTo>
                  <a:cubicBezTo>
                    <a:pt x="4452" y="11821"/>
                    <a:pt x="4452" y="11821"/>
                    <a:pt x="4452" y="11821"/>
                  </a:cubicBezTo>
                  <a:cubicBezTo>
                    <a:pt x="4842" y="12106"/>
                    <a:pt x="4842" y="12106"/>
                    <a:pt x="4842" y="12106"/>
                  </a:cubicBezTo>
                  <a:cubicBezTo>
                    <a:pt x="4831" y="12123"/>
                    <a:pt x="4801" y="12176"/>
                    <a:pt x="4782" y="12215"/>
                  </a:cubicBezTo>
                  <a:cubicBezTo>
                    <a:pt x="4767" y="12244"/>
                    <a:pt x="4765" y="12278"/>
                    <a:pt x="4765" y="12302"/>
                  </a:cubicBezTo>
                  <a:cubicBezTo>
                    <a:pt x="4765" y="12303"/>
                    <a:pt x="4765" y="12303"/>
                    <a:pt x="4765" y="12303"/>
                  </a:cubicBezTo>
                  <a:cubicBezTo>
                    <a:pt x="4586" y="12044"/>
                    <a:pt x="4586" y="12044"/>
                    <a:pt x="4586" y="12044"/>
                  </a:cubicBezTo>
                  <a:cubicBezTo>
                    <a:pt x="4523" y="12065"/>
                    <a:pt x="4523" y="12065"/>
                    <a:pt x="4523" y="12065"/>
                  </a:cubicBezTo>
                  <a:cubicBezTo>
                    <a:pt x="4618" y="12204"/>
                    <a:pt x="4618" y="12204"/>
                    <a:pt x="4618" y="12204"/>
                  </a:cubicBezTo>
                  <a:cubicBezTo>
                    <a:pt x="4525" y="12266"/>
                    <a:pt x="4525" y="12266"/>
                    <a:pt x="4525" y="12266"/>
                  </a:cubicBezTo>
                  <a:lnTo>
                    <a:pt x="4340" y="12035"/>
                  </a:lnTo>
                  <a:close/>
                  <a:moveTo>
                    <a:pt x="4878" y="12634"/>
                  </a:moveTo>
                  <a:cubicBezTo>
                    <a:pt x="4650" y="12353"/>
                    <a:pt x="4650" y="12353"/>
                    <a:pt x="4650" y="12353"/>
                  </a:cubicBezTo>
                  <a:cubicBezTo>
                    <a:pt x="4583" y="12410"/>
                    <a:pt x="4583" y="12410"/>
                    <a:pt x="4583" y="12410"/>
                  </a:cubicBezTo>
                  <a:cubicBezTo>
                    <a:pt x="4821" y="12704"/>
                    <a:pt x="4821" y="12704"/>
                    <a:pt x="4821" y="12704"/>
                  </a:cubicBezTo>
                  <a:cubicBezTo>
                    <a:pt x="4875" y="12639"/>
                    <a:pt x="4875" y="12639"/>
                    <a:pt x="4875" y="12639"/>
                  </a:cubicBezTo>
                  <a:lnTo>
                    <a:pt x="4878" y="12634"/>
                  </a:lnTo>
                  <a:close/>
                  <a:moveTo>
                    <a:pt x="4821" y="12681"/>
                  </a:moveTo>
                  <a:cubicBezTo>
                    <a:pt x="4603" y="12412"/>
                    <a:pt x="4603" y="12412"/>
                    <a:pt x="4603" y="12412"/>
                  </a:cubicBezTo>
                  <a:cubicBezTo>
                    <a:pt x="4648" y="12374"/>
                    <a:pt x="4648" y="12374"/>
                    <a:pt x="4648" y="12374"/>
                  </a:cubicBezTo>
                  <a:cubicBezTo>
                    <a:pt x="4859" y="12634"/>
                    <a:pt x="4859" y="12634"/>
                    <a:pt x="4859" y="12634"/>
                  </a:cubicBezTo>
                  <a:lnTo>
                    <a:pt x="4821" y="12681"/>
                  </a:lnTo>
                  <a:close/>
                  <a:moveTo>
                    <a:pt x="4723" y="12817"/>
                  </a:moveTo>
                  <a:cubicBezTo>
                    <a:pt x="4357" y="12301"/>
                    <a:pt x="4357" y="12301"/>
                    <a:pt x="4357" y="12301"/>
                  </a:cubicBezTo>
                  <a:cubicBezTo>
                    <a:pt x="4304" y="12311"/>
                    <a:pt x="4304" y="12311"/>
                    <a:pt x="4304" y="12311"/>
                  </a:cubicBezTo>
                  <a:cubicBezTo>
                    <a:pt x="4311" y="12405"/>
                    <a:pt x="4311" y="12405"/>
                    <a:pt x="4311" y="12405"/>
                  </a:cubicBezTo>
                  <a:cubicBezTo>
                    <a:pt x="4273" y="12440"/>
                    <a:pt x="4273" y="12440"/>
                    <a:pt x="4273" y="12440"/>
                  </a:cubicBezTo>
                  <a:cubicBezTo>
                    <a:pt x="4452" y="12730"/>
                    <a:pt x="4452" y="12730"/>
                    <a:pt x="4452" y="12730"/>
                  </a:cubicBezTo>
                  <a:cubicBezTo>
                    <a:pt x="4442" y="12913"/>
                    <a:pt x="4442" y="12913"/>
                    <a:pt x="4442" y="12913"/>
                  </a:cubicBezTo>
                  <a:cubicBezTo>
                    <a:pt x="4635" y="12965"/>
                    <a:pt x="4635" y="12965"/>
                    <a:pt x="4635" y="12965"/>
                  </a:cubicBezTo>
                  <a:cubicBezTo>
                    <a:pt x="4721" y="12821"/>
                    <a:pt x="4721" y="12821"/>
                    <a:pt x="4721" y="12821"/>
                  </a:cubicBezTo>
                  <a:lnTo>
                    <a:pt x="4723" y="12817"/>
                  </a:lnTo>
                  <a:close/>
                  <a:moveTo>
                    <a:pt x="4628" y="12948"/>
                  </a:moveTo>
                  <a:cubicBezTo>
                    <a:pt x="4457" y="12902"/>
                    <a:pt x="4457" y="12902"/>
                    <a:pt x="4457" y="12902"/>
                  </a:cubicBezTo>
                  <a:cubicBezTo>
                    <a:pt x="4467" y="12727"/>
                    <a:pt x="4467" y="12727"/>
                    <a:pt x="4467" y="12727"/>
                  </a:cubicBezTo>
                  <a:cubicBezTo>
                    <a:pt x="4292" y="12443"/>
                    <a:pt x="4292" y="12443"/>
                    <a:pt x="4292" y="12443"/>
                  </a:cubicBezTo>
                  <a:cubicBezTo>
                    <a:pt x="4327" y="12411"/>
                    <a:pt x="4327" y="12411"/>
                    <a:pt x="4327" y="12411"/>
                  </a:cubicBezTo>
                  <a:cubicBezTo>
                    <a:pt x="4319" y="12323"/>
                    <a:pt x="4319" y="12323"/>
                    <a:pt x="4319" y="12323"/>
                  </a:cubicBezTo>
                  <a:cubicBezTo>
                    <a:pt x="4351" y="12317"/>
                    <a:pt x="4351" y="12317"/>
                    <a:pt x="4351" y="12317"/>
                  </a:cubicBezTo>
                  <a:cubicBezTo>
                    <a:pt x="4706" y="12818"/>
                    <a:pt x="4706" y="12818"/>
                    <a:pt x="4706" y="12818"/>
                  </a:cubicBezTo>
                  <a:lnTo>
                    <a:pt x="4628" y="12948"/>
                  </a:lnTo>
                  <a:close/>
                  <a:moveTo>
                    <a:pt x="4616" y="12750"/>
                  </a:moveTo>
                  <a:cubicBezTo>
                    <a:pt x="4615" y="12745"/>
                    <a:pt x="4615" y="12745"/>
                    <a:pt x="4615" y="12745"/>
                  </a:cubicBezTo>
                  <a:cubicBezTo>
                    <a:pt x="4537" y="12735"/>
                    <a:pt x="4537" y="12735"/>
                    <a:pt x="4537" y="12735"/>
                  </a:cubicBezTo>
                  <a:cubicBezTo>
                    <a:pt x="4487" y="12900"/>
                    <a:pt x="4487" y="12900"/>
                    <a:pt x="4487" y="12900"/>
                  </a:cubicBezTo>
                  <a:cubicBezTo>
                    <a:pt x="4636" y="12877"/>
                    <a:pt x="4636" y="12877"/>
                    <a:pt x="4636" y="12877"/>
                  </a:cubicBezTo>
                  <a:lnTo>
                    <a:pt x="4616" y="12750"/>
                  </a:lnTo>
                  <a:close/>
                  <a:moveTo>
                    <a:pt x="4548" y="12751"/>
                  </a:moveTo>
                  <a:cubicBezTo>
                    <a:pt x="4602" y="12758"/>
                    <a:pt x="4602" y="12758"/>
                    <a:pt x="4602" y="12758"/>
                  </a:cubicBezTo>
                  <a:cubicBezTo>
                    <a:pt x="4619" y="12865"/>
                    <a:pt x="4619" y="12865"/>
                    <a:pt x="4619" y="12865"/>
                  </a:cubicBezTo>
                  <a:cubicBezTo>
                    <a:pt x="4508" y="12881"/>
                    <a:pt x="4508" y="12881"/>
                    <a:pt x="4508" y="12881"/>
                  </a:cubicBezTo>
                  <a:lnTo>
                    <a:pt x="4548" y="12751"/>
                  </a:lnTo>
                  <a:close/>
                  <a:moveTo>
                    <a:pt x="4865" y="12968"/>
                  </a:moveTo>
                  <a:cubicBezTo>
                    <a:pt x="4860" y="12961"/>
                    <a:pt x="4860" y="12961"/>
                    <a:pt x="4860" y="12961"/>
                  </a:cubicBezTo>
                  <a:cubicBezTo>
                    <a:pt x="4738" y="13065"/>
                    <a:pt x="4738" y="13065"/>
                    <a:pt x="4738" y="13065"/>
                  </a:cubicBezTo>
                  <a:cubicBezTo>
                    <a:pt x="4741" y="13070"/>
                    <a:pt x="4741" y="13070"/>
                    <a:pt x="4741" y="13070"/>
                  </a:cubicBezTo>
                  <a:cubicBezTo>
                    <a:pt x="4741" y="13070"/>
                    <a:pt x="4782" y="13156"/>
                    <a:pt x="4786" y="13192"/>
                  </a:cubicBezTo>
                  <a:cubicBezTo>
                    <a:pt x="4786" y="13197"/>
                    <a:pt x="4787" y="13202"/>
                    <a:pt x="4787" y="13207"/>
                  </a:cubicBezTo>
                  <a:cubicBezTo>
                    <a:pt x="4787" y="13230"/>
                    <a:pt x="4782" y="13249"/>
                    <a:pt x="4779" y="13258"/>
                  </a:cubicBezTo>
                  <a:cubicBezTo>
                    <a:pt x="4675" y="13257"/>
                    <a:pt x="4675" y="13257"/>
                    <a:pt x="4675" y="13257"/>
                  </a:cubicBezTo>
                  <a:cubicBezTo>
                    <a:pt x="4634" y="13370"/>
                    <a:pt x="4634" y="13370"/>
                    <a:pt x="4634" y="13370"/>
                  </a:cubicBezTo>
                  <a:cubicBezTo>
                    <a:pt x="4777" y="13502"/>
                    <a:pt x="4777" y="13502"/>
                    <a:pt x="4777" y="13502"/>
                  </a:cubicBezTo>
                  <a:cubicBezTo>
                    <a:pt x="4936" y="13478"/>
                    <a:pt x="4936" y="13478"/>
                    <a:pt x="4936" y="13478"/>
                  </a:cubicBezTo>
                  <a:cubicBezTo>
                    <a:pt x="4937" y="13473"/>
                    <a:pt x="4937" y="13473"/>
                    <a:pt x="4937" y="13473"/>
                  </a:cubicBezTo>
                  <a:cubicBezTo>
                    <a:pt x="4937" y="13473"/>
                    <a:pt x="4959" y="13376"/>
                    <a:pt x="4959" y="13279"/>
                  </a:cubicBezTo>
                  <a:cubicBezTo>
                    <a:pt x="4959" y="13255"/>
                    <a:pt x="4958" y="13232"/>
                    <a:pt x="4955" y="13210"/>
                  </a:cubicBezTo>
                  <a:cubicBezTo>
                    <a:pt x="4939" y="13095"/>
                    <a:pt x="4865" y="12969"/>
                    <a:pt x="4865" y="12968"/>
                  </a:cubicBezTo>
                  <a:close/>
                  <a:moveTo>
                    <a:pt x="4924" y="13465"/>
                  </a:moveTo>
                  <a:cubicBezTo>
                    <a:pt x="4782" y="13486"/>
                    <a:pt x="4782" y="13486"/>
                    <a:pt x="4782" y="13486"/>
                  </a:cubicBezTo>
                  <a:cubicBezTo>
                    <a:pt x="4652" y="13366"/>
                    <a:pt x="4652" y="13366"/>
                    <a:pt x="4652" y="13366"/>
                  </a:cubicBezTo>
                  <a:cubicBezTo>
                    <a:pt x="4686" y="13272"/>
                    <a:pt x="4686" y="13272"/>
                    <a:pt x="4686" y="13272"/>
                  </a:cubicBezTo>
                  <a:cubicBezTo>
                    <a:pt x="4790" y="13273"/>
                    <a:pt x="4790" y="13273"/>
                    <a:pt x="4790" y="13273"/>
                  </a:cubicBezTo>
                  <a:cubicBezTo>
                    <a:pt x="4791" y="13268"/>
                    <a:pt x="4791" y="13268"/>
                    <a:pt x="4791" y="13268"/>
                  </a:cubicBezTo>
                  <a:cubicBezTo>
                    <a:pt x="4791" y="13268"/>
                    <a:pt x="4801" y="13240"/>
                    <a:pt x="4801" y="13207"/>
                  </a:cubicBezTo>
                  <a:cubicBezTo>
                    <a:pt x="4801" y="13202"/>
                    <a:pt x="4801" y="13196"/>
                    <a:pt x="4800" y="13190"/>
                  </a:cubicBezTo>
                  <a:cubicBezTo>
                    <a:pt x="4796" y="13155"/>
                    <a:pt x="4765" y="13088"/>
                    <a:pt x="4756" y="13069"/>
                  </a:cubicBezTo>
                  <a:cubicBezTo>
                    <a:pt x="4856" y="12984"/>
                    <a:pt x="4856" y="12984"/>
                    <a:pt x="4856" y="12984"/>
                  </a:cubicBezTo>
                  <a:cubicBezTo>
                    <a:pt x="4872" y="13013"/>
                    <a:pt x="4927" y="13118"/>
                    <a:pt x="4940" y="13212"/>
                  </a:cubicBezTo>
                  <a:cubicBezTo>
                    <a:pt x="4943" y="13233"/>
                    <a:pt x="4944" y="13256"/>
                    <a:pt x="4944" y="13279"/>
                  </a:cubicBezTo>
                  <a:cubicBezTo>
                    <a:pt x="4945" y="13361"/>
                    <a:pt x="4928" y="13444"/>
                    <a:pt x="4924" y="13465"/>
                  </a:cubicBezTo>
                  <a:close/>
                  <a:moveTo>
                    <a:pt x="5261" y="12857"/>
                  </a:moveTo>
                  <a:cubicBezTo>
                    <a:pt x="5269" y="12858"/>
                    <a:pt x="5269" y="12858"/>
                    <a:pt x="5269" y="12858"/>
                  </a:cubicBezTo>
                  <a:cubicBezTo>
                    <a:pt x="5260" y="12624"/>
                    <a:pt x="5260" y="12624"/>
                    <a:pt x="5260" y="12624"/>
                  </a:cubicBezTo>
                  <a:cubicBezTo>
                    <a:pt x="5196" y="12585"/>
                    <a:pt x="5196" y="12585"/>
                    <a:pt x="5196" y="12585"/>
                  </a:cubicBezTo>
                  <a:cubicBezTo>
                    <a:pt x="5296" y="12470"/>
                    <a:pt x="5296" y="12470"/>
                    <a:pt x="5296" y="12470"/>
                  </a:cubicBezTo>
                  <a:cubicBezTo>
                    <a:pt x="5155" y="12319"/>
                    <a:pt x="5155" y="12319"/>
                    <a:pt x="5155" y="12319"/>
                  </a:cubicBezTo>
                  <a:cubicBezTo>
                    <a:pt x="5323" y="12328"/>
                    <a:pt x="5323" y="12328"/>
                    <a:pt x="5323" y="12328"/>
                  </a:cubicBezTo>
                  <a:cubicBezTo>
                    <a:pt x="5351" y="12217"/>
                    <a:pt x="5351" y="12217"/>
                    <a:pt x="5351" y="12217"/>
                  </a:cubicBezTo>
                  <a:cubicBezTo>
                    <a:pt x="5048" y="12198"/>
                    <a:pt x="5048" y="12198"/>
                    <a:pt x="5048" y="12198"/>
                  </a:cubicBezTo>
                  <a:cubicBezTo>
                    <a:pt x="4976" y="12345"/>
                    <a:pt x="4976" y="12345"/>
                    <a:pt x="4976" y="12345"/>
                  </a:cubicBezTo>
                  <a:cubicBezTo>
                    <a:pt x="4980" y="12348"/>
                    <a:pt x="4980" y="12348"/>
                    <a:pt x="4980" y="12348"/>
                  </a:cubicBezTo>
                  <a:cubicBezTo>
                    <a:pt x="4980" y="12348"/>
                    <a:pt x="4994" y="12362"/>
                    <a:pt x="5010" y="12395"/>
                  </a:cubicBezTo>
                  <a:cubicBezTo>
                    <a:pt x="5027" y="12427"/>
                    <a:pt x="5046" y="12476"/>
                    <a:pt x="5055" y="12546"/>
                  </a:cubicBezTo>
                  <a:cubicBezTo>
                    <a:pt x="5056" y="12557"/>
                    <a:pt x="5057" y="12568"/>
                    <a:pt x="5057" y="12578"/>
                  </a:cubicBezTo>
                  <a:cubicBezTo>
                    <a:pt x="5057" y="12638"/>
                    <a:pt x="5035" y="12691"/>
                    <a:pt x="5012" y="12729"/>
                  </a:cubicBezTo>
                  <a:cubicBezTo>
                    <a:pt x="4990" y="12767"/>
                    <a:pt x="4968" y="12789"/>
                    <a:pt x="4968" y="12789"/>
                  </a:cubicBezTo>
                  <a:cubicBezTo>
                    <a:pt x="4962" y="12794"/>
                    <a:pt x="4962" y="12794"/>
                    <a:pt x="4962" y="12794"/>
                  </a:cubicBezTo>
                  <a:cubicBezTo>
                    <a:pt x="5005" y="12831"/>
                    <a:pt x="5005" y="12831"/>
                    <a:pt x="5005" y="12831"/>
                  </a:cubicBezTo>
                  <a:lnTo>
                    <a:pt x="5261" y="12857"/>
                  </a:lnTo>
                  <a:close/>
                  <a:moveTo>
                    <a:pt x="5072" y="12578"/>
                  </a:moveTo>
                  <a:cubicBezTo>
                    <a:pt x="5072" y="12567"/>
                    <a:pt x="5071" y="12556"/>
                    <a:pt x="5070" y="12544"/>
                  </a:cubicBezTo>
                  <a:cubicBezTo>
                    <a:pt x="5053" y="12421"/>
                    <a:pt x="5007" y="12358"/>
                    <a:pt x="4994" y="12342"/>
                  </a:cubicBezTo>
                  <a:cubicBezTo>
                    <a:pt x="5057" y="12213"/>
                    <a:pt x="5057" y="12213"/>
                    <a:pt x="5057" y="12213"/>
                  </a:cubicBezTo>
                  <a:cubicBezTo>
                    <a:pt x="5333" y="12231"/>
                    <a:pt x="5333" y="12231"/>
                    <a:pt x="5333" y="12231"/>
                  </a:cubicBezTo>
                  <a:cubicBezTo>
                    <a:pt x="5312" y="12312"/>
                    <a:pt x="5312" y="12312"/>
                    <a:pt x="5312" y="12312"/>
                  </a:cubicBezTo>
                  <a:cubicBezTo>
                    <a:pt x="5119" y="12302"/>
                    <a:pt x="5119" y="12302"/>
                    <a:pt x="5119" y="12302"/>
                  </a:cubicBezTo>
                  <a:cubicBezTo>
                    <a:pt x="5276" y="12470"/>
                    <a:pt x="5276" y="12470"/>
                    <a:pt x="5276" y="12470"/>
                  </a:cubicBezTo>
                  <a:cubicBezTo>
                    <a:pt x="5173" y="12589"/>
                    <a:pt x="5173" y="12589"/>
                    <a:pt x="5173" y="12589"/>
                  </a:cubicBezTo>
                  <a:cubicBezTo>
                    <a:pt x="5246" y="12633"/>
                    <a:pt x="5246" y="12633"/>
                    <a:pt x="5246" y="12633"/>
                  </a:cubicBezTo>
                  <a:cubicBezTo>
                    <a:pt x="5254" y="12841"/>
                    <a:pt x="5254" y="12841"/>
                    <a:pt x="5254" y="12841"/>
                  </a:cubicBezTo>
                  <a:cubicBezTo>
                    <a:pt x="5011" y="12817"/>
                    <a:pt x="5011" y="12817"/>
                    <a:pt x="5011" y="12817"/>
                  </a:cubicBezTo>
                  <a:cubicBezTo>
                    <a:pt x="4984" y="12793"/>
                    <a:pt x="4984" y="12793"/>
                    <a:pt x="4984" y="12793"/>
                  </a:cubicBezTo>
                  <a:cubicBezTo>
                    <a:pt x="5004" y="12771"/>
                    <a:pt x="5072" y="12688"/>
                    <a:pt x="5072" y="12578"/>
                  </a:cubicBezTo>
                  <a:close/>
                  <a:moveTo>
                    <a:pt x="1434" y="15547"/>
                  </a:moveTo>
                  <a:cubicBezTo>
                    <a:pt x="1540" y="15412"/>
                    <a:pt x="1540" y="15412"/>
                    <a:pt x="1540" y="15412"/>
                  </a:cubicBezTo>
                  <a:cubicBezTo>
                    <a:pt x="1640" y="15477"/>
                    <a:pt x="1640" y="15477"/>
                    <a:pt x="1640" y="15477"/>
                  </a:cubicBezTo>
                  <a:cubicBezTo>
                    <a:pt x="1604" y="15530"/>
                    <a:pt x="1604" y="15530"/>
                    <a:pt x="1604" y="15530"/>
                  </a:cubicBezTo>
                  <a:cubicBezTo>
                    <a:pt x="1838" y="15661"/>
                    <a:pt x="1838" y="15661"/>
                    <a:pt x="1838" y="15661"/>
                  </a:cubicBezTo>
                  <a:cubicBezTo>
                    <a:pt x="1893" y="15543"/>
                    <a:pt x="1893" y="15543"/>
                    <a:pt x="1893" y="15543"/>
                  </a:cubicBezTo>
                  <a:cubicBezTo>
                    <a:pt x="1895" y="15538"/>
                    <a:pt x="1895" y="15538"/>
                    <a:pt x="1895" y="15538"/>
                  </a:cubicBezTo>
                  <a:cubicBezTo>
                    <a:pt x="1505" y="15239"/>
                    <a:pt x="1505" y="15239"/>
                    <a:pt x="1505" y="15239"/>
                  </a:cubicBezTo>
                  <a:cubicBezTo>
                    <a:pt x="1249" y="15554"/>
                    <a:pt x="1249" y="15554"/>
                    <a:pt x="1249" y="15554"/>
                  </a:cubicBezTo>
                  <a:cubicBezTo>
                    <a:pt x="1443" y="15718"/>
                    <a:pt x="1443" y="15718"/>
                    <a:pt x="1443" y="15718"/>
                  </a:cubicBezTo>
                  <a:cubicBezTo>
                    <a:pt x="1390" y="15807"/>
                    <a:pt x="1390" y="15807"/>
                    <a:pt x="1390" y="15807"/>
                  </a:cubicBezTo>
                  <a:cubicBezTo>
                    <a:pt x="1499" y="15911"/>
                    <a:pt x="1499" y="15911"/>
                    <a:pt x="1499" y="15911"/>
                  </a:cubicBezTo>
                  <a:cubicBezTo>
                    <a:pt x="1602" y="15672"/>
                    <a:pt x="1602" y="15672"/>
                    <a:pt x="1602" y="15672"/>
                  </a:cubicBezTo>
                  <a:lnTo>
                    <a:pt x="1434" y="15547"/>
                  </a:lnTo>
                  <a:close/>
                  <a:moveTo>
                    <a:pt x="1494" y="15885"/>
                  </a:moveTo>
                  <a:cubicBezTo>
                    <a:pt x="1409" y="15804"/>
                    <a:pt x="1409" y="15804"/>
                    <a:pt x="1409" y="15804"/>
                  </a:cubicBezTo>
                  <a:cubicBezTo>
                    <a:pt x="1462" y="15715"/>
                    <a:pt x="1462" y="15715"/>
                    <a:pt x="1462" y="15715"/>
                  </a:cubicBezTo>
                  <a:cubicBezTo>
                    <a:pt x="1269" y="15552"/>
                    <a:pt x="1269" y="15552"/>
                    <a:pt x="1269" y="15552"/>
                  </a:cubicBezTo>
                  <a:cubicBezTo>
                    <a:pt x="1507" y="15260"/>
                    <a:pt x="1507" y="15260"/>
                    <a:pt x="1507" y="15260"/>
                  </a:cubicBezTo>
                  <a:cubicBezTo>
                    <a:pt x="1877" y="15542"/>
                    <a:pt x="1877" y="15542"/>
                    <a:pt x="1877" y="15542"/>
                  </a:cubicBezTo>
                  <a:cubicBezTo>
                    <a:pt x="1831" y="15640"/>
                    <a:pt x="1831" y="15640"/>
                    <a:pt x="1831" y="15640"/>
                  </a:cubicBezTo>
                  <a:cubicBezTo>
                    <a:pt x="1625" y="15524"/>
                    <a:pt x="1625" y="15524"/>
                    <a:pt x="1625" y="15524"/>
                  </a:cubicBezTo>
                  <a:cubicBezTo>
                    <a:pt x="1660" y="15472"/>
                    <a:pt x="1660" y="15472"/>
                    <a:pt x="1660" y="15472"/>
                  </a:cubicBezTo>
                  <a:cubicBezTo>
                    <a:pt x="1536" y="15392"/>
                    <a:pt x="1536" y="15392"/>
                    <a:pt x="1536" y="15392"/>
                  </a:cubicBezTo>
                  <a:cubicBezTo>
                    <a:pt x="1413" y="15549"/>
                    <a:pt x="1413" y="15549"/>
                    <a:pt x="1413" y="15549"/>
                  </a:cubicBezTo>
                  <a:cubicBezTo>
                    <a:pt x="1583" y="15677"/>
                    <a:pt x="1583" y="15677"/>
                    <a:pt x="1583" y="15677"/>
                  </a:cubicBezTo>
                  <a:lnTo>
                    <a:pt x="1494" y="15885"/>
                  </a:lnTo>
                  <a:close/>
                  <a:moveTo>
                    <a:pt x="1058" y="15090"/>
                  </a:moveTo>
                  <a:cubicBezTo>
                    <a:pt x="1029" y="15204"/>
                    <a:pt x="1029" y="15204"/>
                    <a:pt x="1029" y="15204"/>
                  </a:cubicBezTo>
                  <a:cubicBezTo>
                    <a:pt x="1133" y="15286"/>
                    <a:pt x="1133" y="15286"/>
                    <a:pt x="1133" y="15286"/>
                  </a:cubicBezTo>
                  <a:cubicBezTo>
                    <a:pt x="1078" y="15391"/>
                    <a:pt x="1078" y="15391"/>
                    <a:pt x="1078" y="15391"/>
                  </a:cubicBezTo>
                  <a:cubicBezTo>
                    <a:pt x="1194" y="15492"/>
                    <a:pt x="1194" y="15492"/>
                    <a:pt x="1194" y="15492"/>
                  </a:cubicBezTo>
                  <a:cubicBezTo>
                    <a:pt x="1435" y="15177"/>
                    <a:pt x="1435" y="15177"/>
                    <a:pt x="1435" y="15177"/>
                  </a:cubicBezTo>
                  <a:cubicBezTo>
                    <a:pt x="1440" y="15171"/>
                    <a:pt x="1440" y="15171"/>
                    <a:pt x="1440" y="15171"/>
                  </a:cubicBezTo>
                  <a:cubicBezTo>
                    <a:pt x="1059" y="14879"/>
                    <a:pt x="1059" y="14879"/>
                    <a:pt x="1059" y="14879"/>
                  </a:cubicBezTo>
                  <a:cubicBezTo>
                    <a:pt x="993" y="14953"/>
                    <a:pt x="993" y="14953"/>
                    <a:pt x="993" y="14953"/>
                  </a:cubicBezTo>
                  <a:lnTo>
                    <a:pt x="1058" y="15090"/>
                  </a:lnTo>
                  <a:close/>
                  <a:moveTo>
                    <a:pt x="1060" y="14899"/>
                  </a:moveTo>
                  <a:cubicBezTo>
                    <a:pt x="1419" y="15174"/>
                    <a:pt x="1419" y="15174"/>
                    <a:pt x="1419" y="15174"/>
                  </a:cubicBezTo>
                  <a:cubicBezTo>
                    <a:pt x="1192" y="15470"/>
                    <a:pt x="1192" y="15470"/>
                    <a:pt x="1192" y="15470"/>
                  </a:cubicBezTo>
                  <a:cubicBezTo>
                    <a:pt x="1097" y="15388"/>
                    <a:pt x="1097" y="15388"/>
                    <a:pt x="1097" y="15388"/>
                  </a:cubicBezTo>
                  <a:cubicBezTo>
                    <a:pt x="1152" y="15282"/>
                    <a:pt x="1152" y="15282"/>
                    <a:pt x="1152" y="15282"/>
                  </a:cubicBezTo>
                  <a:cubicBezTo>
                    <a:pt x="1046" y="15199"/>
                    <a:pt x="1046" y="15199"/>
                    <a:pt x="1046" y="15199"/>
                  </a:cubicBezTo>
                  <a:cubicBezTo>
                    <a:pt x="1073" y="15088"/>
                    <a:pt x="1073" y="15088"/>
                    <a:pt x="1073" y="15088"/>
                  </a:cubicBezTo>
                  <a:cubicBezTo>
                    <a:pt x="1011" y="14956"/>
                    <a:pt x="1011" y="14956"/>
                    <a:pt x="1011" y="14956"/>
                  </a:cubicBezTo>
                  <a:lnTo>
                    <a:pt x="1060" y="14899"/>
                  </a:lnTo>
                  <a:close/>
                  <a:moveTo>
                    <a:pt x="2907" y="12370"/>
                  </a:moveTo>
                  <a:cubicBezTo>
                    <a:pt x="3019" y="12398"/>
                    <a:pt x="3019" y="12398"/>
                    <a:pt x="3019" y="12398"/>
                  </a:cubicBezTo>
                  <a:cubicBezTo>
                    <a:pt x="3059" y="12309"/>
                    <a:pt x="3059" y="12309"/>
                    <a:pt x="3059" y="12309"/>
                  </a:cubicBezTo>
                  <a:cubicBezTo>
                    <a:pt x="2998" y="12306"/>
                    <a:pt x="2998" y="12306"/>
                    <a:pt x="2998" y="12306"/>
                  </a:cubicBezTo>
                  <a:cubicBezTo>
                    <a:pt x="3001" y="12242"/>
                    <a:pt x="3001" y="12242"/>
                    <a:pt x="3001" y="12242"/>
                  </a:cubicBezTo>
                  <a:cubicBezTo>
                    <a:pt x="3017" y="12200"/>
                    <a:pt x="3017" y="12200"/>
                    <a:pt x="3017" y="12200"/>
                  </a:cubicBezTo>
                  <a:cubicBezTo>
                    <a:pt x="3085" y="12224"/>
                    <a:pt x="3085" y="12224"/>
                    <a:pt x="3085" y="12224"/>
                  </a:cubicBezTo>
                  <a:cubicBezTo>
                    <a:pt x="3141" y="12090"/>
                    <a:pt x="3141" y="12090"/>
                    <a:pt x="3141" y="12090"/>
                  </a:cubicBezTo>
                  <a:cubicBezTo>
                    <a:pt x="2947" y="12030"/>
                    <a:pt x="2947" y="12030"/>
                    <a:pt x="2947" y="12030"/>
                  </a:cubicBezTo>
                  <a:cubicBezTo>
                    <a:pt x="2893" y="12179"/>
                    <a:pt x="2893" y="12179"/>
                    <a:pt x="2893" y="12179"/>
                  </a:cubicBezTo>
                  <a:lnTo>
                    <a:pt x="2907" y="12370"/>
                  </a:lnTo>
                  <a:close/>
                  <a:moveTo>
                    <a:pt x="2956" y="12048"/>
                  </a:moveTo>
                  <a:cubicBezTo>
                    <a:pt x="3121" y="12099"/>
                    <a:pt x="3121" y="12099"/>
                    <a:pt x="3121" y="12099"/>
                  </a:cubicBezTo>
                  <a:cubicBezTo>
                    <a:pt x="3077" y="12205"/>
                    <a:pt x="3077" y="12205"/>
                    <a:pt x="3077" y="12205"/>
                  </a:cubicBezTo>
                  <a:cubicBezTo>
                    <a:pt x="3015" y="12184"/>
                    <a:pt x="3015" y="12184"/>
                    <a:pt x="3015" y="12184"/>
                  </a:cubicBezTo>
                  <a:cubicBezTo>
                    <a:pt x="3009" y="12181"/>
                    <a:pt x="3009" y="12181"/>
                    <a:pt x="3009" y="12181"/>
                  </a:cubicBezTo>
                  <a:cubicBezTo>
                    <a:pt x="2986" y="12239"/>
                    <a:pt x="2986" y="12239"/>
                    <a:pt x="2986" y="12239"/>
                  </a:cubicBezTo>
                  <a:cubicBezTo>
                    <a:pt x="2983" y="12320"/>
                    <a:pt x="2983" y="12320"/>
                    <a:pt x="2983" y="12320"/>
                  </a:cubicBezTo>
                  <a:cubicBezTo>
                    <a:pt x="3037" y="12323"/>
                    <a:pt x="3037" y="12323"/>
                    <a:pt x="3037" y="12323"/>
                  </a:cubicBezTo>
                  <a:cubicBezTo>
                    <a:pt x="3011" y="12381"/>
                    <a:pt x="3011" y="12381"/>
                    <a:pt x="3011" y="12381"/>
                  </a:cubicBezTo>
                  <a:cubicBezTo>
                    <a:pt x="2921" y="12358"/>
                    <a:pt x="2921" y="12358"/>
                    <a:pt x="2921" y="12358"/>
                  </a:cubicBezTo>
                  <a:cubicBezTo>
                    <a:pt x="2908" y="12181"/>
                    <a:pt x="2908" y="12181"/>
                    <a:pt x="2908" y="12181"/>
                  </a:cubicBezTo>
                  <a:lnTo>
                    <a:pt x="2956" y="12048"/>
                  </a:lnTo>
                  <a:close/>
                  <a:moveTo>
                    <a:pt x="2465" y="12255"/>
                  </a:moveTo>
                  <a:cubicBezTo>
                    <a:pt x="2581" y="12289"/>
                    <a:pt x="2581" y="12289"/>
                    <a:pt x="2581" y="12289"/>
                  </a:cubicBezTo>
                  <a:cubicBezTo>
                    <a:pt x="2573" y="12323"/>
                    <a:pt x="2573" y="12323"/>
                    <a:pt x="2573" y="12323"/>
                  </a:cubicBezTo>
                  <a:cubicBezTo>
                    <a:pt x="2839" y="12358"/>
                    <a:pt x="2839" y="12358"/>
                    <a:pt x="2839" y="12358"/>
                  </a:cubicBezTo>
                  <a:cubicBezTo>
                    <a:pt x="2822" y="12204"/>
                    <a:pt x="2822" y="12204"/>
                    <a:pt x="2822" y="12204"/>
                  </a:cubicBezTo>
                  <a:cubicBezTo>
                    <a:pt x="2821" y="12199"/>
                    <a:pt x="2821" y="12199"/>
                    <a:pt x="2821" y="12199"/>
                  </a:cubicBezTo>
                  <a:cubicBezTo>
                    <a:pt x="2542" y="12129"/>
                    <a:pt x="2542" y="12129"/>
                    <a:pt x="2542" y="12129"/>
                  </a:cubicBezTo>
                  <a:cubicBezTo>
                    <a:pt x="2570" y="12024"/>
                    <a:pt x="2570" y="12024"/>
                    <a:pt x="2570" y="12024"/>
                  </a:cubicBezTo>
                  <a:cubicBezTo>
                    <a:pt x="2394" y="12017"/>
                    <a:pt x="2394" y="12017"/>
                    <a:pt x="2394" y="12017"/>
                  </a:cubicBezTo>
                  <a:cubicBezTo>
                    <a:pt x="2357" y="12248"/>
                    <a:pt x="2357" y="12248"/>
                    <a:pt x="2357" y="12248"/>
                  </a:cubicBezTo>
                  <a:lnTo>
                    <a:pt x="2465" y="12255"/>
                  </a:lnTo>
                  <a:close/>
                  <a:moveTo>
                    <a:pt x="2406" y="12032"/>
                  </a:moveTo>
                  <a:cubicBezTo>
                    <a:pt x="2551" y="12038"/>
                    <a:pt x="2551" y="12038"/>
                    <a:pt x="2551" y="12038"/>
                  </a:cubicBezTo>
                  <a:cubicBezTo>
                    <a:pt x="2524" y="12140"/>
                    <a:pt x="2524" y="12140"/>
                    <a:pt x="2524" y="12140"/>
                  </a:cubicBezTo>
                  <a:cubicBezTo>
                    <a:pt x="2808" y="12210"/>
                    <a:pt x="2808" y="12210"/>
                    <a:pt x="2808" y="12210"/>
                  </a:cubicBezTo>
                  <a:cubicBezTo>
                    <a:pt x="2822" y="12341"/>
                    <a:pt x="2822" y="12341"/>
                    <a:pt x="2822" y="12341"/>
                  </a:cubicBezTo>
                  <a:cubicBezTo>
                    <a:pt x="2591" y="12311"/>
                    <a:pt x="2591" y="12311"/>
                    <a:pt x="2591" y="12311"/>
                  </a:cubicBezTo>
                  <a:cubicBezTo>
                    <a:pt x="2599" y="12278"/>
                    <a:pt x="2599" y="12278"/>
                    <a:pt x="2599" y="12278"/>
                  </a:cubicBezTo>
                  <a:cubicBezTo>
                    <a:pt x="2467" y="12240"/>
                    <a:pt x="2467" y="12240"/>
                    <a:pt x="2467" y="12240"/>
                  </a:cubicBezTo>
                  <a:cubicBezTo>
                    <a:pt x="2374" y="12234"/>
                    <a:pt x="2374" y="12234"/>
                    <a:pt x="2374" y="12234"/>
                  </a:cubicBezTo>
                  <a:lnTo>
                    <a:pt x="2406" y="12032"/>
                  </a:lnTo>
                  <a:close/>
                  <a:moveTo>
                    <a:pt x="3289" y="12498"/>
                  </a:moveTo>
                  <a:cubicBezTo>
                    <a:pt x="3397" y="12540"/>
                    <a:pt x="3397" y="12540"/>
                    <a:pt x="3397" y="12540"/>
                  </a:cubicBezTo>
                  <a:cubicBezTo>
                    <a:pt x="3408" y="12514"/>
                    <a:pt x="3408" y="12514"/>
                    <a:pt x="3408" y="12514"/>
                  </a:cubicBezTo>
                  <a:cubicBezTo>
                    <a:pt x="3431" y="12567"/>
                    <a:pt x="3431" y="12567"/>
                    <a:pt x="3431" y="12567"/>
                  </a:cubicBezTo>
                  <a:cubicBezTo>
                    <a:pt x="3517" y="12646"/>
                    <a:pt x="3517" y="12646"/>
                    <a:pt x="3517" y="12646"/>
                  </a:cubicBezTo>
                  <a:cubicBezTo>
                    <a:pt x="3537" y="12665"/>
                    <a:pt x="3537" y="12665"/>
                    <a:pt x="3537" y="12665"/>
                  </a:cubicBezTo>
                  <a:cubicBezTo>
                    <a:pt x="3409" y="12258"/>
                    <a:pt x="3409" y="12258"/>
                    <a:pt x="3409" y="12258"/>
                  </a:cubicBezTo>
                  <a:lnTo>
                    <a:pt x="3289" y="12498"/>
                  </a:lnTo>
                  <a:close/>
                  <a:moveTo>
                    <a:pt x="3443" y="12559"/>
                  </a:moveTo>
                  <a:cubicBezTo>
                    <a:pt x="3409" y="12478"/>
                    <a:pt x="3409" y="12478"/>
                    <a:pt x="3409" y="12478"/>
                  </a:cubicBezTo>
                  <a:cubicBezTo>
                    <a:pt x="3389" y="12521"/>
                    <a:pt x="3389" y="12521"/>
                    <a:pt x="3389" y="12521"/>
                  </a:cubicBezTo>
                  <a:cubicBezTo>
                    <a:pt x="3309" y="12490"/>
                    <a:pt x="3309" y="12490"/>
                    <a:pt x="3309" y="12490"/>
                  </a:cubicBezTo>
                  <a:cubicBezTo>
                    <a:pt x="3406" y="12297"/>
                    <a:pt x="3406" y="12297"/>
                    <a:pt x="3406" y="12297"/>
                  </a:cubicBezTo>
                  <a:cubicBezTo>
                    <a:pt x="3507" y="12617"/>
                    <a:pt x="3507" y="12617"/>
                    <a:pt x="3507" y="12617"/>
                  </a:cubicBezTo>
                  <a:lnTo>
                    <a:pt x="3443" y="12559"/>
                  </a:lnTo>
                  <a:close/>
                  <a:moveTo>
                    <a:pt x="5088" y="13292"/>
                  </a:moveTo>
                  <a:cubicBezTo>
                    <a:pt x="5088" y="13303"/>
                    <a:pt x="5088" y="13309"/>
                    <a:pt x="5088" y="13309"/>
                  </a:cubicBezTo>
                  <a:cubicBezTo>
                    <a:pt x="5087" y="13317"/>
                    <a:pt x="5087" y="13317"/>
                    <a:pt x="5087" y="13317"/>
                  </a:cubicBezTo>
                  <a:cubicBezTo>
                    <a:pt x="5095" y="13317"/>
                    <a:pt x="5095" y="13317"/>
                    <a:pt x="5095" y="13317"/>
                  </a:cubicBezTo>
                  <a:cubicBezTo>
                    <a:pt x="5095" y="13317"/>
                    <a:pt x="5263" y="13323"/>
                    <a:pt x="5277" y="13324"/>
                  </a:cubicBezTo>
                  <a:cubicBezTo>
                    <a:pt x="5278" y="13325"/>
                    <a:pt x="5279" y="13325"/>
                    <a:pt x="5279" y="13325"/>
                  </a:cubicBezTo>
                  <a:cubicBezTo>
                    <a:pt x="5279" y="13325"/>
                    <a:pt x="5279" y="13325"/>
                    <a:pt x="5280" y="13325"/>
                  </a:cubicBezTo>
                  <a:cubicBezTo>
                    <a:pt x="5280" y="13318"/>
                    <a:pt x="5280" y="13318"/>
                    <a:pt x="5280" y="13318"/>
                  </a:cubicBezTo>
                  <a:cubicBezTo>
                    <a:pt x="5286" y="13321"/>
                    <a:pt x="5286" y="13321"/>
                    <a:pt x="5286" y="13321"/>
                  </a:cubicBezTo>
                  <a:cubicBezTo>
                    <a:pt x="5286" y="13320"/>
                    <a:pt x="5287" y="13320"/>
                    <a:pt x="5287" y="13318"/>
                  </a:cubicBezTo>
                  <a:cubicBezTo>
                    <a:pt x="5287" y="13317"/>
                    <a:pt x="5287" y="13317"/>
                    <a:pt x="5287" y="13317"/>
                  </a:cubicBezTo>
                  <a:cubicBezTo>
                    <a:pt x="5287" y="13316"/>
                    <a:pt x="5288" y="13314"/>
                    <a:pt x="5288" y="13312"/>
                  </a:cubicBezTo>
                  <a:cubicBezTo>
                    <a:pt x="5289" y="13308"/>
                    <a:pt x="5290" y="13302"/>
                    <a:pt x="5292" y="13294"/>
                  </a:cubicBezTo>
                  <a:cubicBezTo>
                    <a:pt x="5294" y="13280"/>
                    <a:pt x="5298" y="13261"/>
                    <a:pt x="5302" y="13242"/>
                  </a:cubicBezTo>
                  <a:cubicBezTo>
                    <a:pt x="5310" y="13204"/>
                    <a:pt x="5317" y="13166"/>
                    <a:pt x="5317" y="13166"/>
                  </a:cubicBezTo>
                  <a:cubicBezTo>
                    <a:pt x="5320" y="13155"/>
                    <a:pt x="5320" y="13155"/>
                    <a:pt x="5320" y="13155"/>
                  </a:cubicBezTo>
                  <a:cubicBezTo>
                    <a:pt x="5214" y="13178"/>
                    <a:pt x="5214" y="13178"/>
                    <a:pt x="5214" y="13178"/>
                  </a:cubicBezTo>
                  <a:cubicBezTo>
                    <a:pt x="5244" y="13105"/>
                    <a:pt x="5244" y="13105"/>
                    <a:pt x="5244" y="13105"/>
                  </a:cubicBezTo>
                  <a:cubicBezTo>
                    <a:pt x="5333" y="13117"/>
                    <a:pt x="5333" y="13117"/>
                    <a:pt x="5333" y="13117"/>
                  </a:cubicBezTo>
                  <a:cubicBezTo>
                    <a:pt x="5310" y="12960"/>
                    <a:pt x="5310" y="12960"/>
                    <a:pt x="5310" y="12960"/>
                  </a:cubicBezTo>
                  <a:cubicBezTo>
                    <a:pt x="5309" y="12954"/>
                    <a:pt x="5309" y="12954"/>
                    <a:pt x="5309" y="12954"/>
                  </a:cubicBezTo>
                  <a:cubicBezTo>
                    <a:pt x="4991" y="12915"/>
                    <a:pt x="4991" y="12915"/>
                    <a:pt x="4991" y="12915"/>
                  </a:cubicBezTo>
                  <a:cubicBezTo>
                    <a:pt x="4999" y="12928"/>
                    <a:pt x="4999" y="12928"/>
                    <a:pt x="4999" y="12928"/>
                  </a:cubicBezTo>
                  <a:cubicBezTo>
                    <a:pt x="4999" y="12928"/>
                    <a:pt x="5045" y="13005"/>
                    <a:pt x="5067" y="13092"/>
                  </a:cubicBezTo>
                  <a:cubicBezTo>
                    <a:pt x="5086" y="13165"/>
                    <a:pt x="5088" y="13255"/>
                    <a:pt x="5088" y="13292"/>
                  </a:cubicBezTo>
                  <a:close/>
                  <a:moveTo>
                    <a:pt x="5296" y="12967"/>
                  </a:moveTo>
                  <a:cubicBezTo>
                    <a:pt x="5315" y="13099"/>
                    <a:pt x="5315" y="13099"/>
                    <a:pt x="5315" y="13099"/>
                  </a:cubicBezTo>
                  <a:cubicBezTo>
                    <a:pt x="5234" y="13089"/>
                    <a:pt x="5234" y="13089"/>
                    <a:pt x="5234" y="13089"/>
                  </a:cubicBezTo>
                  <a:cubicBezTo>
                    <a:pt x="5189" y="13198"/>
                    <a:pt x="5189" y="13198"/>
                    <a:pt x="5189" y="13198"/>
                  </a:cubicBezTo>
                  <a:cubicBezTo>
                    <a:pt x="5301" y="13174"/>
                    <a:pt x="5301" y="13174"/>
                    <a:pt x="5301" y="13174"/>
                  </a:cubicBezTo>
                  <a:cubicBezTo>
                    <a:pt x="5298" y="13188"/>
                    <a:pt x="5293" y="13214"/>
                    <a:pt x="5288" y="13239"/>
                  </a:cubicBezTo>
                  <a:cubicBezTo>
                    <a:pt x="5282" y="13268"/>
                    <a:pt x="5276" y="13296"/>
                    <a:pt x="5274" y="13309"/>
                  </a:cubicBezTo>
                  <a:cubicBezTo>
                    <a:pt x="5273" y="13309"/>
                    <a:pt x="5273" y="13309"/>
                    <a:pt x="5272" y="13309"/>
                  </a:cubicBezTo>
                  <a:cubicBezTo>
                    <a:pt x="5267" y="13309"/>
                    <a:pt x="5260" y="13309"/>
                    <a:pt x="5251" y="13308"/>
                  </a:cubicBezTo>
                  <a:cubicBezTo>
                    <a:pt x="5234" y="13307"/>
                    <a:pt x="5211" y="13306"/>
                    <a:pt x="5188" y="13306"/>
                  </a:cubicBezTo>
                  <a:cubicBezTo>
                    <a:pt x="5152" y="13304"/>
                    <a:pt x="5117" y="13303"/>
                    <a:pt x="5103" y="13302"/>
                  </a:cubicBezTo>
                  <a:cubicBezTo>
                    <a:pt x="5103" y="13300"/>
                    <a:pt x="5103" y="13296"/>
                    <a:pt x="5103" y="13292"/>
                  </a:cubicBezTo>
                  <a:cubicBezTo>
                    <a:pt x="5103" y="13254"/>
                    <a:pt x="5100" y="13164"/>
                    <a:pt x="5081" y="13088"/>
                  </a:cubicBezTo>
                  <a:cubicBezTo>
                    <a:pt x="5064" y="13020"/>
                    <a:pt x="5033" y="12959"/>
                    <a:pt x="5019" y="12933"/>
                  </a:cubicBezTo>
                  <a:lnTo>
                    <a:pt x="5296" y="12967"/>
                  </a:lnTo>
                  <a:close/>
                  <a:moveTo>
                    <a:pt x="3161" y="10729"/>
                  </a:moveTo>
                  <a:cubicBezTo>
                    <a:pt x="3155" y="10731"/>
                    <a:pt x="3155" y="10731"/>
                    <a:pt x="3155" y="10731"/>
                  </a:cubicBezTo>
                  <a:cubicBezTo>
                    <a:pt x="3155" y="10731"/>
                    <a:pt x="3045" y="10780"/>
                    <a:pt x="3001" y="10811"/>
                  </a:cubicBezTo>
                  <a:cubicBezTo>
                    <a:pt x="2957" y="10841"/>
                    <a:pt x="2950" y="10858"/>
                    <a:pt x="2949" y="10860"/>
                  </a:cubicBezTo>
                  <a:cubicBezTo>
                    <a:pt x="2947" y="10867"/>
                    <a:pt x="2947" y="10867"/>
                    <a:pt x="2947" y="10867"/>
                  </a:cubicBezTo>
                  <a:cubicBezTo>
                    <a:pt x="3117" y="10936"/>
                    <a:pt x="3117" y="10936"/>
                    <a:pt x="3117" y="10936"/>
                  </a:cubicBezTo>
                  <a:cubicBezTo>
                    <a:pt x="3228" y="11088"/>
                    <a:pt x="3228" y="11088"/>
                    <a:pt x="3228" y="11088"/>
                  </a:cubicBezTo>
                  <a:cubicBezTo>
                    <a:pt x="3335" y="11028"/>
                    <a:pt x="3335" y="11028"/>
                    <a:pt x="3335" y="11028"/>
                  </a:cubicBezTo>
                  <a:cubicBezTo>
                    <a:pt x="3337" y="10951"/>
                    <a:pt x="3337" y="10951"/>
                    <a:pt x="3337" y="10951"/>
                  </a:cubicBezTo>
                  <a:cubicBezTo>
                    <a:pt x="3164" y="10733"/>
                    <a:pt x="3164" y="10733"/>
                    <a:pt x="3164" y="10733"/>
                  </a:cubicBezTo>
                  <a:lnTo>
                    <a:pt x="3161" y="10729"/>
                  </a:lnTo>
                  <a:close/>
                  <a:moveTo>
                    <a:pt x="3321" y="11019"/>
                  </a:moveTo>
                  <a:cubicBezTo>
                    <a:pt x="3232" y="11069"/>
                    <a:pt x="3232" y="11069"/>
                    <a:pt x="3232" y="11069"/>
                  </a:cubicBezTo>
                  <a:cubicBezTo>
                    <a:pt x="3127" y="10924"/>
                    <a:pt x="3127" y="10924"/>
                    <a:pt x="3127" y="10924"/>
                  </a:cubicBezTo>
                  <a:cubicBezTo>
                    <a:pt x="2967" y="10859"/>
                    <a:pt x="2967" y="10859"/>
                    <a:pt x="2967" y="10859"/>
                  </a:cubicBezTo>
                  <a:cubicBezTo>
                    <a:pt x="2968" y="10858"/>
                    <a:pt x="2969" y="10857"/>
                    <a:pt x="2970" y="10856"/>
                  </a:cubicBezTo>
                  <a:cubicBezTo>
                    <a:pt x="2976" y="10848"/>
                    <a:pt x="2988" y="10837"/>
                    <a:pt x="3009" y="10823"/>
                  </a:cubicBezTo>
                  <a:cubicBezTo>
                    <a:pt x="3045" y="10798"/>
                    <a:pt x="3134" y="10757"/>
                    <a:pt x="3156" y="10747"/>
                  </a:cubicBezTo>
                  <a:cubicBezTo>
                    <a:pt x="3322" y="10956"/>
                    <a:pt x="3322" y="10956"/>
                    <a:pt x="3322" y="10956"/>
                  </a:cubicBezTo>
                  <a:lnTo>
                    <a:pt x="3321" y="11019"/>
                  </a:lnTo>
                  <a:close/>
                  <a:moveTo>
                    <a:pt x="1252" y="15168"/>
                  </a:moveTo>
                  <a:cubicBezTo>
                    <a:pt x="1257" y="15163"/>
                    <a:pt x="1257" y="15163"/>
                    <a:pt x="1257" y="15163"/>
                  </a:cubicBezTo>
                  <a:cubicBezTo>
                    <a:pt x="1131" y="15034"/>
                    <a:pt x="1131" y="15034"/>
                    <a:pt x="1131" y="15034"/>
                  </a:cubicBezTo>
                  <a:cubicBezTo>
                    <a:pt x="1124" y="15134"/>
                    <a:pt x="1124" y="15134"/>
                    <a:pt x="1124" y="15134"/>
                  </a:cubicBezTo>
                  <a:cubicBezTo>
                    <a:pt x="1207" y="15215"/>
                    <a:pt x="1207" y="15215"/>
                    <a:pt x="1207" y="15215"/>
                  </a:cubicBezTo>
                  <a:lnTo>
                    <a:pt x="1252" y="15168"/>
                  </a:lnTo>
                  <a:close/>
                  <a:moveTo>
                    <a:pt x="1140" y="15129"/>
                  </a:moveTo>
                  <a:cubicBezTo>
                    <a:pt x="1143" y="15068"/>
                    <a:pt x="1143" y="15068"/>
                    <a:pt x="1143" y="15068"/>
                  </a:cubicBezTo>
                  <a:cubicBezTo>
                    <a:pt x="1236" y="15163"/>
                    <a:pt x="1236" y="15163"/>
                    <a:pt x="1236" y="15163"/>
                  </a:cubicBezTo>
                  <a:cubicBezTo>
                    <a:pt x="1207" y="15194"/>
                    <a:pt x="1207" y="15194"/>
                    <a:pt x="1207" y="15194"/>
                  </a:cubicBezTo>
                  <a:lnTo>
                    <a:pt x="1140" y="15129"/>
                  </a:lnTo>
                  <a:close/>
                  <a:moveTo>
                    <a:pt x="5190" y="15437"/>
                  </a:moveTo>
                  <a:cubicBezTo>
                    <a:pt x="5293" y="15414"/>
                    <a:pt x="5293" y="15414"/>
                    <a:pt x="5293" y="15414"/>
                  </a:cubicBezTo>
                  <a:cubicBezTo>
                    <a:pt x="5278" y="15286"/>
                    <a:pt x="5278" y="15286"/>
                    <a:pt x="5278" y="15286"/>
                  </a:cubicBezTo>
                  <a:cubicBezTo>
                    <a:pt x="5277" y="15279"/>
                    <a:pt x="5277" y="15279"/>
                    <a:pt x="5277" y="15279"/>
                  </a:cubicBezTo>
                  <a:cubicBezTo>
                    <a:pt x="5270" y="15279"/>
                    <a:pt x="5270" y="15279"/>
                    <a:pt x="5270" y="15279"/>
                  </a:cubicBezTo>
                  <a:cubicBezTo>
                    <a:pt x="5270" y="15279"/>
                    <a:pt x="5193" y="15279"/>
                    <a:pt x="5172" y="15280"/>
                  </a:cubicBezTo>
                  <a:cubicBezTo>
                    <a:pt x="5171" y="15280"/>
                    <a:pt x="5170" y="15280"/>
                    <a:pt x="5169" y="15280"/>
                  </a:cubicBezTo>
                  <a:cubicBezTo>
                    <a:pt x="5168" y="15280"/>
                    <a:pt x="5168" y="15280"/>
                    <a:pt x="5165" y="15280"/>
                  </a:cubicBezTo>
                  <a:cubicBezTo>
                    <a:pt x="5165" y="15281"/>
                    <a:pt x="5165" y="15281"/>
                    <a:pt x="5165" y="15281"/>
                  </a:cubicBezTo>
                  <a:cubicBezTo>
                    <a:pt x="5160" y="15282"/>
                    <a:pt x="5160" y="15286"/>
                    <a:pt x="5160" y="15286"/>
                  </a:cubicBezTo>
                  <a:cubicBezTo>
                    <a:pt x="5160" y="15287"/>
                    <a:pt x="5160" y="15287"/>
                    <a:pt x="5160" y="15288"/>
                  </a:cubicBezTo>
                  <a:cubicBezTo>
                    <a:pt x="5160" y="15298"/>
                    <a:pt x="5188" y="15429"/>
                    <a:pt x="5188" y="15430"/>
                  </a:cubicBezTo>
                  <a:lnTo>
                    <a:pt x="5190" y="15437"/>
                  </a:lnTo>
                  <a:close/>
                  <a:moveTo>
                    <a:pt x="5184" y="15294"/>
                  </a:moveTo>
                  <a:cubicBezTo>
                    <a:pt x="5194" y="15294"/>
                    <a:pt x="5207" y="15294"/>
                    <a:pt x="5220" y="15294"/>
                  </a:cubicBezTo>
                  <a:cubicBezTo>
                    <a:pt x="5237" y="15294"/>
                    <a:pt x="5255" y="15294"/>
                    <a:pt x="5264" y="15294"/>
                  </a:cubicBezTo>
                  <a:cubicBezTo>
                    <a:pt x="5277" y="15403"/>
                    <a:pt x="5277" y="15403"/>
                    <a:pt x="5277" y="15403"/>
                  </a:cubicBezTo>
                  <a:cubicBezTo>
                    <a:pt x="5201" y="15419"/>
                    <a:pt x="5201" y="15419"/>
                    <a:pt x="5201" y="15419"/>
                  </a:cubicBezTo>
                  <a:cubicBezTo>
                    <a:pt x="5199" y="15408"/>
                    <a:pt x="5194" y="15384"/>
                    <a:pt x="5189" y="15359"/>
                  </a:cubicBezTo>
                  <a:cubicBezTo>
                    <a:pt x="5183" y="15334"/>
                    <a:pt x="5178" y="15307"/>
                    <a:pt x="5176" y="15295"/>
                  </a:cubicBezTo>
                  <a:cubicBezTo>
                    <a:pt x="5178" y="15295"/>
                    <a:pt x="5181" y="15295"/>
                    <a:pt x="5184" y="15294"/>
                  </a:cubicBezTo>
                  <a:close/>
                  <a:moveTo>
                    <a:pt x="3876" y="9745"/>
                  </a:moveTo>
                  <a:cubicBezTo>
                    <a:pt x="3522" y="9290"/>
                    <a:pt x="3522" y="9290"/>
                    <a:pt x="3522" y="9290"/>
                  </a:cubicBezTo>
                  <a:cubicBezTo>
                    <a:pt x="3405" y="9784"/>
                    <a:pt x="3405" y="9784"/>
                    <a:pt x="3405" y="9784"/>
                  </a:cubicBezTo>
                  <a:cubicBezTo>
                    <a:pt x="3407" y="9786"/>
                    <a:pt x="3407" y="9786"/>
                    <a:pt x="3407" y="9786"/>
                  </a:cubicBezTo>
                  <a:cubicBezTo>
                    <a:pt x="3407" y="9787"/>
                    <a:pt x="3445" y="9851"/>
                    <a:pt x="3483" y="9918"/>
                  </a:cubicBezTo>
                  <a:cubicBezTo>
                    <a:pt x="3519" y="9981"/>
                    <a:pt x="3557" y="10048"/>
                    <a:pt x="3562" y="10059"/>
                  </a:cubicBezTo>
                  <a:cubicBezTo>
                    <a:pt x="3562" y="10060"/>
                    <a:pt x="3562" y="10061"/>
                    <a:pt x="3563" y="10063"/>
                  </a:cubicBezTo>
                  <a:cubicBezTo>
                    <a:pt x="3564" y="10065"/>
                    <a:pt x="3567" y="10066"/>
                    <a:pt x="3569" y="10066"/>
                  </a:cubicBezTo>
                  <a:cubicBezTo>
                    <a:pt x="3569" y="10066"/>
                    <a:pt x="3569" y="10066"/>
                    <a:pt x="3569" y="10066"/>
                  </a:cubicBezTo>
                  <a:cubicBezTo>
                    <a:pt x="3571" y="10067"/>
                    <a:pt x="3575" y="10065"/>
                    <a:pt x="3576" y="10063"/>
                  </a:cubicBezTo>
                  <a:cubicBezTo>
                    <a:pt x="3577" y="10061"/>
                    <a:pt x="3577" y="10060"/>
                    <a:pt x="3577" y="10059"/>
                  </a:cubicBezTo>
                  <a:cubicBezTo>
                    <a:pt x="3577" y="10058"/>
                    <a:pt x="3578" y="10057"/>
                    <a:pt x="3579" y="10054"/>
                  </a:cubicBezTo>
                  <a:cubicBezTo>
                    <a:pt x="3582" y="10050"/>
                    <a:pt x="3585" y="10045"/>
                    <a:pt x="3589" y="10038"/>
                  </a:cubicBezTo>
                  <a:cubicBezTo>
                    <a:pt x="3597" y="10024"/>
                    <a:pt x="3608" y="10005"/>
                    <a:pt x="3620" y="9986"/>
                  </a:cubicBezTo>
                  <a:cubicBezTo>
                    <a:pt x="3643" y="9947"/>
                    <a:pt x="3670" y="9905"/>
                    <a:pt x="3680" y="9886"/>
                  </a:cubicBezTo>
                  <a:cubicBezTo>
                    <a:pt x="3683" y="9881"/>
                    <a:pt x="3684" y="9879"/>
                    <a:pt x="3685" y="9876"/>
                  </a:cubicBezTo>
                  <a:cubicBezTo>
                    <a:pt x="3686" y="9875"/>
                    <a:pt x="3688" y="9874"/>
                    <a:pt x="3691" y="9872"/>
                  </a:cubicBezTo>
                  <a:cubicBezTo>
                    <a:pt x="3696" y="9869"/>
                    <a:pt x="3703" y="9864"/>
                    <a:pt x="3712" y="9858"/>
                  </a:cubicBezTo>
                  <a:cubicBezTo>
                    <a:pt x="3730" y="9847"/>
                    <a:pt x="3755" y="9832"/>
                    <a:pt x="3779" y="9817"/>
                  </a:cubicBezTo>
                  <a:cubicBezTo>
                    <a:pt x="3827" y="9787"/>
                    <a:pt x="3875" y="9758"/>
                    <a:pt x="3876" y="9758"/>
                  </a:cubicBezTo>
                  <a:cubicBezTo>
                    <a:pt x="3883" y="9754"/>
                    <a:pt x="3883" y="9754"/>
                    <a:pt x="3883" y="9754"/>
                  </a:cubicBezTo>
                  <a:cubicBezTo>
                    <a:pt x="3878" y="9747"/>
                    <a:pt x="3878" y="9747"/>
                    <a:pt x="3878" y="9747"/>
                  </a:cubicBezTo>
                  <a:lnTo>
                    <a:pt x="3876" y="9745"/>
                  </a:lnTo>
                  <a:close/>
                  <a:moveTo>
                    <a:pt x="3707" y="9844"/>
                  </a:moveTo>
                  <a:cubicBezTo>
                    <a:pt x="3688" y="9856"/>
                    <a:pt x="3677" y="9863"/>
                    <a:pt x="3673" y="9867"/>
                  </a:cubicBezTo>
                  <a:cubicBezTo>
                    <a:pt x="3673" y="9868"/>
                    <a:pt x="3672" y="9867"/>
                    <a:pt x="3671" y="9872"/>
                  </a:cubicBezTo>
                  <a:cubicBezTo>
                    <a:pt x="3671" y="9872"/>
                    <a:pt x="3671" y="9872"/>
                    <a:pt x="3671" y="9872"/>
                  </a:cubicBezTo>
                  <a:cubicBezTo>
                    <a:pt x="3670" y="9873"/>
                    <a:pt x="3669" y="9874"/>
                    <a:pt x="3668" y="9877"/>
                  </a:cubicBezTo>
                  <a:cubicBezTo>
                    <a:pt x="3666" y="9881"/>
                    <a:pt x="3663" y="9887"/>
                    <a:pt x="3659" y="9893"/>
                  </a:cubicBezTo>
                  <a:cubicBezTo>
                    <a:pt x="3651" y="9907"/>
                    <a:pt x="3639" y="9926"/>
                    <a:pt x="3628" y="9945"/>
                  </a:cubicBezTo>
                  <a:cubicBezTo>
                    <a:pt x="3606" y="9981"/>
                    <a:pt x="3581" y="10021"/>
                    <a:pt x="3570" y="10042"/>
                  </a:cubicBezTo>
                  <a:cubicBezTo>
                    <a:pt x="3569" y="10042"/>
                    <a:pt x="3569" y="10041"/>
                    <a:pt x="3569" y="10041"/>
                  </a:cubicBezTo>
                  <a:cubicBezTo>
                    <a:pt x="3565" y="10033"/>
                    <a:pt x="3559" y="10022"/>
                    <a:pt x="3552" y="10009"/>
                  </a:cubicBezTo>
                  <a:cubicBezTo>
                    <a:pt x="3537" y="9982"/>
                    <a:pt x="3517" y="9948"/>
                    <a:pt x="3498" y="9914"/>
                  </a:cubicBezTo>
                  <a:cubicBezTo>
                    <a:pt x="3463" y="9854"/>
                    <a:pt x="3429" y="9794"/>
                    <a:pt x="3421" y="9782"/>
                  </a:cubicBezTo>
                  <a:cubicBezTo>
                    <a:pt x="3529" y="9323"/>
                    <a:pt x="3529" y="9323"/>
                    <a:pt x="3529" y="9323"/>
                  </a:cubicBezTo>
                  <a:cubicBezTo>
                    <a:pt x="3861" y="9750"/>
                    <a:pt x="3861" y="9750"/>
                    <a:pt x="3861" y="9750"/>
                  </a:cubicBezTo>
                  <a:cubicBezTo>
                    <a:pt x="3836" y="9765"/>
                    <a:pt x="3754" y="9815"/>
                    <a:pt x="3707" y="9844"/>
                  </a:cubicBezTo>
                  <a:close/>
                  <a:moveTo>
                    <a:pt x="3666" y="9759"/>
                  </a:moveTo>
                  <a:cubicBezTo>
                    <a:pt x="3578" y="9498"/>
                    <a:pt x="3578" y="9498"/>
                    <a:pt x="3578" y="9498"/>
                  </a:cubicBezTo>
                  <a:cubicBezTo>
                    <a:pt x="3564" y="9499"/>
                    <a:pt x="3564" y="9499"/>
                    <a:pt x="3564" y="9499"/>
                  </a:cubicBezTo>
                  <a:cubicBezTo>
                    <a:pt x="3542" y="9814"/>
                    <a:pt x="3542" y="9814"/>
                    <a:pt x="3542" y="9814"/>
                  </a:cubicBezTo>
                  <a:cubicBezTo>
                    <a:pt x="3660" y="9762"/>
                    <a:pt x="3660" y="9762"/>
                    <a:pt x="3660" y="9762"/>
                  </a:cubicBezTo>
                  <a:lnTo>
                    <a:pt x="3666" y="9759"/>
                  </a:lnTo>
                  <a:close/>
                  <a:moveTo>
                    <a:pt x="3558" y="9791"/>
                  </a:moveTo>
                  <a:cubicBezTo>
                    <a:pt x="3576" y="9537"/>
                    <a:pt x="3576" y="9537"/>
                    <a:pt x="3576" y="9537"/>
                  </a:cubicBezTo>
                  <a:cubicBezTo>
                    <a:pt x="3648" y="9751"/>
                    <a:pt x="3648" y="9751"/>
                    <a:pt x="3648" y="9751"/>
                  </a:cubicBezTo>
                  <a:lnTo>
                    <a:pt x="3558" y="9791"/>
                  </a:lnTo>
                  <a:close/>
                  <a:moveTo>
                    <a:pt x="3091" y="10481"/>
                  </a:moveTo>
                  <a:cubicBezTo>
                    <a:pt x="2894" y="10506"/>
                    <a:pt x="2894" y="10506"/>
                    <a:pt x="2894" y="10506"/>
                  </a:cubicBezTo>
                  <a:cubicBezTo>
                    <a:pt x="2896" y="10514"/>
                    <a:pt x="2896" y="10514"/>
                    <a:pt x="2896" y="10514"/>
                  </a:cubicBezTo>
                  <a:cubicBezTo>
                    <a:pt x="2896" y="10514"/>
                    <a:pt x="2921" y="10660"/>
                    <a:pt x="2921" y="10680"/>
                  </a:cubicBezTo>
                  <a:cubicBezTo>
                    <a:pt x="2921" y="10681"/>
                    <a:pt x="2921" y="10681"/>
                    <a:pt x="2921" y="10681"/>
                  </a:cubicBezTo>
                  <a:cubicBezTo>
                    <a:pt x="2920" y="10681"/>
                    <a:pt x="2920" y="10682"/>
                    <a:pt x="2920" y="10683"/>
                  </a:cubicBezTo>
                  <a:cubicBezTo>
                    <a:pt x="2920" y="10685"/>
                    <a:pt x="2921" y="10688"/>
                    <a:pt x="2923" y="10689"/>
                  </a:cubicBezTo>
                  <a:cubicBezTo>
                    <a:pt x="2925" y="10691"/>
                    <a:pt x="2927" y="10691"/>
                    <a:pt x="2927" y="10691"/>
                  </a:cubicBezTo>
                  <a:cubicBezTo>
                    <a:pt x="2929" y="10690"/>
                    <a:pt x="2931" y="10690"/>
                    <a:pt x="2932" y="10689"/>
                  </a:cubicBezTo>
                  <a:cubicBezTo>
                    <a:pt x="2932" y="10689"/>
                    <a:pt x="2932" y="10689"/>
                    <a:pt x="2933" y="10689"/>
                  </a:cubicBezTo>
                  <a:cubicBezTo>
                    <a:pt x="2934" y="10688"/>
                    <a:pt x="2936" y="10687"/>
                    <a:pt x="2939" y="10686"/>
                  </a:cubicBezTo>
                  <a:cubicBezTo>
                    <a:pt x="2944" y="10683"/>
                    <a:pt x="2952" y="10680"/>
                    <a:pt x="2961" y="10676"/>
                  </a:cubicBezTo>
                  <a:cubicBezTo>
                    <a:pt x="2979" y="10668"/>
                    <a:pt x="3004" y="10658"/>
                    <a:pt x="3029" y="10647"/>
                  </a:cubicBezTo>
                  <a:cubicBezTo>
                    <a:pt x="3079" y="10626"/>
                    <a:pt x="3128" y="10605"/>
                    <a:pt x="3133" y="10602"/>
                  </a:cubicBezTo>
                  <a:cubicBezTo>
                    <a:pt x="3133" y="10600"/>
                    <a:pt x="3135" y="10603"/>
                    <a:pt x="3137" y="10595"/>
                  </a:cubicBezTo>
                  <a:cubicBezTo>
                    <a:pt x="3136" y="10594"/>
                    <a:pt x="3136" y="10592"/>
                    <a:pt x="3135" y="10591"/>
                  </a:cubicBezTo>
                  <a:cubicBezTo>
                    <a:pt x="3137" y="10587"/>
                    <a:pt x="3141" y="10577"/>
                    <a:pt x="3145" y="10569"/>
                  </a:cubicBezTo>
                  <a:cubicBezTo>
                    <a:pt x="3148" y="10562"/>
                    <a:pt x="3151" y="10556"/>
                    <a:pt x="3153" y="10552"/>
                  </a:cubicBezTo>
                  <a:cubicBezTo>
                    <a:pt x="3384" y="10533"/>
                    <a:pt x="3384" y="10533"/>
                    <a:pt x="3384" y="10533"/>
                  </a:cubicBezTo>
                  <a:cubicBezTo>
                    <a:pt x="3373" y="10522"/>
                    <a:pt x="3373" y="10522"/>
                    <a:pt x="3373" y="10522"/>
                  </a:cubicBezTo>
                  <a:cubicBezTo>
                    <a:pt x="3373" y="10522"/>
                    <a:pt x="3319" y="10467"/>
                    <a:pt x="3298" y="10453"/>
                  </a:cubicBezTo>
                  <a:cubicBezTo>
                    <a:pt x="3298" y="10452"/>
                    <a:pt x="3297" y="10452"/>
                    <a:pt x="3296" y="10451"/>
                  </a:cubicBezTo>
                  <a:cubicBezTo>
                    <a:pt x="3297" y="10449"/>
                    <a:pt x="3299" y="10446"/>
                    <a:pt x="3301" y="10443"/>
                  </a:cubicBezTo>
                  <a:cubicBezTo>
                    <a:pt x="3304" y="10435"/>
                    <a:pt x="3310" y="10425"/>
                    <a:pt x="3315" y="10416"/>
                  </a:cubicBezTo>
                  <a:cubicBezTo>
                    <a:pt x="3325" y="10397"/>
                    <a:pt x="3335" y="10380"/>
                    <a:pt x="3335" y="10380"/>
                  </a:cubicBezTo>
                  <a:cubicBezTo>
                    <a:pt x="3342" y="10369"/>
                    <a:pt x="3342" y="10369"/>
                    <a:pt x="3342" y="10369"/>
                  </a:cubicBezTo>
                  <a:cubicBezTo>
                    <a:pt x="3330" y="10369"/>
                    <a:pt x="3330" y="10369"/>
                    <a:pt x="3330" y="10369"/>
                  </a:cubicBezTo>
                  <a:cubicBezTo>
                    <a:pt x="3330" y="10368"/>
                    <a:pt x="3330" y="10368"/>
                    <a:pt x="3329" y="10368"/>
                  </a:cubicBezTo>
                  <a:cubicBezTo>
                    <a:pt x="3328" y="10366"/>
                    <a:pt x="3326" y="10364"/>
                    <a:pt x="3323" y="10362"/>
                  </a:cubicBezTo>
                  <a:cubicBezTo>
                    <a:pt x="3318" y="10356"/>
                    <a:pt x="3311" y="10349"/>
                    <a:pt x="3305" y="10342"/>
                  </a:cubicBezTo>
                  <a:cubicBezTo>
                    <a:pt x="3293" y="10327"/>
                    <a:pt x="3281" y="10313"/>
                    <a:pt x="3281" y="10313"/>
                  </a:cubicBezTo>
                  <a:cubicBezTo>
                    <a:pt x="3277" y="10308"/>
                    <a:pt x="3277" y="10308"/>
                    <a:pt x="3277" y="10308"/>
                  </a:cubicBezTo>
                  <a:cubicBezTo>
                    <a:pt x="3123" y="10380"/>
                    <a:pt x="3123" y="10380"/>
                    <a:pt x="3123" y="10380"/>
                  </a:cubicBezTo>
                  <a:lnTo>
                    <a:pt x="3091" y="10481"/>
                  </a:lnTo>
                  <a:close/>
                  <a:moveTo>
                    <a:pt x="3273" y="10327"/>
                  </a:moveTo>
                  <a:cubicBezTo>
                    <a:pt x="3282" y="10338"/>
                    <a:pt x="3307" y="10367"/>
                    <a:pt x="3319" y="10378"/>
                  </a:cubicBezTo>
                  <a:cubicBezTo>
                    <a:pt x="3312" y="10390"/>
                    <a:pt x="3296" y="10418"/>
                    <a:pt x="3287" y="10436"/>
                  </a:cubicBezTo>
                  <a:cubicBezTo>
                    <a:pt x="3283" y="10445"/>
                    <a:pt x="3281" y="10449"/>
                    <a:pt x="3280" y="10455"/>
                  </a:cubicBezTo>
                  <a:cubicBezTo>
                    <a:pt x="3280" y="10456"/>
                    <a:pt x="3280" y="10457"/>
                    <a:pt x="3281" y="10459"/>
                  </a:cubicBezTo>
                  <a:cubicBezTo>
                    <a:pt x="3282" y="10461"/>
                    <a:pt x="3285" y="10463"/>
                    <a:pt x="3287" y="10463"/>
                  </a:cubicBezTo>
                  <a:cubicBezTo>
                    <a:pt x="3288" y="10463"/>
                    <a:pt x="3289" y="10464"/>
                    <a:pt x="3290" y="10465"/>
                  </a:cubicBezTo>
                  <a:cubicBezTo>
                    <a:pt x="3292" y="10466"/>
                    <a:pt x="3296" y="10469"/>
                    <a:pt x="3299" y="10472"/>
                  </a:cubicBezTo>
                  <a:cubicBezTo>
                    <a:pt x="3307" y="10479"/>
                    <a:pt x="3317" y="10488"/>
                    <a:pt x="3326" y="10497"/>
                  </a:cubicBezTo>
                  <a:cubicBezTo>
                    <a:pt x="3335" y="10506"/>
                    <a:pt x="3344" y="10514"/>
                    <a:pt x="3351" y="10521"/>
                  </a:cubicBezTo>
                  <a:cubicBezTo>
                    <a:pt x="3144" y="10538"/>
                    <a:pt x="3144" y="10538"/>
                    <a:pt x="3144" y="10538"/>
                  </a:cubicBezTo>
                  <a:cubicBezTo>
                    <a:pt x="3142" y="10542"/>
                    <a:pt x="3142" y="10542"/>
                    <a:pt x="3142" y="10542"/>
                  </a:cubicBezTo>
                  <a:cubicBezTo>
                    <a:pt x="3142" y="10543"/>
                    <a:pt x="3123" y="10576"/>
                    <a:pt x="3120" y="10592"/>
                  </a:cubicBezTo>
                  <a:cubicBezTo>
                    <a:pt x="3117" y="10593"/>
                    <a:pt x="3113" y="10595"/>
                    <a:pt x="3108" y="10597"/>
                  </a:cubicBezTo>
                  <a:cubicBezTo>
                    <a:pt x="3097" y="10602"/>
                    <a:pt x="3081" y="10608"/>
                    <a:pt x="3064" y="10616"/>
                  </a:cubicBezTo>
                  <a:cubicBezTo>
                    <a:pt x="3029" y="10631"/>
                    <a:pt x="2987" y="10648"/>
                    <a:pt x="2959" y="10661"/>
                  </a:cubicBezTo>
                  <a:cubicBezTo>
                    <a:pt x="2949" y="10665"/>
                    <a:pt x="2941" y="10669"/>
                    <a:pt x="2935" y="10671"/>
                  </a:cubicBezTo>
                  <a:cubicBezTo>
                    <a:pt x="2932" y="10638"/>
                    <a:pt x="2916" y="10546"/>
                    <a:pt x="2911" y="10519"/>
                  </a:cubicBezTo>
                  <a:cubicBezTo>
                    <a:pt x="3102" y="10495"/>
                    <a:pt x="3102" y="10495"/>
                    <a:pt x="3102" y="10495"/>
                  </a:cubicBezTo>
                  <a:cubicBezTo>
                    <a:pt x="3135" y="10391"/>
                    <a:pt x="3135" y="10391"/>
                    <a:pt x="3135" y="10391"/>
                  </a:cubicBezTo>
                  <a:lnTo>
                    <a:pt x="3273" y="10327"/>
                  </a:lnTo>
                  <a:close/>
                  <a:moveTo>
                    <a:pt x="390" y="7360"/>
                  </a:moveTo>
                  <a:cubicBezTo>
                    <a:pt x="456" y="7316"/>
                    <a:pt x="456" y="7316"/>
                    <a:pt x="456" y="7316"/>
                  </a:cubicBezTo>
                  <a:cubicBezTo>
                    <a:pt x="462" y="7313"/>
                    <a:pt x="462" y="7313"/>
                    <a:pt x="462" y="7313"/>
                  </a:cubicBezTo>
                  <a:cubicBezTo>
                    <a:pt x="356" y="7154"/>
                    <a:pt x="356" y="7154"/>
                    <a:pt x="356" y="7154"/>
                  </a:cubicBezTo>
                  <a:cubicBezTo>
                    <a:pt x="284" y="7201"/>
                    <a:pt x="284" y="7201"/>
                    <a:pt x="284" y="7201"/>
                  </a:cubicBezTo>
                  <a:cubicBezTo>
                    <a:pt x="310" y="7241"/>
                    <a:pt x="310" y="7241"/>
                    <a:pt x="310" y="7241"/>
                  </a:cubicBezTo>
                  <a:cubicBezTo>
                    <a:pt x="262" y="7272"/>
                    <a:pt x="262" y="7272"/>
                    <a:pt x="262" y="7272"/>
                  </a:cubicBezTo>
                  <a:cubicBezTo>
                    <a:pt x="316" y="7353"/>
                    <a:pt x="316" y="7353"/>
                    <a:pt x="316" y="7353"/>
                  </a:cubicBezTo>
                  <a:cubicBezTo>
                    <a:pt x="364" y="7321"/>
                    <a:pt x="364" y="7321"/>
                    <a:pt x="364" y="7321"/>
                  </a:cubicBezTo>
                  <a:lnTo>
                    <a:pt x="390" y="7360"/>
                  </a:lnTo>
                  <a:close/>
                  <a:moveTo>
                    <a:pt x="281" y="7276"/>
                  </a:moveTo>
                  <a:cubicBezTo>
                    <a:pt x="328" y="7244"/>
                    <a:pt x="328" y="7244"/>
                    <a:pt x="328" y="7244"/>
                  </a:cubicBezTo>
                  <a:cubicBezTo>
                    <a:pt x="303" y="7205"/>
                    <a:pt x="303" y="7205"/>
                    <a:pt x="303" y="7205"/>
                  </a:cubicBezTo>
                  <a:cubicBezTo>
                    <a:pt x="353" y="7172"/>
                    <a:pt x="353" y="7172"/>
                    <a:pt x="353" y="7172"/>
                  </a:cubicBezTo>
                  <a:cubicBezTo>
                    <a:pt x="443" y="7309"/>
                    <a:pt x="443" y="7309"/>
                    <a:pt x="443" y="7309"/>
                  </a:cubicBezTo>
                  <a:cubicBezTo>
                    <a:pt x="393" y="7342"/>
                    <a:pt x="393" y="7342"/>
                    <a:pt x="393" y="7342"/>
                  </a:cubicBezTo>
                  <a:cubicBezTo>
                    <a:pt x="367" y="7303"/>
                    <a:pt x="367" y="7303"/>
                    <a:pt x="367" y="7303"/>
                  </a:cubicBezTo>
                  <a:cubicBezTo>
                    <a:pt x="319" y="7335"/>
                    <a:pt x="319" y="7335"/>
                    <a:pt x="319" y="7335"/>
                  </a:cubicBezTo>
                  <a:lnTo>
                    <a:pt x="281" y="7276"/>
                  </a:lnTo>
                  <a:close/>
                  <a:moveTo>
                    <a:pt x="207" y="7397"/>
                  </a:moveTo>
                  <a:cubicBezTo>
                    <a:pt x="158" y="7426"/>
                    <a:pt x="158" y="7426"/>
                    <a:pt x="158" y="7426"/>
                  </a:cubicBezTo>
                  <a:cubicBezTo>
                    <a:pt x="134" y="7386"/>
                    <a:pt x="134" y="7386"/>
                    <a:pt x="134" y="7386"/>
                  </a:cubicBezTo>
                  <a:cubicBezTo>
                    <a:pt x="65" y="7426"/>
                    <a:pt x="65" y="7426"/>
                    <a:pt x="65" y="7426"/>
                  </a:cubicBezTo>
                  <a:cubicBezTo>
                    <a:pt x="60" y="7429"/>
                    <a:pt x="60" y="7429"/>
                    <a:pt x="60" y="7429"/>
                  </a:cubicBezTo>
                  <a:cubicBezTo>
                    <a:pt x="156" y="7594"/>
                    <a:pt x="156" y="7594"/>
                    <a:pt x="156" y="7594"/>
                  </a:cubicBezTo>
                  <a:cubicBezTo>
                    <a:pt x="230" y="7551"/>
                    <a:pt x="230" y="7551"/>
                    <a:pt x="230" y="7551"/>
                  </a:cubicBezTo>
                  <a:cubicBezTo>
                    <a:pt x="207" y="7510"/>
                    <a:pt x="207" y="7510"/>
                    <a:pt x="207" y="7510"/>
                  </a:cubicBezTo>
                  <a:cubicBezTo>
                    <a:pt x="256" y="7481"/>
                    <a:pt x="256" y="7481"/>
                    <a:pt x="256" y="7481"/>
                  </a:cubicBezTo>
                  <a:lnTo>
                    <a:pt x="207" y="7397"/>
                  </a:lnTo>
                  <a:close/>
                  <a:moveTo>
                    <a:pt x="212" y="7546"/>
                  </a:moveTo>
                  <a:cubicBezTo>
                    <a:pt x="161" y="7576"/>
                    <a:pt x="161" y="7576"/>
                    <a:pt x="161" y="7576"/>
                  </a:cubicBezTo>
                  <a:cubicBezTo>
                    <a:pt x="78" y="7434"/>
                    <a:pt x="78" y="7434"/>
                    <a:pt x="78" y="7434"/>
                  </a:cubicBezTo>
                  <a:cubicBezTo>
                    <a:pt x="129" y="7404"/>
                    <a:pt x="129" y="7404"/>
                    <a:pt x="129" y="7404"/>
                  </a:cubicBezTo>
                  <a:cubicBezTo>
                    <a:pt x="153" y="7444"/>
                    <a:pt x="153" y="7444"/>
                    <a:pt x="153" y="7444"/>
                  </a:cubicBezTo>
                  <a:cubicBezTo>
                    <a:pt x="203" y="7415"/>
                    <a:pt x="203" y="7415"/>
                    <a:pt x="203" y="7415"/>
                  </a:cubicBezTo>
                  <a:cubicBezTo>
                    <a:pt x="238" y="7476"/>
                    <a:pt x="238" y="7476"/>
                    <a:pt x="238" y="7476"/>
                  </a:cubicBezTo>
                  <a:cubicBezTo>
                    <a:pt x="189" y="7505"/>
                    <a:pt x="189" y="7505"/>
                    <a:pt x="189" y="7505"/>
                  </a:cubicBezTo>
                  <a:lnTo>
                    <a:pt x="212" y="7546"/>
                  </a:lnTo>
                  <a:close/>
                  <a:moveTo>
                    <a:pt x="7105" y="11083"/>
                  </a:moveTo>
                  <a:cubicBezTo>
                    <a:pt x="6994" y="11048"/>
                    <a:pt x="6994" y="11048"/>
                    <a:pt x="6994" y="11048"/>
                  </a:cubicBezTo>
                  <a:cubicBezTo>
                    <a:pt x="6981" y="11089"/>
                    <a:pt x="6981" y="11089"/>
                    <a:pt x="6981" y="11089"/>
                  </a:cubicBezTo>
                  <a:cubicBezTo>
                    <a:pt x="6936" y="11074"/>
                    <a:pt x="6936" y="11074"/>
                    <a:pt x="6936" y="11074"/>
                  </a:cubicBezTo>
                  <a:cubicBezTo>
                    <a:pt x="6912" y="11150"/>
                    <a:pt x="6912" y="11150"/>
                    <a:pt x="6912" y="11150"/>
                  </a:cubicBezTo>
                  <a:cubicBezTo>
                    <a:pt x="6910" y="11157"/>
                    <a:pt x="6910" y="11157"/>
                    <a:pt x="6910" y="11157"/>
                  </a:cubicBezTo>
                  <a:cubicBezTo>
                    <a:pt x="7111" y="11220"/>
                    <a:pt x="7111" y="11220"/>
                    <a:pt x="7111" y="11220"/>
                  </a:cubicBezTo>
                  <a:cubicBezTo>
                    <a:pt x="7137" y="11138"/>
                    <a:pt x="7137" y="11138"/>
                    <a:pt x="7137" y="11138"/>
                  </a:cubicBezTo>
                  <a:cubicBezTo>
                    <a:pt x="7092" y="11124"/>
                    <a:pt x="7092" y="11124"/>
                    <a:pt x="7092" y="11124"/>
                  </a:cubicBezTo>
                  <a:lnTo>
                    <a:pt x="7105" y="11083"/>
                  </a:lnTo>
                  <a:close/>
                  <a:moveTo>
                    <a:pt x="7120" y="11146"/>
                  </a:moveTo>
                  <a:cubicBezTo>
                    <a:pt x="7102" y="11204"/>
                    <a:pt x="7102" y="11204"/>
                    <a:pt x="7102" y="11204"/>
                  </a:cubicBezTo>
                  <a:cubicBezTo>
                    <a:pt x="6926" y="11148"/>
                    <a:pt x="6926" y="11148"/>
                    <a:pt x="6926" y="11148"/>
                  </a:cubicBezTo>
                  <a:cubicBezTo>
                    <a:pt x="6945" y="11091"/>
                    <a:pt x="6945" y="11091"/>
                    <a:pt x="6945" y="11091"/>
                  </a:cubicBezTo>
                  <a:cubicBezTo>
                    <a:pt x="6989" y="11105"/>
                    <a:pt x="6989" y="11105"/>
                    <a:pt x="6989" y="11105"/>
                  </a:cubicBezTo>
                  <a:cubicBezTo>
                    <a:pt x="7002" y="11064"/>
                    <a:pt x="7002" y="11064"/>
                    <a:pt x="7002" y="11064"/>
                  </a:cubicBezTo>
                  <a:cubicBezTo>
                    <a:pt x="7088" y="11091"/>
                    <a:pt x="7088" y="11091"/>
                    <a:pt x="7088" y="11091"/>
                  </a:cubicBezTo>
                  <a:cubicBezTo>
                    <a:pt x="7076" y="11132"/>
                    <a:pt x="7076" y="11132"/>
                    <a:pt x="7076" y="11132"/>
                  </a:cubicBezTo>
                  <a:lnTo>
                    <a:pt x="7120" y="11146"/>
                  </a:lnTo>
                  <a:close/>
                  <a:moveTo>
                    <a:pt x="5217" y="9471"/>
                  </a:moveTo>
                  <a:cubicBezTo>
                    <a:pt x="5155" y="9470"/>
                    <a:pt x="5155" y="9470"/>
                    <a:pt x="5155" y="9470"/>
                  </a:cubicBezTo>
                  <a:cubicBezTo>
                    <a:pt x="5154" y="9562"/>
                    <a:pt x="5154" y="9562"/>
                    <a:pt x="5154" y="9562"/>
                  </a:cubicBezTo>
                  <a:cubicBezTo>
                    <a:pt x="5216" y="9562"/>
                    <a:pt x="5216" y="9562"/>
                    <a:pt x="5216" y="9562"/>
                  </a:cubicBezTo>
                  <a:cubicBezTo>
                    <a:pt x="5216" y="9607"/>
                    <a:pt x="5216" y="9607"/>
                    <a:pt x="5216" y="9607"/>
                  </a:cubicBezTo>
                  <a:cubicBezTo>
                    <a:pt x="5303" y="9608"/>
                    <a:pt x="5303" y="9608"/>
                    <a:pt x="5303" y="9608"/>
                  </a:cubicBezTo>
                  <a:cubicBezTo>
                    <a:pt x="5310" y="9608"/>
                    <a:pt x="5310" y="9608"/>
                    <a:pt x="5310" y="9608"/>
                  </a:cubicBezTo>
                  <a:cubicBezTo>
                    <a:pt x="5311" y="9427"/>
                    <a:pt x="5311" y="9427"/>
                    <a:pt x="5311" y="9427"/>
                  </a:cubicBezTo>
                  <a:cubicBezTo>
                    <a:pt x="5217" y="9426"/>
                    <a:pt x="5217" y="9426"/>
                    <a:pt x="5217" y="9426"/>
                  </a:cubicBezTo>
                  <a:lnTo>
                    <a:pt x="5217" y="9471"/>
                  </a:lnTo>
                  <a:close/>
                  <a:moveTo>
                    <a:pt x="5230" y="9439"/>
                  </a:moveTo>
                  <a:cubicBezTo>
                    <a:pt x="5298" y="9440"/>
                    <a:pt x="5298" y="9440"/>
                    <a:pt x="5298" y="9440"/>
                  </a:cubicBezTo>
                  <a:cubicBezTo>
                    <a:pt x="5297" y="9595"/>
                    <a:pt x="5297" y="9595"/>
                    <a:pt x="5297" y="9595"/>
                  </a:cubicBezTo>
                  <a:cubicBezTo>
                    <a:pt x="5229" y="9594"/>
                    <a:pt x="5229" y="9594"/>
                    <a:pt x="5229" y="9594"/>
                  </a:cubicBezTo>
                  <a:cubicBezTo>
                    <a:pt x="5230" y="9549"/>
                    <a:pt x="5230" y="9549"/>
                    <a:pt x="5230" y="9549"/>
                  </a:cubicBezTo>
                  <a:cubicBezTo>
                    <a:pt x="5168" y="9549"/>
                    <a:pt x="5168" y="9549"/>
                    <a:pt x="5168" y="9549"/>
                  </a:cubicBezTo>
                  <a:cubicBezTo>
                    <a:pt x="5168" y="9484"/>
                    <a:pt x="5168" y="9484"/>
                    <a:pt x="5168" y="9484"/>
                  </a:cubicBezTo>
                  <a:cubicBezTo>
                    <a:pt x="5230" y="9484"/>
                    <a:pt x="5230" y="9484"/>
                    <a:pt x="5230" y="9484"/>
                  </a:cubicBezTo>
                  <a:lnTo>
                    <a:pt x="5230" y="9439"/>
                  </a:lnTo>
                  <a:close/>
                  <a:moveTo>
                    <a:pt x="5348" y="10689"/>
                  </a:moveTo>
                  <a:cubicBezTo>
                    <a:pt x="5347" y="10682"/>
                    <a:pt x="5347" y="10682"/>
                    <a:pt x="5347" y="10682"/>
                  </a:cubicBezTo>
                  <a:cubicBezTo>
                    <a:pt x="5140" y="10724"/>
                    <a:pt x="5140" y="10724"/>
                    <a:pt x="5140" y="10724"/>
                  </a:cubicBezTo>
                  <a:cubicBezTo>
                    <a:pt x="5157" y="10808"/>
                    <a:pt x="5157" y="10808"/>
                    <a:pt x="5157" y="10808"/>
                  </a:cubicBezTo>
                  <a:cubicBezTo>
                    <a:pt x="5203" y="10799"/>
                    <a:pt x="5203" y="10799"/>
                    <a:pt x="5203" y="10799"/>
                  </a:cubicBezTo>
                  <a:cubicBezTo>
                    <a:pt x="5212" y="10841"/>
                    <a:pt x="5212" y="10841"/>
                    <a:pt x="5212" y="10841"/>
                  </a:cubicBezTo>
                  <a:cubicBezTo>
                    <a:pt x="5326" y="10818"/>
                    <a:pt x="5326" y="10818"/>
                    <a:pt x="5326" y="10818"/>
                  </a:cubicBezTo>
                  <a:cubicBezTo>
                    <a:pt x="5318" y="10776"/>
                    <a:pt x="5318" y="10776"/>
                    <a:pt x="5318" y="10776"/>
                  </a:cubicBezTo>
                  <a:cubicBezTo>
                    <a:pt x="5364" y="10767"/>
                    <a:pt x="5364" y="10767"/>
                    <a:pt x="5364" y="10767"/>
                  </a:cubicBezTo>
                  <a:lnTo>
                    <a:pt x="5348" y="10689"/>
                  </a:lnTo>
                  <a:close/>
                  <a:moveTo>
                    <a:pt x="5311" y="10808"/>
                  </a:moveTo>
                  <a:cubicBezTo>
                    <a:pt x="5222" y="10826"/>
                    <a:pt x="5222" y="10826"/>
                    <a:pt x="5222" y="10826"/>
                  </a:cubicBezTo>
                  <a:cubicBezTo>
                    <a:pt x="5213" y="10784"/>
                    <a:pt x="5213" y="10784"/>
                    <a:pt x="5213" y="10784"/>
                  </a:cubicBezTo>
                  <a:cubicBezTo>
                    <a:pt x="5167" y="10793"/>
                    <a:pt x="5167" y="10793"/>
                    <a:pt x="5167" y="10793"/>
                  </a:cubicBezTo>
                  <a:cubicBezTo>
                    <a:pt x="5156" y="10734"/>
                    <a:pt x="5156" y="10734"/>
                    <a:pt x="5156" y="10734"/>
                  </a:cubicBezTo>
                  <a:cubicBezTo>
                    <a:pt x="5336" y="10698"/>
                    <a:pt x="5336" y="10698"/>
                    <a:pt x="5336" y="10698"/>
                  </a:cubicBezTo>
                  <a:cubicBezTo>
                    <a:pt x="5348" y="10757"/>
                    <a:pt x="5348" y="10757"/>
                    <a:pt x="5348" y="10757"/>
                  </a:cubicBezTo>
                  <a:cubicBezTo>
                    <a:pt x="5302" y="10766"/>
                    <a:pt x="5302" y="10766"/>
                    <a:pt x="5302" y="10766"/>
                  </a:cubicBezTo>
                  <a:lnTo>
                    <a:pt x="5311" y="10808"/>
                  </a:lnTo>
                  <a:close/>
                  <a:moveTo>
                    <a:pt x="5321" y="11008"/>
                  </a:moveTo>
                  <a:cubicBezTo>
                    <a:pt x="5313" y="10966"/>
                    <a:pt x="5313" y="10966"/>
                    <a:pt x="5313" y="10966"/>
                  </a:cubicBezTo>
                  <a:cubicBezTo>
                    <a:pt x="5198" y="10989"/>
                    <a:pt x="5198" y="10989"/>
                    <a:pt x="5198" y="10989"/>
                  </a:cubicBezTo>
                  <a:cubicBezTo>
                    <a:pt x="5207" y="11031"/>
                    <a:pt x="5207" y="11031"/>
                    <a:pt x="5207" y="11031"/>
                  </a:cubicBezTo>
                  <a:cubicBezTo>
                    <a:pt x="5161" y="11040"/>
                    <a:pt x="5161" y="11040"/>
                    <a:pt x="5161" y="11040"/>
                  </a:cubicBezTo>
                  <a:cubicBezTo>
                    <a:pt x="5176" y="11118"/>
                    <a:pt x="5176" y="11118"/>
                    <a:pt x="5176" y="11118"/>
                  </a:cubicBezTo>
                  <a:cubicBezTo>
                    <a:pt x="5177" y="11125"/>
                    <a:pt x="5177" y="11125"/>
                    <a:pt x="5177" y="11125"/>
                  </a:cubicBezTo>
                  <a:cubicBezTo>
                    <a:pt x="5384" y="11083"/>
                    <a:pt x="5384" y="11083"/>
                    <a:pt x="5384" y="11083"/>
                  </a:cubicBezTo>
                  <a:cubicBezTo>
                    <a:pt x="5367" y="10999"/>
                    <a:pt x="5367" y="10999"/>
                    <a:pt x="5367" y="10999"/>
                  </a:cubicBezTo>
                  <a:lnTo>
                    <a:pt x="5321" y="11008"/>
                  </a:lnTo>
                  <a:close/>
                  <a:moveTo>
                    <a:pt x="5188" y="11109"/>
                  </a:moveTo>
                  <a:cubicBezTo>
                    <a:pt x="5176" y="11050"/>
                    <a:pt x="5176" y="11050"/>
                    <a:pt x="5176" y="11050"/>
                  </a:cubicBezTo>
                  <a:cubicBezTo>
                    <a:pt x="5222" y="11041"/>
                    <a:pt x="5222" y="11041"/>
                    <a:pt x="5222" y="11041"/>
                  </a:cubicBezTo>
                  <a:cubicBezTo>
                    <a:pt x="5214" y="10999"/>
                    <a:pt x="5214" y="10999"/>
                    <a:pt x="5214" y="10999"/>
                  </a:cubicBezTo>
                  <a:cubicBezTo>
                    <a:pt x="5302" y="10981"/>
                    <a:pt x="5302" y="10981"/>
                    <a:pt x="5302" y="10981"/>
                  </a:cubicBezTo>
                  <a:cubicBezTo>
                    <a:pt x="5311" y="11024"/>
                    <a:pt x="5311" y="11024"/>
                    <a:pt x="5311" y="11024"/>
                  </a:cubicBezTo>
                  <a:cubicBezTo>
                    <a:pt x="5357" y="11014"/>
                    <a:pt x="5357" y="11014"/>
                    <a:pt x="5357" y="11014"/>
                  </a:cubicBezTo>
                  <a:cubicBezTo>
                    <a:pt x="5369" y="11073"/>
                    <a:pt x="5369" y="11073"/>
                    <a:pt x="5369" y="11073"/>
                  </a:cubicBezTo>
                  <a:lnTo>
                    <a:pt x="5188" y="11109"/>
                  </a:lnTo>
                  <a:close/>
                  <a:moveTo>
                    <a:pt x="250" y="14622"/>
                  </a:moveTo>
                  <a:cubicBezTo>
                    <a:pt x="275" y="14586"/>
                    <a:pt x="275" y="14586"/>
                    <a:pt x="275" y="14586"/>
                  </a:cubicBezTo>
                  <a:cubicBezTo>
                    <a:pt x="314" y="14613"/>
                    <a:pt x="314" y="14613"/>
                    <a:pt x="314" y="14613"/>
                  </a:cubicBezTo>
                  <a:cubicBezTo>
                    <a:pt x="359" y="14547"/>
                    <a:pt x="359" y="14547"/>
                    <a:pt x="359" y="14547"/>
                  </a:cubicBezTo>
                  <a:cubicBezTo>
                    <a:pt x="363" y="14542"/>
                    <a:pt x="363" y="14542"/>
                    <a:pt x="363" y="14542"/>
                  </a:cubicBezTo>
                  <a:cubicBezTo>
                    <a:pt x="189" y="14422"/>
                    <a:pt x="189" y="14422"/>
                    <a:pt x="189" y="14422"/>
                  </a:cubicBezTo>
                  <a:cubicBezTo>
                    <a:pt x="140" y="14493"/>
                    <a:pt x="140" y="14493"/>
                    <a:pt x="140" y="14493"/>
                  </a:cubicBezTo>
                  <a:cubicBezTo>
                    <a:pt x="179" y="14520"/>
                    <a:pt x="179" y="14520"/>
                    <a:pt x="179" y="14520"/>
                  </a:cubicBezTo>
                  <a:cubicBezTo>
                    <a:pt x="154" y="14555"/>
                    <a:pt x="154" y="14555"/>
                    <a:pt x="154" y="14555"/>
                  </a:cubicBezTo>
                  <a:lnTo>
                    <a:pt x="250" y="14622"/>
                  </a:lnTo>
                  <a:close/>
                  <a:moveTo>
                    <a:pt x="158" y="14490"/>
                  </a:moveTo>
                  <a:cubicBezTo>
                    <a:pt x="192" y="14440"/>
                    <a:pt x="192" y="14440"/>
                    <a:pt x="192" y="14440"/>
                  </a:cubicBezTo>
                  <a:cubicBezTo>
                    <a:pt x="344" y="14545"/>
                    <a:pt x="344" y="14545"/>
                    <a:pt x="344" y="14545"/>
                  </a:cubicBezTo>
                  <a:cubicBezTo>
                    <a:pt x="310" y="14594"/>
                    <a:pt x="310" y="14594"/>
                    <a:pt x="310" y="14594"/>
                  </a:cubicBezTo>
                  <a:cubicBezTo>
                    <a:pt x="272" y="14568"/>
                    <a:pt x="272" y="14568"/>
                    <a:pt x="272" y="14568"/>
                  </a:cubicBezTo>
                  <a:cubicBezTo>
                    <a:pt x="247" y="14603"/>
                    <a:pt x="247" y="14603"/>
                    <a:pt x="247" y="14603"/>
                  </a:cubicBezTo>
                  <a:cubicBezTo>
                    <a:pt x="173" y="14552"/>
                    <a:pt x="173" y="14552"/>
                    <a:pt x="173" y="14552"/>
                  </a:cubicBezTo>
                  <a:cubicBezTo>
                    <a:pt x="197" y="14516"/>
                    <a:pt x="197" y="14516"/>
                    <a:pt x="197" y="14516"/>
                  </a:cubicBezTo>
                  <a:lnTo>
                    <a:pt x="158" y="14490"/>
                  </a:lnTo>
                  <a:close/>
                  <a:moveTo>
                    <a:pt x="15" y="14363"/>
                  </a:moveTo>
                  <a:cubicBezTo>
                    <a:pt x="49" y="14314"/>
                    <a:pt x="49" y="14314"/>
                    <a:pt x="49" y="14314"/>
                  </a:cubicBezTo>
                  <a:cubicBezTo>
                    <a:pt x="4" y="14283"/>
                    <a:pt x="4" y="14283"/>
                    <a:pt x="4" y="14283"/>
                  </a:cubicBezTo>
                  <a:cubicBezTo>
                    <a:pt x="4" y="14267"/>
                    <a:pt x="4" y="14267"/>
                    <a:pt x="4" y="14267"/>
                  </a:cubicBezTo>
                  <a:cubicBezTo>
                    <a:pt x="67" y="14310"/>
                    <a:pt x="67" y="14310"/>
                    <a:pt x="67" y="14310"/>
                  </a:cubicBezTo>
                  <a:cubicBezTo>
                    <a:pt x="63" y="14316"/>
                    <a:pt x="63" y="14316"/>
                    <a:pt x="63" y="14316"/>
                  </a:cubicBezTo>
                  <a:cubicBezTo>
                    <a:pt x="18" y="14382"/>
                    <a:pt x="18" y="14382"/>
                    <a:pt x="18" y="14382"/>
                  </a:cubicBezTo>
                  <a:cubicBezTo>
                    <a:pt x="4" y="14372"/>
                    <a:pt x="4" y="14372"/>
                    <a:pt x="4" y="14372"/>
                  </a:cubicBezTo>
                  <a:cubicBezTo>
                    <a:pt x="4" y="14356"/>
                    <a:pt x="4" y="14356"/>
                    <a:pt x="4" y="14356"/>
                  </a:cubicBezTo>
                  <a:lnTo>
                    <a:pt x="15" y="14363"/>
                  </a:lnTo>
                  <a:close/>
                  <a:moveTo>
                    <a:pt x="5139" y="5530"/>
                  </a:moveTo>
                  <a:cubicBezTo>
                    <a:pt x="5092" y="5526"/>
                    <a:pt x="5092" y="5526"/>
                    <a:pt x="5092" y="5526"/>
                  </a:cubicBezTo>
                  <a:cubicBezTo>
                    <a:pt x="5096" y="5483"/>
                    <a:pt x="5096" y="5483"/>
                    <a:pt x="5096" y="5483"/>
                  </a:cubicBezTo>
                  <a:cubicBezTo>
                    <a:pt x="4979" y="5474"/>
                    <a:pt x="4979" y="5474"/>
                    <a:pt x="4979" y="5474"/>
                  </a:cubicBezTo>
                  <a:cubicBezTo>
                    <a:pt x="4976" y="5517"/>
                    <a:pt x="4976" y="5517"/>
                    <a:pt x="4976" y="5517"/>
                  </a:cubicBezTo>
                  <a:cubicBezTo>
                    <a:pt x="4929" y="5514"/>
                    <a:pt x="4929" y="5514"/>
                    <a:pt x="4929" y="5514"/>
                  </a:cubicBezTo>
                  <a:cubicBezTo>
                    <a:pt x="4923" y="5593"/>
                    <a:pt x="4923" y="5593"/>
                    <a:pt x="4923" y="5593"/>
                  </a:cubicBezTo>
                  <a:cubicBezTo>
                    <a:pt x="4923" y="5600"/>
                    <a:pt x="4923" y="5600"/>
                    <a:pt x="4923" y="5600"/>
                  </a:cubicBezTo>
                  <a:cubicBezTo>
                    <a:pt x="5133" y="5615"/>
                    <a:pt x="5133" y="5615"/>
                    <a:pt x="5133" y="5615"/>
                  </a:cubicBezTo>
                  <a:lnTo>
                    <a:pt x="5139" y="5530"/>
                  </a:lnTo>
                  <a:close/>
                  <a:moveTo>
                    <a:pt x="5121" y="5601"/>
                  </a:moveTo>
                  <a:cubicBezTo>
                    <a:pt x="4937" y="5588"/>
                    <a:pt x="4937" y="5588"/>
                    <a:pt x="4937" y="5588"/>
                  </a:cubicBezTo>
                  <a:cubicBezTo>
                    <a:pt x="4941" y="5528"/>
                    <a:pt x="4941" y="5528"/>
                    <a:pt x="4941" y="5528"/>
                  </a:cubicBezTo>
                  <a:cubicBezTo>
                    <a:pt x="4988" y="5531"/>
                    <a:pt x="4988" y="5531"/>
                    <a:pt x="4988" y="5531"/>
                  </a:cubicBezTo>
                  <a:cubicBezTo>
                    <a:pt x="4991" y="5488"/>
                    <a:pt x="4991" y="5488"/>
                    <a:pt x="4991" y="5488"/>
                  </a:cubicBezTo>
                  <a:cubicBezTo>
                    <a:pt x="5082" y="5495"/>
                    <a:pt x="5082" y="5495"/>
                    <a:pt x="5082" y="5495"/>
                  </a:cubicBezTo>
                  <a:cubicBezTo>
                    <a:pt x="5078" y="5538"/>
                    <a:pt x="5078" y="5538"/>
                    <a:pt x="5078" y="5538"/>
                  </a:cubicBezTo>
                  <a:cubicBezTo>
                    <a:pt x="5125" y="5542"/>
                    <a:pt x="5125" y="5542"/>
                    <a:pt x="5125" y="5542"/>
                  </a:cubicBezTo>
                  <a:lnTo>
                    <a:pt x="5121" y="5601"/>
                  </a:lnTo>
                  <a:close/>
                  <a:moveTo>
                    <a:pt x="4944" y="5039"/>
                  </a:moveTo>
                  <a:cubicBezTo>
                    <a:pt x="4903" y="5052"/>
                    <a:pt x="4903" y="5052"/>
                    <a:pt x="4903" y="5052"/>
                  </a:cubicBezTo>
                  <a:cubicBezTo>
                    <a:pt x="4889" y="5007"/>
                    <a:pt x="4889" y="5007"/>
                    <a:pt x="4889" y="5007"/>
                  </a:cubicBezTo>
                  <a:cubicBezTo>
                    <a:pt x="4813" y="5032"/>
                    <a:pt x="4813" y="5032"/>
                    <a:pt x="4813" y="5032"/>
                  </a:cubicBezTo>
                  <a:cubicBezTo>
                    <a:pt x="4807" y="5034"/>
                    <a:pt x="4807" y="5034"/>
                    <a:pt x="4807" y="5034"/>
                  </a:cubicBezTo>
                  <a:cubicBezTo>
                    <a:pt x="4872" y="5234"/>
                    <a:pt x="4872" y="5234"/>
                    <a:pt x="4872" y="5234"/>
                  </a:cubicBezTo>
                  <a:cubicBezTo>
                    <a:pt x="4954" y="5207"/>
                    <a:pt x="4954" y="5207"/>
                    <a:pt x="4954" y="5207"/>
                  </a:cubicBezTo>
                  <a:cubicBezTo>
                    <a:pt x="4939" y="5163"/>
                    <a:pt x="4939" y="5163"/>
                    <a:pt x="4939" y="5163"/>
                  </a:cubicBezTo>
                  <a:cubicBezTo>
                    <a:pt x="4980" y="5150"/>
                    <a:pt x="4980" y="5150"/>
                    <a:pt x="4980" y="5150"/>
                  </a:cubicBezTo>
                  <a:lnTo>
                    <a:pt x="4944" y="5039"/>
                  </a:lnTo>
                  <a:close/>
                  <a:moveTo>
                    <a:pt x="4937" y="5199"/>
                  </a:moveTo>
                  <a:cubicBezTo>
                    <a:pt x="4880" y="5218"/>
                    <a:pt x="4880" y="5218"/>
                    <a:pt x="4880" y="5218"/>
                  </a:cubicBezTo>
                  <a:cubicBezTo>
                    <a:pt x="4823" y="5042"/>
                    <a:pt x="4823" y="5042"/>
                    <a:pt x="4823" y="5042"/>
                  </a:cubicBezTo>
                  <a:cubicBezTo>
                    <a:pt x="4880" y="5024"/>
                    <a:pt x="4880" y="5024"/>
                    <a:pt x="4880" y="5024"/>
                  </a:cubicBezTo>
                  <a:cubicBezTo>
                    <a:pt x="4895" y="5068"/>
                    <a:pt x="4895" y="5068"/>
                    <a:pt x="4895" y="5068"/>
                  </a:cubicBezTo>
                  <a:cubicBezTo>
                    <a:pt x="4936" y="5055"/>
                    <a:pt x="4936" y="5055"/>
                    <a:pt x="4936" y="5055"/>
                  </a:cubicBezTo>
                  <a:cubicBezTo>
                    <a:pt x="4964" y="5141"/>
                    <a:pt x="4964" y="5141"/>
                    <a:pt x="4964" y="5141"/>
                  </a:cubicBezTo>
                  <a:cubicBezTo>
                    <a:pt x="4923" y="5154"/>
                    <a:pt x="4923" y="5154"/>
                    <a:pt x="4923" y="5154"/>
                  </a:cubicBezTo>
                  <a:lnTo>
                    <a:pt x="4937" y="5199"/>
                  </a:lnTo>
                  <a:close/>
                  <a:moveTo>
                    <a:pt x="4567" y="4708"/>
                  </a:moveTo>
                  <a:cubicBezTo>
                    <a:pt x="4497" y="4670"/>
                    <a:pt x="4497" y="4670"/>
                    <a:pt x="4497" y="4670"/>
                  </a:cubicBezTo>
                  <a:cubicBezTo>
                    <a:pt x="4491" y="4667"/>
                    <a:pt x="4491" y="4667"/>
                    <a:pt x="4491" y="4667"/>
                  </a:cubicBezTo>
                  <a:cubicBezTo>
                    <a:pt x="4390" y="4852"/>
                    <a:pt x="4390" y="4852"/>
                    <a:pt x="4390" y="4852"/>
                  </a:cubicBezTo>
                  <a:cubicBezTo>
                    <a:pt x="4466" y="4893"/>
                    <a:pt x="4466" y="4893"/>
                    <a:pt x="4466" y="4893"/>
                  </a:cubicBezTo>
                  <a:cubicBezTo>
                    <a:pt x="4489" y="4852"/>
                    <a:pt x="4489" y="4852"/>
                    <a:pt x="4489" y="4852"/>
                  </a:cubicBezTo>
                  <a:cubicBezTo>
                    <a:pt x="4526" y="4873"/>
                    <a:pt x="4526" y="4873"/>
                    <a:pt x="4526" y="4873"/>
                  </a:cubicBezTo>
                  <a:cubicBezTo>
                    <a:pt x="4582" y="4770"/>
                    <a:pt x="4582" y="4770"/>
                    <a:pt x="4582" y="4770"/>
                  </a:cubicBezTo>
                  <a:cubicBezTo>
                    <a:pt x="4544" y="4750"/>
                    <a:pt x="4544" y="4750"/>
                    <a:pt x="4544" y="4750"/>
                  </a:cubicBezTo>
                  <a:lnTo>
                    <a:pt x="4567" y="4708"/>
                  </a:lnTo>
                  <a:close/>
                  <a:moveTo>
                    <a:pt x="4564" y="4775"/>
                  </a:moveTo>
                  <a:cubicBezTo>
                    <a:pt x="4521" y="4855"/>
                    <a:pt x="4521" y="4855"/>
                    <a:pt x="4521" y="4855"/>
                  </a:cubicBezTo>
                  <a:cubicBezTo>
                    <a:pt x="4483" y="4834"/>
                    <a:pt x="4483" y="4834"/>
                    <a:pt x="4483" y="4834"/>
                  </a:cubicBezTo>
                  <a:cubicBezTo>
                    <a:pt x="4461" y="4876"/>
                    <a:pt x="4461" y="4876"/>
                    <a:pt x="4461" y="4876"/>
                  </a:cubicBezTo>
                  <a:cubicBezTo>
                    <a:pt x="4408" y="4847"/>
                    <a:pt x="4408" y="4847"/>
                    <a:pt x="4408" y="4847"/>
                  </a:cubicBezTo>
                  <a:cubicBezTo>
                    <a:pt x="4496" y="4685"/>
                    <a:pt x="4496" y="4685"/>
                    <a:pt x="4496" y="4685"/>
                  </a:cubicBezTo>
                  <a:cubicBezTo>
                    <a:pt x="4549" y="4714"/>
                    <a:pt x="4549" y="4714"/>
                    <a:pt x="4549" y="4714"/>
                  </a:cubicBezTo>
                  <a:cubicBezTo>
                    <a:pt x="4526" y="4755"/>
                    <a:pt x="4526" y="4755"/>
                    <a:pt x="4526" y="4755"/>
                  </a:cubicBezTo>
                  <a:lnTo>
                    <a:pt x="4564" y="4775"/>
                  </a:lnTo>
                  <a:close/>
                  <a:moveTo>
                    <a:pt x="3916" y="4715"/>
                  </a:moveTo>
                  <a:cubicBezTo>
                    <a:pt x="3954" y="4736"/>
                    <a:pt x="3954" y="4736"/>
                    <a:pt x="3954" y="4736"/>
                  </a:cubicBezTo>
                  <a:cubicBezTo>
                    <a:pt x="4009" y="4633"/>
                    <a:pt x="4009" y="4633"/>
                    <a:pt x="4009" y="4633"/>
                  </a:cubicBezTo>
                  <a:cubicBezTo>
                    <a:pt x="3972" y="4613"/>
                    <a:pt x="3972" y="4613"/>
                    <a:pt x="3972" y="4613"/>
                  </a:cubicBezTo>
                  <a:cubicBezTo>
                    <a:pt x="3994" y="4572"/>
                    <a:pt x="3994" y="4572"/>
                    <a:pt x="3994" y="4572"/>
                  </a:cubicBezTo>
                  <a:cubicBezTo>
                    <a:pt x="3924" y="4534"/>
                    <a:pt x="3924" y="4534"/>
                    <a:pt x="3924" y="4534"/>
                  </a:cubicBezTo>
                  <a:cubicBezTo>
                    <a:pt x="3918" y="4530"/>
                    <a:pt x="3918" y="4530"/>
                    <a:pt x="3918" y="4530"/>
                  </a:cubicBezTo>
                  <a:cubicBezTo>
                    <a:pt x="3818" y="4716"/>
                    <a:pt x="3818" y="4716"/>
                    <a:pt x="3818" y="4716"/>
                  </a:cubicBezTo>
                  <a:cubicBezTo>
                    <a:pt x="3894" y="4757"/>
                    <a:pt x="3894" y="4757"/>
                    <a:pt x="3894" y="4757"/>
                  </a:cubicBezTo>
                  <a:lnTo>
                    <a:pt x="3916" y="4715"/>
                  </a:lnTo>
                  <a:close/>
                  <a:moveTo>
                    <a:pt x="3836" y="4710"/>
                  </a:moveTo>
                  <a:cubicBezTo>
                    <a:pt x="3923" y="4548"/>
                    <a:pt x="3923" y="4548"/>
                    <a:pt x="3923" y="4548"/>
                  </a:cubicBezTo>
                  <a:cubicBezTo>
                    <a:pt x="3976" y="4577"/>
                    <a:pt x="3976" y="4577"/>
                    <a:pt x="3976" y="4577"/>
                  </a:cubicBezTo>
                  <a:cubicBezTo>
                    <a:pt x="3954" y="4618"/>
                    <a:pt x="3954" y="4618"/>
                    <a:pt x="3954" y="4618"/>
                  </a:cubicBezTo>
                  <a:cubicBezTo>
                    <a:pt x="3992" y="4639"/>
                    <a:pt x="3992" y="4639"/>
                    <a:pt x="3992" y="4639"/>
                  </a:cubicBezTo>
                  <a:cubicBezTo>
                    <a:pt x="3949" y="4718"/>
                    <a:pt x="3949" y="4718"/>
                    <a:pt x="3949" y="4718"/>
                  </a:cubicBezTo>
                  <a:cubicBezTo>
                    <a:pt x="3911" y="4698"/>
                    <a:pt x="3911" y="4698"/>
                    <a:pt x="3911" y="4698"/>
                  </a:cubicBezTo>
                  <a:cubicBezTo>
                    <a:pt x="3888" y="4739"/>
                    <a:pt x="3888" y="4739"/>
                    <a:pt x="3888" y="4739"/>
                  </a:cubicBezTo>
                  <a:lnTo>
                    <a:pt x="3836" y="4710"/>
                  </a:lnTo>
                  <a:close/>
                  <a:moveTo>
                    <a:pt x="4215" y="4805"/>
                  </a:moveTo>
                  <a:cubicBezTo>
                    <a:pt x="4285" y="4843"/>
                    <a:pt x="4285" y="4843"/>
                    <a:pt x="4285" y="4843"/>
                  </a:cubicBezTo>
                  <a:cubicBezTo>
                    <a:pt x="4290" y="4846"/>
                    <a:pt x="4290" y="4846"/>
                    <a:pt x="4290" y="4846"/>
                  </a:cubicBezTo>
                  <a:cubicBezTo>
                    <a:pt x="4391" y="4660"/>
                    <a:pt x="4391" y="4660"/>
                    <a:pt x="4391" y="4660"/>
                  </a:cubicBezTo>
                  <a:cubicBezTo>
                    <a:pt x="4315" y="4619"/>
                    <a:pt x="4315" y="4619"/>
                    <a:pt x="4315" y="4619"/>
                  </a:cubicBezTo>
                  <a:cubicBezTo>
                    <a:pt x="4293" y="4661"/>
                    <a:pt x="4293" y="4661"/>
                    <a:pt x="4293" y="4661"/>
                  </a:cubicBezTo>
                  <a:cubicBezTo>
                    <a:pt x="4255" y="4640"/>
                    <a:pt x="4255" y="4640"/>
                    <a:pt x="4255" y="4640"/>
                  </a:cubicBezTo>
                  <a:cubicBezTo>
                    <a:pt x="4199" y="4743"/>
                    <a:pt x="4199" y="4743"/>
                    <a:pt x="4199" y="4743"/>
                  </a:cubicBezTo>
                  <a:cubicBezTo>
                    <a:pt x="4237" y="4763"/>
                    <a:pt x="4237" y="4763"/>
                    <a:pt x="4237" y="4763"/>
                  </a:cubicBezTo>
                  <a:lnTo>
                    <a:pt x="4215" y="4805"/>
                  </a:lnTo>
                  <a:close/>
                  <a:moveTo>
                    <a:pt x="4217" y="4737"/>
                  </a:moveTo>
                  <a:cubicBezTo>
                    <a:pt x="4260" y="4658"/>
                    <a:pt x="4260" y="4658"/>
                    <a:pt x="4260" y="4658"/>
                  </a:cubicBezTo>
                  <a:cubicBezTo>
                    <a:pt x="4298" y="4678"/>
                    <a:pt x="4298" y="4678"/>
                    <a:pt x="4298" y="4678"/>
                  </a:cubicBezTo>
                  <a:cubicBezTo>
                    <a:pt x="4320" y="4637"/>
                    <a:pt x="4320" y="4637"/>
                    <a:pt x="4320" y="4637"/>
                  </a:cubicBezTo>
                  <a:cubicBezTo>
                    <a:pt x="4373" y="4666"/>
                    <a:pt x="4373" y="4666"/>
                    <a:pt x="4373" y="4666"/>
                  </a:cubicBezTo>
                  <a:cubicBezTo>
                    <a:pt x="4285" y="4828"/>
                    <a:pt x="4285" y="4828"/>
                    <a:pt x="4285" y="4828"/>
                  </a:cubicBezTo>
                  <a:cubicBezTo>
                    <a:pt x="4232" y="4799"/>
                    <a:pt x="4232" y="4799"/>
                    <a:pt x="4232" y="4799"/>
                  </a:cubicBezTo>
                  <a:cubicBezTo>
                    <a:pt x="4255" y="4758"/>
                    <a:pt x="4255" y="4758"/>
                    <a:pt x="4255" y="4758"/>
                  </a:cubicBezTo>
                  <a:lnTo>
                    <a:pt x="4217" y="4737"/>
                  </a:lnTo>
                  <a:close/>
                  <a:moveTo>
                    <a:pt x="4303" y="16468"/>
                  </a:moveTo>
                  <a:cubicBezTo>
                    <a:pt x="4228" y="16468"/>
                    <a:pt x="4228" y="16468"/>
                    <a:pt x="4228" y="16468"/>
                  </a:cubicBezTo>
                  <a:cubicBezTo>
                    <a:pt x="4228" y="16497"/>
                    <a:pt x="4228" y="16497"/>
                    <a:pt x="4228" y="16497"/>
                  </a:cubicBezTo>
                  <a:cubicBezTo>
                    <a:pt x="4165" y="16497"/>
                    <a:pt x="4165" y="16497"/>
                    <a:pt x="4165" y="16497"/>
                  </a:cubicBezTo>
                  <a:cubicBezTo>
                    <a:pt x="4165" y="16531"/>
                    <a:pt x="4165" y="16531"/>
                    <a:pt x="4165" y="16531"/>
                  </a:cubicBezTo>
                  <a:cubicBezTo>
                    <a:pt x="4139" y="16531"/>
                    <a:pt x="4139" y="16531"/>
                    <a:pt x="4139" y="16531"/>
                  </a:cubicBezTo>
                  <a:cubicBezTo>
                    <a:pt x="4139" y="16607"/>
                    <a:pt x="4139" y="16607"/>
                    <a:pt x="4139" y="16607"/>
                  </a:cubicBezTo>
                  <a:cubicBezTo>
                    <a:pt x="4145" y="16607"/>
                    <a:pt x="4145" y="16607"/>
                    <a:pt x="4145" y="16607"/>
                  </a:cubicBezTo>
                  <a:cubicBezTo>
                    <a:pt x="4160" y="16607"/>
                    <a:pt x="4160" y="16607"/>
                    <a:pt x="4160" y="16607"/>
                  </a:cubicBezTo>
                  <a:cubicBezTo>
                    <a:pt x="4160" y="16647"/>
                    <a:pt x="4160" y="16647"/>
                    <a:pt x="4160" y="16647"/>
                  </a:cubicBezTo>
                  <a:cubicBezTo>
                    <a:pt x="4165" y="16648"/>
                    <a:pt x="4165" y="16648"/>
                    <a:pt x="4165" y="16648"/>
                  </a:cubicBezTo>
                  <a:cubicBezTo>
                    <a:pt x="4175" y="16650"/>
                    <a:pt x="4175" y="16650"/>
                    <a:pt x="4175" y="16650"/>
                  </a:cubicBezTo>
                  <a:cubicBezTo>
                    <a:pt x="4175" y="16690"/>
                    <a:pt x="4175" y="16690"/>
                    <a:pt x="4175" y="16690"/>
                  </a:cubicBezTo>
                  <a:cubicBezTo>
                    <a:pt x="4272" y="16690"/>
                    <a:pt x="4272" y="16690"/>
                    <a:pt x="4272" y="16690"/>
                  </a:cubicBezTo>
                  <a:cubicBezTo>
                    <a:pt x="4272" y="16654"/>
                    <a:pt x="4272" y="16654"/>
                    <a:pt x="4272" y="16654"/>
                  </a:cubicBezTo>
                  <a:cubicBezTo>
                    <a:pt x="4350" y="16654"/>
                    <a:pt x="4350" y="16654"/>
                    <a:pt x="4350" y="16654"/>
                  </a:cubicBezTo>
                  <a:cubicBezTo>
                    <a:pt x="4350" y="16497"/>
                    <a:pt x="4350" y="16497"/>
                    <a:pt x="4350" y="16497"/>
                  </a:cubicBezTo>
                  <a:cubicBezTo>
                    <a:pt x="4303" y="16497"/>
                    <a:pt x="4303" y="16497"/>
                    <a:pt x="4303" y="16497"/>
                  </a:cubicBezTo>
                  <a:lnTo>
                    <a:pt x="4303" y="16468"/>
                  </a:lnTo>
                  <a:close/>
                  <a:moveTo>
                    <a:pt x="4337" y="16510"/>
                  </a:moveTo>
                  <a:cubicBezTo>
                    <a:pt x="4337" y="16641"/>
                    <a:pt x="4337" y="16641"/>
                    <a:pt x="4337" y="16641"/>
                  </a:cubicBezTo>
                  <a:cubicBezTo>
                    <a:pt x="4259" y="16641"/>
                    <a:pt x="4259" y="16641"/>
                    <a:pt x="4259" y="16641"/>
                  </a:cubicBezTo>
                  <a:cubicBezTo>
                    <a:pt x="4259" y="16677"/>
                    <a:pt x="4259" y="16677"/>
                    <a:pt x="4259" y="16677"/>
                  </a:cubicBezTo>
                  <a:cubicBezTo>
                    <a:pt x="4188" y="16677"/>
                    <a:pt x="4188" y="16677"/>
                    <a:pt x="4188" y="16677"/>
                  </a:cubicBezTo>
                  <a:cubicBezTo>
                    <a:pt x="4188" y="16645"/>
                    <a:pt x="4188" y="16645"/>
                    <a:pt x="4188" y="16645"/>
                  </a:cubicBezTo>
                  <a:cubicBezTo>
                    <a:pt x="4188" y="16639"/>
                    <a:pt x="4188" y="16639"/>
                    <a:pt x="4188" y="16639"/>
                  </a:cubicBezTo>
                  <a:cubicBezTo>
                    <a:pt x="4183" y="16638"/>
                    <a:pt x="4183" y="16638"/>
                    <a:pt x="4183" y="16638"/>
                  </a:cubicBezTo>
                  <a:cubicBezTo>
                    <a:pt x="4173" y="16636"/>
                    <a:pt x="4173" y="16636"/>
                    <a:pt x="4173" y="16636"/>
                  </a:cubicBezTo>
                  <a:cubicBezTo>
                    <a:pt x="4173" y="16594"/>
                    <a:pt x="4173" y="16594"/>
                    <a:pt x="4173" y="16594"/>
                  </a:cubicBezTo>
                  <a:cubicBezTo>
                    <a:pt x="4166" y="16594"/>
                    <a:pt x="4166" y="16594"/>
                    <a:pt x="4166" y="16594"/>
                  </a:cubicBezTo>
                  <a:cubicBezTo>
                    <a:pt x="4152" y="16594"/>
                    <a:pt x="4152" y="16594"/>
                    <a:pt x="4152" y="16594"/>
                  </a:cubicBezTo>
                  <a:cubicBezTo>
                    <a:pt x="4152" y="16544"/>
                    <a:pt x="4152" y="16544"/>
                    <a:pt x="4152" y="16544"/>
                  </a:cubicBezTo>
                  <a:cubicBezTo>
                    <a:pt x="4178" y="16544"/>
                    <a:pt x="4178" y="16544"/>
                    <a:pt x="4178" y="16544"/>
                  </a:cubicBezTo>
                  <a:cubicBezTo>
                    <a:pt x="4178" y="16510"/>
                    <a:pt x="4178" y="16510"/>
                    <a:pt x="4178" y="16510"/>
                  </a:cubicBezTo>
                  <a:cubicBezTo>
                    <a:pt x="4241" y="16510"/>
                    <a:pt x="4241" y="16510"/>
                    <a:pt x="4241" y="16510"/>
                  </a:cubicBezTo>
                  <a:cubicBezTo>
                    <a:pt x="4241" y="16481"/>
                    <a:pt x="4241" y="16481"/>
                    <a:pt x="4241" y="16481"/>
                  </a:cubicBezTo>
                  <a:cubicBezTo>
                    <a:pt x="4290" y="16481"/>
                    <a:pt x="4290" y="16481"/>
                    <a:pt x="4290" y="16481"/>
                  </a:cubicBezTo>
                  <a:cubicBezTo>
                    <a:pt x="4290" y="16510"/>
                    <a:pt x="4290" y="16510"/>
                    <a:pt x="4290" y="16510"/>
                  </a:cubicBezTo>
                  <a:lnTo>
                    <a:pt x="4337" y="16510"/>
                  </a:lnTo>
                  <a:close/>
                  <a:moveTo>
                    <a:pt x="4980" y="11136"/>
                  </a:moveTo>
                  <a:cubicBezTo>
                    <a:pt x="5005" y="11072"/>
                    <a:pt x="5005" y="11072"/>
                    <a:pt x="5005" y="11072"/>
                  </a:cubicBezTo>
                  <a:cubicBezTo>
                    <a:pt x="4924" y="11040"/>
                    <a:pt x="4924" y="11040"/>
                    <a:pt x="4924" y="11040"/>
                  </a:cubicBezTo>
                  <a:cubicBezTo>
                    <a:pt x="4899" y="11104"/>
                    <a:pt x="4899" y="11104"/>
                    <a:pt x="4899" y="11104"/>
                  </a:cubicBezTo>
                  <a:cubicBezTo>
                    <a:pt x="4974" y="11133"/>
                    <a:pt x="4974" y="11133"/>
                    <a:pt x="4974" y="11133"/>
                  </a:cubicBezTo>
                  <a:lnTo>
                    <a:pt x="4980" y="11136"/>
                  </a:lnTo>
                  <a:close/>
                  <a:moveTo>
                    <a:pt x="4916" y="11096"/>
                  </a:moveTo>
                  <a:cubicBezTo>
                    <a:pt x="4932" y="11057"/>
                    <a:pt x="4932" y="11057"/>
                    <a:pt x="4932" y="11057"/>
                  </a:cubicBezTo>
                  <a:cubicBezTo>
                    <a:pt x="4988" y="11080"/>
                    <a:pt x="4988" y="11080"/>
                    <a:pt x="4988" y="11080"/>
                  </a:cubicBezTo>
                  <a:cubicBezTo>
                    <a:pt x="4972" y="11119"/>
                    <a:pt x="4972" y="11119"/>
                    <a:pt x="4972" y="11119"/>
                  </a:cubicBezTo>
                  <a:lnTo>
                    <a:pt x="4916" y="11096"/>
                  </a:lnTo>
                  <a:close/>
                  <a:moveTo>
                    <a:pt x="4914" y="11251"/>
                  </a:moveTo>
                  <a:cubicBezTo>
                    <a:pt x="4988" y="11281"/>
                    <a:pt x="4988" y="11281"/>
                    <a:pt x="4988" y="11281"/>
                  </a:cubicBezTo>
                  <a:cubicBezTo>
                    <a:pt x="4994" y="11283"/>
                    <a:pt x="4994" y="11283"/>
                    <a:pt x="4994" y="11283"/>
                  </a:cubicBezTo>
                  <a:cubicBezTo>
                    <a:pt x="5020" y="11220"/>
                    <a:pt x="5020" y="11220"/>
                    <a:pt x="5020" y="11220"/>
                  </a:cubicBezTo>
                  <a:cubicBezTo>
                    <a:pt x="4939" y="11188"/>
                    <a:pt x="4939" y="11188"/>
                    <a:pt x="4939" y="11188"/>
                  </a:cubicBezTo>
                  <a:lnTo>
                    <a:pt x="4914" y="11251"/>
                  </a:lnTo>
                  <a:close/>
                  <a:moveTo>
                    <a:pt x="5003" y="11227"/>
                  </a:moveTo>
                  <a:cubicBezTo>
                    <a:pt x="4987" y="11266"/>
                    <a:pt x="4987" y="11266"/>
                    <a:pt x="4987" y="11266"/>
                  </a:cubicBezTo>
                  <a:cubicBezTo>
                    <a:pt x="4931" y="11244"/>
                    <a:pt x="4931" y="11244"/>
                    <a:pt x="4931" y="11244"/>
                  </a:cubicBezTo>
                  <a:cubicBezTo>
                    <a:pt x="4947" y="11205"/>
                    <a:pt x="4947" y="11205"/>
                    <a:pt x="4947" y="11205"/>
                  </a:cubicBezTo>
                  <a:lnTo>
                    <a:pt x="5003" y="11227"/>
                  </a:lnTo>
                  <a:close/>
                  <a:moveTo>
                    <a:pt x="4939" y="11397"/>
                  </a:moveTo>
                  <a:cubicBezTo>
                    <a:pt x="5013" y="11426"/>
                    <a:pt x="5013" y="11426"/>
                    <a:pt x="5013" y="11426"/>
                  </a:cubicBezTo>
                  <a:cubicBezTo>
                    <a:pt x="5019" y="11429"/>
                    <a:pt x="5019" y="11429"/>
                    <a:pt x="5019" y="11429"/>
                  </a:cubicBezTo>
                  <a:cubicBezTo>
                    <a:pt x="5044" y="11365"/>
                    <a:pt x="5044" y="11365"/>
                    <a:pt x="5044" y="11365"/>
                  </a:cubicBezTo>
                  <a:cubicBezTo>
                    <a:pt x="4964" y="11333"/>
                    <a:pt x="4964" y="11333"/>
                    <a:pt x="4964" y="11333"/>
                  </a:cubicBezTo>
                  <a:lnTo>
                    <a:pt x="4939" y="11397"/>
                  </a:lnTo>
                  <a:close/>
                  <a:moveTo>
                    <a:pt x="5027" y="11373"/>
                  </a:moveTo>
                  <a:cubicBezTo>
                    <a:pt x="5012" y="11412"/>
                    <a:pt x="5012" y="11412"/>
                    <a:pt x="5012" y="11412"/>
                  </a:cubicBezTo>
                  <a:cubicBezTo>
                    <a:pt x="4956" y="11390"/>
                    <a:pt x="4956" y="11390"/>
                    <a:pt x="4956" y="11390"/>
                  </a:cubicBezTo>
                  <a:cubicBezTo>
                    <a:pt x="4971" y="11351"/>
                    <a:pt x="4971" y="11351"/>
                    <a:pt x="4971" y="11351"/>
                  </a:cubicBezTo>
                  <a:lnTo>
                    <a:pt x="5027" y="11373"/>
                  </a:lnTo>
                  <a:close/>
                  <a:moveTo>
                    <a:pt x="7336" y="7307"/>
                  </a:moveTo>
                  <a:cubicBezTo>
                    <a:pt x="7367" y="7238"/>
                    <a:pt x="7367" y="7238"/>
                    <a:pt x="7367" y="7238"/>
                  </a:cubicBezTo>
                  <a:cubicBezTo>
                    <a:pt x="7283" y="7201"/>
                    <a:pt x="7283" y="7201"/>
                    <a:pt x="7283" y="7201"/>
                  </a:cubicBezTo>
                  <a:cubicBezTo>
                    <a:pt x="7253" y="7271"/>
                    <a:pt x="7253" y="7271"/>
                    <a:pt x="7253" y="7271"/>
                  </a:cubicBezTo>
                  <a:cubicBezTo>
                    <a:pt x="7330" y="7305"/>
                    <a:pt x="7330" y="7305"/>
                    <a:pt x="7330" y="7305"/>
                  </a:cubicBezTo>
                  <a:lnTo>
                    <a:pt x="7336" y="7307"/>
                  </a:lnTo>
                  <a:close/>
                  <a:moveTo>
                    <a:pt x="7270" y="7264"/>
                  </a:moveTo>
                  <a:cubicBezTo>
                    <a:pt x="7290" y="7219"/>
                    <a:pt x="7290" y="7219"/>
                    <a:pt x="7290" y="7219"/>
                  </a:cubicBezTo>
                  <a:cubicBezTo>
                    <a:pt x="7349" y="7245"/>
                    <a:pt x="7349" y="7245"/>
                    <a:pt x="7349" y="7245"/>
                  </a:cubicBezTo>
                  <a:cubicBezTo>
                    <a:pt x="7330" y="7290"/>
                    <a:pt x="7330" y="7290"/>
                    <a:pt x="7330" y="7290"/>
                  </a:cubicBezTo>
                  <a:lnTo>
                    <a:pt x="7270" y="7264"/>
                  </a:lnTo>
                  <a:close/>
                  <a:moveTo>
                    <a:pt x="7083" y="7254"/>
                  </a:moveTo>
                  <a:cubicBezTo>
                    <a:pt x="7161" y="7288"/>
                    <a:pt x="7161" y="7288"/>
                    <a:pt x="7161" y="7288"/>
                  </a:cubicBezTo>
                  <a:cubicBezTo>
                    <a:pt x="7167" y="7291"/>
                    <a:pt x="7167" y="7291"/>
                    <a:pt x="7167" y="7291"/>
                  </a:cubicBezTo>
                  <a:cubicBezTo>
                    <a:pt x="7197" y="7222"/>
                    <a:pt x="7197" y="7222"/>
                    <a:pt x="7197" y="7222"/>
                  </a:cubicBezTo>
                  <a:cubicBezTo>
                    <a:pt x="7114" y="7185"/>
                    <a:pt x="7114" y="7185"/>
                    <a:pt x="7114" y="7185"/>
                  </a:cubicBezTo>
                  <a:lnTo>
                    <a:pt x="7083" y="7254"/>
                  </a:lnTo>
                  <a:close/>
                  <a:moveTo>
                    <a:pt x="7180" y="7228"/>
                  </a:moveTo>
                  <a:cubicBezTo>
                    <a:pt x="7160" y="7274"/>
                    <a:pt x="7160" y="7274"/>
                    <a:pt x="7160" y="7274"/>
                  </a:cubicBezTo>
                  <a:cubicBezTo>
                    <a:pt x="7101" y="7248"/>
                    <a:pt x="7101" y="7248"/>
                    <a:pt x="7101" y="7248"/>
                  </a:cubicBezTo>
                  <a:cubicBezTo>
                    <a:pt x="7120" y="7202"/>
                    <a:pt x="7120" y="7202"/>
                    <a:pt x="7120" y="7202"/>
                  </a:cubicBezTo>
                  <a:lnTo>
                    <a:pt x="7180" y="7228"/>
                  </a:lnTo>
                  <a:close/>
                  <a:moveTo>
                    <a:pt x="12363" y="11589"/>
                  </a:moveTo>
                  <a:cubicBezTo>
                    <a:pt x="12363" y="11595"/>
                    <a:pt x="12363" y="11595"/>
                    <a:pt x="12363" y="11595"/>
                  </a:cubicBezTo>
                  <a:cubicBezTo>
                    <a:pt x="12439" y="11595"/>
                    <a:pt x="12439" y="11595"/>
                    <a:pt x="12439" y="11595"/>
                  </a:cubicBezTo>
                  <a:cubicBezTo>
                    <a:pt x="12439" y="11504"/>
                    <a:pt x="12439" y="11504"/>
                    <a:pt x="12439" y="11504"/>
                  </a:cubicBezTo>
                  <a:cubicBezTo>
                    <a:pt x="12363" y="11504"/>
                    <a:pt x="12363" y="11504"/>
                    <a:pt x="12363" y="11504"/>
                  </a:cubicBezTo>
                  <a:lnTo>
                    <a:pt x="12363" y="11589"/>
                  </a:lnTo>
                  <a:close/>
                  <a:moveTo>
                    <a:pt x="12376" y="11517"/>
                  </a:moveTo>
                  <a:cubicBezTo>
                    <a:pt x="12426" y="11517"/>
                    <a:pt x="12426" y="11517"/>
                    <a:pt x="12426" y="11517"/>
                  </a:cubicBezTo>
                  <a:cubicBezTo>
                    <a:pt x="12426" y="11582"/>
                    <a:pt x="12426" y="11582"/>
                    <a:pt x="12426" y="11582"/>
                  </a:cubicBezTo>
                  <a:cubicBezTo>
                    <a:pt x="12376" y="11582"/>
                    <a:pt x="12376" y="11582"/>
                    <a:pt x="12376" y="11582"/>
                  </a:cubicBezTo>
                  <a:lnTo>
                    <a:pt x="12376" y="11517"/>
                  </a:lnTo>
                  <a:close/>
                  <a:moveTo>
                    <a:pt x="7933" y="6809"/>
                  </a:moveTo>
                  <a:cubicBezTo>
                    <a:pt x="7889" y="6870"/>
                    <a:pt x="7889" y="6870"/>
                    <a:pt x="7889" y="6870"/>
                  </a:cubicBezTo>
                  <a:cubicBezTo>
                    <a:pt x="8007" y="6955"/>
                    <a:pt x="8007" y="6955"/>
                    <a:pt x="8007" y="6955"/>
                  </a:cubicBezTo>
                  <a:cubicBezTo>
                    <a:pt x="8012" y="6958"/>
                    <a:pt x="8012" y="6958"/>
                    <a:pt x="8012" y="6958"/>
                  </a:cubicBezTo>
                  <a:cubicBezTo>
                    <a:pt x="8057" y="6897"/>
                    <a:pt x="8057" y="6897"/>
                    <a:pt x="8057" y="6897"/>
                  </a:cubicBezTo>
                  <a:lnTo>
                    <a:pt x="7933" y="6809"/>
                  </a:lnTo>
                  <a:close/>
                  <a:moveTo>
                    <a:pt x="8009" y="6940"/>
                  </a:moveTo>
                  <a:cubicBezTo>
                    <a:pt x="7908" y="6867"/>
                    <a:pt x="7908" y="6867"/>
                    <a:pt x="7908" y="6867"/>
                  </a:cubicBezTo>
                  <a:cubicBezTo>
                    <a:pt x="7936" y="6827"/>
                    <a:pt x="7936" y="6827"/>
                    <a:pt x="7936" y="6827"/>
                  </a:cubicBezTo>
                  <a:cubicBezTo>
                    <a:pt x="8038" y="6900"/>
                    <a:pt x="8038" y="6900"/>
                    <a:pt x="8038" y="6900"/>
                  </a:cubicBezTo>
                  <a:lnTo>
                    <a:pt x="8009" y="6940"/>
                  </a:lnTo>
                  <a:close/>
                  <a:moveTo>
                    <a:pt x="7983" y="6757"/>
                  </a:moveTo>
                  <a:cubicBezTo>
                    <a:pt x="8125" y="6787"/>
                    <a:pt x="8125" y="6787"/>
                    <a:pt x="8125" y="6787"/>
                  </a:cubicBezTo>
                  <a:cubicBezTo>
                    <a:pt x="8131" y="6789"/>
                    <a:pt x="8131" y="6789"/>
                    <a:pt x="8131" y="6789"/>
                  </a:cubicBezTo>
                  <a:cubicBezTo>
                    <a:pt x="8147" y="6715"/>
                    <a:pt x="8147" y="6715"/>
                    <a:pt x="8147" y="6715"/>
                  </a:cubicBezTo>
                  <a:cubicBezTo>
                    <a:pt x="7999" y="6683"/>
                    <a:pt x="7999" y="6683"/>
                    <a:pt x="7999" y="6683"/>
                  </a:cubicBezTo>
                  <a:lnTo>
                    <a:pt x="7983" y="6757"/>
                  </a:lnTo>
                  <a:close/>
                  <a:moveTo>
                    <a:pt x="8131" y="6725"/>
                  </a:moveTo>
                  <a:cubicBezTo>
                    <a:pt x="8121" y="6773"/>
                    <a:pt x="8121" y="6773"/>
                    <a:pt x="8121" y="6773"/>
                  </a:cubicBezTo>
                  <a:cubicBezTo>
                    <a:pt x="7999" y="6747"/>
                    <a:pt x="7999" y="6747"/>
                    <a:pt x="7999" y="6747"/>
                  </a:cubicBezTo>
                  <a:cubicBezTo>
                    <a:pt x="8009" y="6699"/>
                    <a:pt x="8009" y="6699"/>
                    <a:pt x="8009" y="6699"/>
                  </a:cubicBezTo>
                  <a:lnTo>
                    <a:pt x="8131" y="6725"/>
                  </a:lnTo>
                  <a:close/>
                  <a:moveTo>
                    <a:pt x="8507" y="6988"/>
                  </a:moveTo>
                  <a:cubicBezTo>
                    <a:pt x="8509" y="6982"/>
                    <a:pt x="8509" y="6982"/>
                    <a:pt x="8509" y="6982"/>
                  </a:cubicBezTo>
                  <a:cubicBezTo>
                    <a:pt x="8440" y="6952"/>
                    <a:pt x="8440" y="6952"/>
                    <a:pt x="8440" y="6952"/>
                  </a:cubicBezTo>
                  <a:cubicBezTo>
                    <a:pt x="8379" y="7090"/>
                    <a:pt x="8379" y="7090"/>
                    <a:pt x="8379" y="7090"/>
                  </a:cubicBezTo>
                  <a:cubicBezTo>
                    <a:pt x="8448" y="7121"/>
                    <a:pt x="8448" y="7121"/>
                    <a:pt x="8448" y="7121"/>
                  </a:cubicBezTo>
                  <a:lnTo>
                    <a:pt x="8507" y="6988"/>
                  </a:lnTo>
                  <a:close/>
                  <a:moveTo>
                    <a:pt x="8396" y="7083"/>
                  </a:moveTo>
                  <a:cubicBezTo>
                    <a:pt x="8447" y="6969"/>
                    <a:pt x="8447" y="6969"/>
                    <a:pt x="8447" y="6969"/>
                  </a:cubicBezTo>
                  <a:cubicBezTo>
                    <a:pt x="8492" y="6989"/>
                    <a:pt x="8492" y="6989"/>
                    <a:pt x="8492" y="6989"/>
                  </a:cubicBezTo>
                  <a:cubicBezTo>
                    <a:pt x="8441" y="7104"/>
                    <a:pt x="8441" y="7104"/>
                    <a:pt x="8441" y="7104"/>
                  </a:cubicBezTo>
                  <a:lnTo>
                    <a:pt x="8396" y="7083"/>
                  </a:lnTo>
                  <a:close/>
                  <a:moveTo>
                    <a:pt x="8398" y="7323"/>
                  </a:moveTo>
                  <a:cubicBezTo>
                    <a:pt x="8440" y="7259"/>
                    <a:pt x="8440" y="7259"/>
                    <a:pt x="8440" y="7259"/>
                  </a:cubicBezTo>
                  <a:cubicBezTo>
                    <a:pt x="8319" y="7180"/>
                    <a:pt x="8319" y="7180"/>
                    <a:pt x="8319" y="7180"/>
                  </a:cubicBezTo>
                  <a:cubicBezTo>
                    <a:pt x="8313" y="7176"/>
                    <a:pt x="8313" y="7176"/>
                    <a:pt x="8313" y="7176"/>
                  </a:cubicBezTo>
                  <a:cubicBezTo>
                    <a:pt x="8272" y="7240"/>
                    <a:pt x="8272" y="7240"/>
                    <a:pt x="8272" y="7240"/>
                  </a:cubicBezTo>
                  <a:lnTo>
                    <a:pt x="8398" y="7323"/>
                  </a:lnTo>
                  <a:close/>
                  <a:moveTo>
                    <a:pt x="8317" y="7194"/>
                  </a:moveTo>
                  <a:cubicBezTo>
                    <a:pt x="8422" y="7263"/>
                    <a:pt x="8422" y="7263"/>
                    <a:pt x="8422" y="7263"/>
                  </a:cubicBezTo>
                  <a:cubicBezTo>
                    <a:pt x="8395" y="7304"/>
                    <a:pt x="8395" y="7304"/>
                    <a:pt x="8395" y="7304"/>
                  </a:cubicBezTo>
                  <a:cubicBezTo>
                    <a:pt x="8290" y="7236"/>
                    <a:pt x="8290" y="7236"/>
                    <a:pt x="8290" y="7236"/>
                  </a:cubicBezTo>
                  <a:lnTo>
                    <a:pt x="8317" y="7194"/>
                  </a:lnTo>
                  <a:close/>
                  <a:moveTo>
                    <a:pt x="8127" y="7307"/>
                  </a:moveTo>
                  <a:cubicBezTo>
                    <a:pt x="8086" y="7370"/>
                    <a:pt x="8086" y="7370"/>
                    <a:pt x="8086" y="7370"/>
                  </a:cubicBezTo>
                  <a:cubicBezTo>
                    <a:pt x="8213" y="7453"/>
                    <a:pt x="8213" y="7453"/>
                    <a:pt x="8213" y="7453"/>
                  </a:cubicBezTo>
                  <a:cubicBezTo>
                    <a:pt x="8254" y="7390"/>
                    <a:pt x="8254" y="7390"/>
                    <a:pt x="8254" y="7390"/>
                  </a:cubicBezTo>
                  <a:cubicBezTo>
                    <a:pt x="8133" y="7310"/>
                    <a:pt x="8133" y="7310"/>
                    <a:pt x="8133" y="7310"/>
                  </a:cubicBezTo>
                  <a:lnTo>
                    <a:pt x="8127" y="7307"/>
                  </a:lnTo>
                  <a:close/>
                  <a:moveTo>
                    <a:pt x="8209" y="7435"/>
                  </a:moveTo>
                  <a:cubicBezTo>
                    <a:pt x="8104" y="7366"/>
                    <a:pt x="8104" y="7366"/>
                    <a:pt x="8104" y="7366"/>
                  </a:cubicBezTo>
                  <a:cubicBezTo>
                    <a:pt x="8131" y="7325"/>
                    <a:pt x="8131" y="7325"/>
                    <a:pt x="8131" y="7325"/>
                  </a:cubicBezTo>
                  <a:cubicBezTo>
                    <a:pt x="8236" y="7393"/>
                    <a:pt x="8236" y="7393"/>
                    <a:pt x="8236" y="7393"/>
                  </a:cubicBezTo>
                  <a:lnTo>
                    <a:pt x="8209" y="7435"/>
                  </a:lnTo>
                  <a:close/>
                  <a:moveTo>
                    <a:pt x="8089" y="7499"/>
                  </a:moveTo>
                  <a:cubicBezTo>
                    <a:pt x="7990" y="7393"/>
                    <a:pt x="7990" y="7393"/>
                    <a:pt x="7990" y="7393"/>
                  </a:cubicBezTo>
                  <a:cubicBezTo>
                    <a:pt x="7986" y="7388"/>
                    <a:pt x="7986" y="7388"/>
                    <a:pt x="7986" y="7388"/>
                  </a:cubicBezTo>
                  <a:cubicBezTo>
                    <a:pt x="7930" y="7439"/>
                    <a:pt x="7930" y="7439"/>
                    <a:pt x="7930" y="7439"/>
                  </a:cubicBezTo>
                  <a:cubicBezTo>
                    <a:pt x="8033" y="7551"/>
                    <a:pt x="8033" y="7551"/>
                    <a:pt x="8033" y="7551"/>
                  </a:cubicBezTo>
                  <a:lnTo>
                    <a:pt x="8089" y="7499"/>
                  </a:lnTo>
                  <a:close/>
                  <a:moveTo>
                    <a:pt x="7985" y="7406"/>
                  </a:moveTo>
                  <a:cubicBezTo>
                    <a:pt x="8071" y="7498"/>
                    <a:pt x="8071" y="7498"/>
                    <a:pt x="8071" y="7498"/>
                  </a:cubicBezTo>
                  <a:cubicBezTo>
                    <a:pt x="8034" y="7532"/>
                    <a:pt x="8034" y="7532"/>
                    <a:pt x="8034" y="7532"/>
                  </a:cubicBezTo>
                  <a:cubicBezTo>
                    <a:pt x="7949" y="7440"/>
                    <a:pt x="7949" y="7440"/>
                    <a:pt x="7949" y="7440"/>
                  </a:cubicBezTo>
                  <a:lnTo>
                    <a:pt x="7985" y="7406"/>
                  </a:lnTo>
                  <a:close/>
                  <a:moveTo>
                    <a:pt x="7812" y="7470"/>
                  </a:moveTo>
                  <a:cubicBezTo>
                    <a:pt x="7756" y="7522"/>
                    <a:pt x="7756" y="7522"/>
                    <a:pt x="7756" y="7522"/>
                  </a:cubicBezTo>
                  <a:cubicBezTo>
                    <a:pt x="7859" y="7633"/>
                    <a:pt x="7859" y="7633"/>
                    <a:pt x="7859" y="7633"/>
                  </a:cubicBezTo>
                  <a:cubicBezTo>
                    <a:pt x="7915" y="7581"/>
                    <a:pt x="7915" y="7581"/>
                    <a:pt x="7915" y="7581"/>
                  </a:cubicBezTo>
                  <a:cubicBezTo>
                    <a:pt x="7816" y="7475"/>
                    <a:pt x="7816" y="7475"/>
                    <a:pt x="7816" y="7475"/>
                  </a:cubicBezTo>
                  <a:lnTo>
                    <a:pt x="7812" y="7470"/>
                  </a:lnTo>
                  <a:close/>
                  <a:moveTo>
                    <a:pt x="7860" y="7614"/>
                  </a:moveTo>
                  <a:cubicBezTo>
                    <a:pt x="7775" y="7522"/>
                    <a:pt x="7775" y="7522"/>
                    <a:pt x="7775" y="7522"/>
                  </a:cubicBezTo>
                  <a:cubicBezTo>
                    <a:pt x="7811" y="7489"/>
                    <a:pt x="7811" y="7489"/>
                    <a:pt x="7811" y="7489"/>
                  </a:cubicBezTo>
                  <a:cubicBezTo>
                    <a:pt x="7896" y="7581"/>
                    <a:pt x="7896" y="7581"/>
                    <a:pt x="7896" y="7581"/>
                  </a:cubicBezTo>
                  <a:lnTo>
                    <a:pt x="7860" y="7614"/>
                  </a:lnTo>
                  <a:close/>
                  <a:moveTo>
                    <a:pt x="8483" y="7859"/>
                  </a:moveTo>
                  <a:cubicBezTo>
                    <a:pt x="8385" y="7753"/>
                    <a:pt x="8385" y="7753"/>
                    <a:pt x="8385" y="7753"/>
                  </a:cubicBezTo>
                  <a:cubicBezTo>
                    <a:pt x="8380" y="7748"/>
                    <a:pt x="8380" y="7748"/>
                    <a:pt x="8380" y="7748"/>
                  </a:cubicBezTo>
                  <a:cubicBezTo>
                    <a:pt x="8325" y="7800"/>
                    <a:pt x="8325" y="7800"/>
                    <a:pt x="8325" y="7800"/>
                  </a:cubicBezTo>
                  <a:cubicBezTo>
                    <a:pt x="8428" y="7911"/>
                    <a:pt x="8428" y="7911"/>
                    <a:pt x="8428" y="7911"/>
                  </a:cubicBezTo>
                  <a:lnTo>
                    <a:pt x="8483" y="7859"/>
                  </a:lnTo>
                  <a:close/>
                  <a:moveTo>
                    <a:pt x="8380" y="7767"/>
                  </a:moveTo>
                  <a:cubicBezTo>
                    <a:pt x="8465" y="7859"/>
                    <a:pt x="8465" y="7859"/>
                    <a:pt x="8465" y="7859"/>
                  </a:cubicBezTo>
                  <a:cubicBezTo>
                    <a:pt x="8428" y="7892"/>
                    <a:pt x="8428" y="7892"/>
                    <a:pt x="8428" y="7892"/>
                  </a:cubicBezTo>
                  <a:cubicBezTo>
                    <a:pt x="8343" y="7800"/>
                    <a:pt x="8343" y="7800"/>
                    <a:pt x="8343" y="7800"/>
                  </a:cubicBezTo>
                  <a:lnTo>
                    <a:pt x="8380" y="7767"/>
                  </a:lnTo>
                  <a:close/>
                  <a:moveTo>
                    <a:pt x="8424" y="7510"/>
                  </a:moveTo>
                  <a:cubicBezTo>
                    <a:pt x="8369" y="7561"/>
                    <a:pt x="8369" y="7561"/>
                    <a:pt x="8369" y="7561"/>
                  </a:cubicBezTo>
                  <a:cubicBezTo>
                    <a:pt x="8472" y="7673"/>
                    <a:pt x="8472" y="7673"/>
                    <a:pt x="8472" y="7673"/>
                  </a:cubicBezTo>
                  <a:cubicBezTo>
                    <a:pt x="8527" y="7621"/>
                    <a:pt x="8527" y="7621"/>
                    <a:pt x="8527" y="7621"/>
                  </a:cubicBezTo>
                  <a:cubicBezTo>
                    <a:pt x="8429" y="7515"/>
                    <a:pt x="8429" y="7515"/>
                    <a:pt x="8429" y="7515"/>
                  </a:cubicBezTo>
                  <a:lnTo>
                    <a:pt x="8424" y="7510"/>
                  </a:lnTo>
                  <a:close/>
                  <a:moveTo>
                    <a:pt x="8472" y="7654"/>
                  </a:moveTo>
                  <a:cubicBezTo>
                    <a:pt x="8387" y="7562"/>
                    <a:pt x="8387" y="7562"/>
                    <a:pt x="8387" y="7562"/>
                  </a:cubicBezTo>
                  <a:cubicBezTo>
                    <a:pt x="8424" y="7528"/>
                    <a:pt x="8424" y="7528"/>
                    <a:pt x="8424" y="7528"/>
                  </a:cubicBezTo>
                  <a:cubicBezTo>
                    <a:pt x="8509" y="7620"/>
                    <a:pt x="8509" y="7620"/>
                    <a:pt x="8509" y="7620"/>
                  </a:cubicBezTo>
                  <a:lnTo>
                    <a:pt x="8472" y="7654"/>
                  </a:lnTo>
                  <a:close/>
                  <a:moveTo>
                    <a:pt x="7626" y="7530"/>
                  </a:moveTo>
                  <a:cubicBezTo>
                    <a:pt x="7564" y="7574"/>
                    <a:pt x="7564" y="7574"/>
                    <a:pt x="7564" y="7574"/>
                  </a:cubicBezTo>
                  <a:cubicBezTo>
                    <a:pt x="7651" y="7698"/>
                    <a:pt x="7651" y="7698"/>
                    <a:pt x="7651" y="7698"/>
                  </a:cubicBezTo>
                  <a:cubicBezTo>
                    <a:pt x="7713" y="7654"/>
                    <a:pt x="7713" y="7654"/>
                    <a:pt x="7713" y="7654"/>
                  </a:cubicBezTo>
                  <a:cubicBezTo>
                    <a:pt x="7629" y="7535"/>
                    <a:pt x="7629" y="7535"/>
                    <a:pt x="7629" y="7535"/>
                  </a:cubicBezTo>
                  <a:lnTo>
                    <a:pt x="7626" y="7530"/>
                  </a:lnTo>
                  <a:close/>
                  <a:moveTo>
                    <a:pt x="7654" y="7679"/>
                  </a:moveTo>
                  <a:cubicBezTo>
                    <a:pt x="7582" y="7577"/>
                    <a:pt x="7582" y="7577"/>
                    <a:pt x="7582" y="7577"/>
                  </a:cubicBezTo>
                  <a:cubicBezTo>
                    <a:pt x="7622" y="7548"/>
                    <a:pt x="7622" y="7548"/>
                    <a:pt x="7622" y="7548"/>
                  </a:cubicBezTo>
                  <a:cubicBezTo>
                    <a:pt x="7694" y="7651"/>
                    <a:pt x="7694" y="7651"/>
                    <a:pt x="7694" y="7651"/>
                  </a:cubicBezTo>
                  <a:lnTo>
                    <a:pt x="7654" y="7679"/>
                  </a:lnTo>
                  <a:close/>
                  <a:moveTo>
                    <a:pt x="7109" y="7051"/>
                  </a:moveTo>
                  <a:cubicBezTo>
                    <a:pt x="7253" y="7068"/>
                    <a:pt x="7253" y="7068"/>
                    <a:pt x="7253" y="7068"/>
                  </a:cubicBezTo>
                  <a:cubicBezTo>
                    <a:pt x="7259" y="7069"/>
                    <a:pt x="7259" y="7069"/>
                    <a:pt x="7259" y="7069"/>
                  </a:cubicBezTo>
                  <a:cubicBezTo>
                    <a:pt x="7268" y="6994"/>
                    <a:pt x="7268" y="6994"/>
                    <a:pt x="7268" y="6994"/>
                  </a:cubicBezTo>
                  <a:cubicBezTo>
                    <a:pt x="7118" y="6976"/>
                    <a:pt x="7118" y="6976"/>
                    <a:pt x="7118" y="6976"/>
                  </a:cubicBezTo>
                  <a:lnTo>
                    <a:pt x="7109" y="7051"/>
                  </a:lnTo>
                  <a:close/>
                  <a:moveTo>
                    <a:pt x="7129" y="6990"/>
                  </a:moveTo>
                  <a:cubicBezTo>
                    <a:pt x="7254" y="7005"/>
                    <a:pt x="7254" y="7005"/>
                    <a:pt x="7254" y="7005"/>
                  </a:cubicBezTo>
                  <a:cubicBezTo>
                    <a:pt x="7248" y="7054"/>
                    <a:pt x="7248" y="7054"/>
                    <a:pt x="7248" y="7054"/>
                  </a:cubicBezTo>
                  <a:cubicBezTo>
                    <a:pt x="7123" y="7040"/>
                    <a:pt x="7123" y="7040"/>
                    <a:pt x="7123" y="7040"/>
                  </a:cubicBezTo>
                  <a:lnTo>
                    <a:pt x="7129" y="6990"/>
                  </a:lnTo>
                  <a:close/>
                  <a:moveTo>
                    <a:pt x="7510" y="7713"/>
                  </a:moveTo>
                  <a:cubicBezTo>
                    <a:pt x="7519" y="7638"/>
                    <a:pt x="7519" y="7638"/>
                    <a:pt x="7519" y="7638"/>
                  </a:cubicBezTo>
                  <a:cubicBezTo>
                    <a:pt x="7369" y="7620"/>
                    <a:pt x="7369" y="7620"/>
                    <a:pt x="7369" y="7620"/>
                  </a:cubicBezTo>
                  <a:cubicBezTo>
                    <a:pt x="7360" y="7695"/>
                    <a:pt x="7360" y="7695"/>
                    <a:pt x="7360" y="7695"/>
                  </a:cubicBezTo>
                  <a:cubicBezTo>
                    <a:pt x="7504" y="7712"/>
                    <a:pt x="7504" y="7712"/>
                    <a:pt x="7504" y="7712"/>
                  </a:cubicBezTo>
                  <a:lnTo>
                    <a:pt x="7510" y="7713"/>
                  </a:lnTo>
                  <a:close/>
                  <a:moveTo>
                    <a:pt x="7374" y="7683"/>
                  </a:moveTo>
                  <a:cubicBezTo>
                    <a:pt x="7380" y="7634"/>
                    <a:pt x="7380" y="7634"/>
                    <a:pt x="7380" y="7634"/>
                  </a:cubicBezTo>
                  <a:cubicBezTo>
                    <a:pt x="7505" y="7649"/>
                    <a:pt x="7505" y="7649"/>
                    <a:pt x="7505" y="7649"/>
                  </a:cubicBezTo>
                  <a:cubicBezTo>
                    <a:pt x="7499" y="7698"/>
                    <a:pt x="7499" y="7698"/>
                    <a:pt x="7499" y="7698"/>
                  </a:cubicBezTo>
                  <a:lnTo>
                    <a:pt x="7374" y="7683"/>
                  </a:lnTo>
                  <a:close/>
                  <a:moveTo>
                    <a:pt x="6568" y="7644"/>
                  </a:moveTo>
                  <a:cubicBezTo>
                    <a:pt x="6582" y="7570"/>
                    <a:pt x="6582" y="7570"/>
                    <a:pt x="6582" y="7570"/>
                  </a:cubicBezTo>
                  <a:cubicBezTo>
                    <a:pt x="6433" y="7541"/>
                    <a:pt x="6433" y="7541"/>
                    <a:pt x="6433" y="7541"/>
                  </a:cubicBezTo>
                  <a:cubicBezTo>
                    <a:pt x="6419" y="7616"/>
                    <a:pt x="6419" y="7616"/>
                    <a:pt x="6419" y="7616"/>
                  </a:cubicBezTo>
                  <a:cubicBezTo>
                    <a:pt x="6561" y="7643"/>
                    <a:pt x="6561" y="7643"/>
                    <a:pt x="6561" y="7643"/>
                  </a:cubicBezTo>
                  <a:lnTo>
                    <a:pt x="6568" y="7644"/>
                  </a:lnTo>
                  <a:close/>
                  <a:moveTo>
                    <a:pt x="6434" y="7605"/>
                  </a:moveTo>
                  <a:cubicBezTo>
                    <a:pt x="6444" y="7556"/>
                    <a:pt x="6444" y="7556"/>
                    <a:pt x="6444" y="7556"/>
                  </a:cubicBezTo>
                  <a:cubicBezTo>
                    <a:pt x="6567" y="7580"/>
                    <a:pt x="6567" y="7580"/>
                    <a:pt x="6567" y="7580"/>
                  </a:cubicBezTo>
                  <a:cubicBezTo>
                    <a:pt x="6557" y="7629"/>
                    <a:pt x="6557" y="7629"/>
                    <a:pt x="6557" y="7629"/>
                  </a:cubicBezTo>
                  <a:lnTo>
                    <a:pt x="6434" y="7605"/>
                  </a:lnTo>
                  <a:close/>
                  <a:moveTo>
                    <a:pt x="5778" y="7289"/>
                  </a:moveTo>
                  <a:cubicBezTo>
                    <a:pt x="5922" y="7307"/>
                    <a:pt x="5922" y="7307"/>
                    <a:pt x="5922" y="7307"/>
                  </a:cubicBezTo>
                  <a:cubicBezTo>
                    <a:pt x="5929" y="7308"/>
                    <a:pt x="5929" y="7308"/>
                    <a:pt x="5929" y="7308"/>
                  </a:cubicBezTo>
                  <a:cubicBezTo>
                    <a:pt x="5938" y="7232"/>
                    <a:pt x="5938" y="7232"/>
                    <a:pt x="5938" y="7232"/>
                  </a:cubicBezTo>
                  <a:cubicBezTo>
                    <a:pt x="5788" y="7214"/>
                    <a:pt x="5788" y="7214"/>
                    <a:pt x="5788" y="7214"/>
                  </a:cubicBezTo>
                  <a:lnTo>
                    <a:pt x="5778" y="7289"/>
                  </a:lnTo>
                  <a:close/>
                  <a:moveTo>
                    <a:pt x="5799" y="7228"/>
                  </a:moveTo>
                  <a:cubicBezTo>
                    <a:pt x="5923" y="7244"/>
                    <a:pt x="5923" y="7244"/>
                    <a:pt x="5923" y="7244"/>
                  </a:cubicBezTo>
                  <a:cubicBezTo>
                    <a:pt x="5917" y="7293"/>
                    <a:pt x="5917" y="7293"/>
                    <a:pt x="5917" y="7293"/>
                  </a:cubicBezTo>
                  <a:cubicBezTo>
                    <a:pt x="5793" y="7278"/>
                    <a:pt x="5793" y="7278"/>
                    <a:pt x="5793" y="7278"/>
                  </a:cubicBezTo>
                  <a:lnTo>
                    <a:pt x="5799" y="7228"/>
                  </a:lnTo>
                  <a:close/>
                  <a:moveTo>
                    <a:pt x="5818" y="7106"/>
                  </a:moveTo>
                  <a:cubicBezTo>
                    <a:pt x="5962" y="7124"/>
                    <a:pt x="5962" y="7124"/>
                    <a:pt x="5962" y="7124"/>
                  </a:cubicBezTo>
                  <a:cubicBezTo>
                    <a:pt x="5968" y="7125"/>
                    <a:pt x="5968" y="7125"/>
                    <a:pt x="5968" y="7125"/>
                  </a:cubicBezTo>
                  <a:cubicBezTo>
                    <a:pt x="5978" y="7049"/>
                    <a:pt x="5978" y="7049"/>
                    <a:pt x="5978" y="7049"/>
                  </a:cubicBezTo>
                  <a:cubicBezTo>
                    <a:pt x="5827" y="7031"/>
                    <a:pt x="5827" y="7031"/>
                    <a:pt x="5827" y="7031"/>
                  </a:cubicBezTo>
                  <a:lnTo>
                    <a:pt x="5818" y="7106"/>
                  </a:lnTo>
                  <a:close/>
                  <a:moveTo>
                    <a:pt x="5839" y="7046"/>
                  </a:moveTo>
                  <a:cubicBezTo>
                    <a:pt x="5963" y="7061"/>
                    <a:pt x="5963" y="7061"/>
                    <a:pt x="5963" y="7061"/>
                  </a:cubicBezTo>
                  <a:cubicBezTo>
                    <a:pt x="5957" y="7110"/>
                    <a:pt x="5957" y="7110"/>
                    <a:pt x="5957" y="7110"/>
                  </a:cubicBezTo>
                  <a:cubicBezTo>
                    <a:pt x="5833" y="7095"/>
                    <a:pt x="5833" y="7095"/>
                    <a:pt x="5833" y="7095"/>
                  </a:cubicBezTo>
                  <a:lnTo>
                    <a:pt x="5839" y="7046"/>
                  </a:lnTo>
                  <a:close/>
                  <a:moveTo>
                    <a:pt x="5848" y="6934"/>
                  </a:moveTo>
                  <a:cubicBezTo>
                    <a:pt x="5992" y="6952"/>
                    <a:pt x="5992" y="6952"/>
                    <a:pt x="5992" y="6952"/>
                  </a:cubicBezTo>
                  <a:cubicBezTo>
                    <a:pt x="5998" y="6953"/>
                    <a:pt x="5998" y="6953"/>
                    <a:pt x="5998" y="6953"/>
                  </a:cubicBezTo>
                  <a:cubicBezTo>
                    <a:pt x="6007" y="6878"/>
                    <a:pt x="6007" y="6878"/>
                    <a:pt x="6007" y="6878"/>
                  </a:cubicBezTo>
                  <a:cubicBezTo>
                    <a:pt x="5857" y="6859"/>
                    <a:pt x="5857" y="6859"/>
                    <a:pt x="5857" y="6859"/>
                  </a:cubicBezTo>
                  <a:lnTo>
                    <a:pt x="5848" y="6934"/>
                  </a:lnTo>
                  <a:close/>
                  <a:moveTo>
                    <a:pt x="5868" y="6874"/>
                  </a:moveTo>
                  <a:cubicBezTo>
                    <a:pt x="5993" y="6889"/>
                    <a:pt x="5993" y="6889"/>
                    <a:pt x="5993" y="6889"/>
                  </a:cubicBezTo>
                  <a:cubicBezTo>
                    <a:pt x="5987" y="6938"/>
                    <a:pt x="5987" y="6938"/>
                    <a:pt x="5987" y="6938"/>
                  </a:cubicBezTo>
                  <a:cubicBezTo>
                    <a:pt x="5862" y="6923"/>
                    <a:pt x="5862" y="6923"/>
                    <a:pt x="5862" y="6923"/>
                  </a:cubicBezTo>
                  <a:lnTo>
                    <a:pt x="5868" y="6874"/>
                  </a:lnTo>
                  <a:close/>
                  <a:moveTo>
                    <a:pt x="5882" y="6752"/>
                  </a:moveTo>
                  <a:cubicBezTo>
                    <a:pt x="6026" y="6769"/>
                    <a:pt x="6026" y="6769"/>
                    <a:pt x="6026" y="6769"/>
                  </a:cubicBezTo>
                  <a:cubicBezTo>
                    <a:pt x="6032" y="6770"/>
                    <a:pt x="6032" y="6770"/>
                    <a:pt x="6032" y="6770"/>
                  </a:cubicBezTo>
                  <a:cubicBezTo>
                    <a:pt x="6041" y="6695"/>
                    <a:pt x="6041" y="6695"/>
                    <a:pt x="6041" y="6695"/>
                  </a:cubicBezTo>
                  <a:cubicBezTo>
                    <a:pt x="5891" y="6676"/>
                    <a:pt x="5891" y="6676"/>
                    <a:pt x="5891" y="6676"/>
                  </a:cubicBezTo>
                  <a:lnTo>
                    <a:pt x="5882" y="6752"/>
                  </a:lnTo>
                  <a:close/>
                  <a:moveTo>
                    <a:pt x="5902" y="6691"/>
                  </a:moveTo>
                  <a:cubicBezTo>
                    <a:pt x="6027" y="6706"/>
                    <a:pt x="6027" y="6706"/>
                    <a:pt x="6027" y="6706"/>
                  </a:cubicBezTo>
                  <a:cubicBezTo>
                    <a:pt x="6021" y="6755"/>
                    <a:pt x="6021" y="6755"/>
                    <a:pt x="6021" y="6755"/>
                  </a:cubicBezTo>
                  <a:cubicBezTo>
                    <a:pt x="5896" y="6740"/>
                    <a:pt x="5896" y="6740"/>
                    <a:pt x="5896" y="6740"/>
                  </a:cubicBezTo>
                  <a:lnTo>
                    <a:pt x="5902" y="6691"/>
                  </a:lnTo>
                  <a:close/>
                  <a:moveTo>
                    <a:pt x="6069" y="6596"/>
                  </a:moveTo>
                  <a:cubicBezTo>
                    <a:pt x="6078" y="6520"/>
                    <a:pt x="6078" y="6520"/>
                    <a:pt x="6078" y="6520"/>
                  </a:cubicBezTo>
                  <a:cubicBezTo>
                    <a:pt x="5928" y="6502"/>
                    <a:pt x="5928" y="6502"/>
                    <a:pt x="5928" y="6502"/>
                  </a:cubicBezTo>
                  <a:cubicBezTo>
                    <a:pt x="5919" y="6577"/>
                    <a:pt x="5919" y="6577"/>
                    <a:pt x="5919" y="6577"/>
                  </a:cubicBezTo>
                  <a:cubicBezTo>
                    <a:pt x="6063" y="6595"/>
                    <a:pt x="6063" y="6595"/>
                    <a:pt x="6063" y="6595"/>
                  </a:cubicBezTo>
                  <a:lnTo>
                    <a:pt x="6069" y="6596"/>
                  </a:lnTo>
                  <a:close/>
                  <a:moveTo>
                    <a:pt x="5933" y="6566"/>
                  </a:moveTo>
                  <a:cubicBezTo>
                    <a:pt x="5939" y="6516"/>
                    <a:pt x="5939" y="6516"/>
                    <a:pt x="5939" y="6516"/>
                  </a:cubicBezTo>
                  <a:cubicBezTo>
                    <a:pt x="6064" y="6532"/>
                    <a:pt x="6064" y="6532"/>
                    <a:pt x="6064" y="6532"/>
                  </a:cubicBezTo>
                  <a:cubicBezTo>
                    <a:pt x="6058" y="6581"/>
                    <a:pt x="6058" y="6581"/>
                    <a:pt x="6058" y="6581"/>
                  </a:cubicBezTo>
                  <a:lnTo>
                    <a:pt x="5933" y="6566"/>
                  </a:lnTo>
                  <a:close/>
                  <a:moveTo>
                    <a:pt x="5502" y="7252"/>
                  </a:moveTo>
                  <a:cubicBezTo>
                    <a:pt x="5646" y="7270"/>
                    <a:pt x="5646" y="7270"/>
                    <a:pt x="5646" y="7270"/>
                  </a:cubicBezTo>
                  <a:cubicBezTo>
                    <a:pt x="5652" y="7271"/>
                    <a:pt x="5652" y="7271"/>
                    <a:pt x="5652" y="7271"/>
                  </a:cubicBezTo>
                  <a:cubicBezTo>
                    <a:pt x="5661" y="7195"/>
                    <a:pt x="5661" y="7195"/>
                    <a:pt x="5661" y="7195"/>
                  </a:cubicBezTo>
                  <a:cubicBezTo>
                    <a:pt x="5511" y="7177"/>
                    <a:pt x="5511" y="7177"/>
                    <a:pt x="5511" y="7177"/>
                  </a:cubicBezTo>
                  <a:lnTo>
                    <a:pt x="5502" y="7252"/>
                  </a:lnTo>
                  <a:close/>
                  <a:moveTo>
                    <a:pt x="5522" y="7192"/>
                  </a:moveTo>
                  <a:cubicBezTo>
                    <a:pt x="5647" y="7207"/>
                    <a:pt x="5647" y="7207"/>
                    <a:pt x="5647" y="7207"/>
                  </a:cubicBezTo>
                  <a:cubicBezTo>
                    <a:pt x="5641" y="7256"/>
                    <a:pt x="5641" y="7256"/>
                    <a:pt x="5641" y="7256"/>
                  </a:cubicBezTo>
                  <a:cubicBezTo>
                    <a:pt x="5516" y="7241"/>
                    <a:pt x="5516" y="7241"/>
                    <a:pt x="5516" y="7241"/>
                  </a:cubicBezTo>
                  <a:lnTo>
                    <a:pt x="5522" y="7192"/>
                  </a:lnTo>
                  <a:close/>
                  <a:moveTo>
                    <a:pt x="5692" y="7088"/>
                  </a:moveTo>
                  <a:cubicBezTo>
                    <a:pt x="5701" y="7013"/>
                    <a:pt x="5701" y="7013"/>
                    <a:pt x="5701" y="7013"/>
                  </a:cubicBezTo>
                  <a:cubicBezTo>
                    <a:pt x="5551" y="6994"/>
                    <a:pt x="5551" y="6994"/>
                    <a:pt x="5551" y="6994"/>
                  </a:cubicBezTo>
                  <a:cubicBezTo>
                    <a:pt x="5541" y="7069"/>
                    <a:pt x="5541" y="7069"/>
                    <a:pt x="5541" y="7069"/>
                  </a:cubicBezTo>
                  <a:cubicBezTo>
                    <a:pt x="5685" y="7087"/>
                    <a:pt x="5685" y="7087"/>
                    <a:pt x="5685" y="7087"/>
                  </a:cubicBezTo>
                  <a:lnTo>
                    <a:pt x="5692" y="7088"/>
                  </a:lnTo>
                  <a:close/>
                  <a:moveTo>
                    <a:pt x="5556" y="7058"/>
                  </a:moveTo>
                  <a:cubicBezTo>
                    <a:pt x="5562" y="7009"/>
                    <a:pt x="5562" y="7009"/>
                    <a:pt x="5562" y="7009"/>
                  </a:cubicBezTo>
                  <a:cubicBezTo>
                    <a:pt x="5686" y="7024"/>
                    <a:pt x="5686" y="7024"/>
                    <a:pt x="5686" y="7024"/>
                  </a:cubicBezTo>
                  <a:cubicBezTo>
                    <a:pt x="5680" y="7073"/>
                    <a:pt x="5680" y="7073"/>
                    <a:pt x="5680" y="7073"/>
                  </a:cubicBezTo>
                  <a:lnTo>
                    <a:pt x="5556" y="7058"/>
                  </a:lnTo>
                  <a:close/>
                  <a:moveTo>
                    <a:pt x="5722" y="6916"/>
                  </a:moveTo>
                  <a:cubicBezTo>
                    <a:pt x="5731" y="6841"/>
                    <a:pt x="5731" y="6841"/>
                    <a:pt x="5731" y="6841"/>
                  </a:cubicBezTo>
                  <a:cubicBezTo>
                    <a:pt x="5580" y="6822"/>
                    <a:pt x="5580" y="6822"/>
                    <a:pt x="5580" y="6822"/>
                  </a:cubicBezTo>
                  <a:cubicBezTo>
                    <a:pt x="5571" y="6898"/>
                    <a:pt x="5571" y="6898"/>
                    <a:pt x="5571" y="6898"/>
                  </a:cubicBezTo>
                  <a:cubicBezTo>
                    <a:pt x="5715" y="6915"/>
                    <a:pt x="5715" y="6915"/>
                    <a:pt x="5715" y="6915"/>
                  </a:cubicBezTo>
                  <a:lnTo>
                    <a:pt x="5722" y="6916"/>
                  </a:lnTo>
                  <a:close/>
                  <a:moveTo>
                    <a:pt x="5586" y="6886"/>
                  </a:moveTo>
                  <a:cubicBezTo>
                    <a:pt x="5592" y="6837"/>
                    <a:pt x="5592" y="6837"/>
                    <a:pt x="5592" y="6837"/>
                  </a:cubicBezTo>
                  <a:cubicBezTo>
                    <a:pt x="5716" y="6852"/>
                    <a:pt x="5716" y="6852"/>
                    <a:pt x="5716" y="6852"/>
                  </a:cubicBezTo>
                  <a:cubicBezTo>
                    <a:pt x="5710" y="6902"/>
                    <a:pt x="5710" y="6902"/>
                    <a:pt x="5710" y="6902"/>
                  </a:cubicBezTo>
                  <a:lnTo>
                    <a:pt x="5586" y="6886"/>
                  </a:lnTo>
                  <a:close/>
                  <a:moveTo>
                    <a:pt x="5756" y="6733"/>
                  </a:moveTo>
                  <a:cubicBezTo>
                    <a:pt x="5765" y="6658"/>
                    <a:pt x="5765" y="6658"/>
                    <a:pt x="5765" y="6658"/>
                  </a:cubicBezTo>
                  <a:cubicBezTo>
                    <a:pt x="5615" y="6639"/>
                    <a:pt x="5615" y="6639"/>
                    <a:pt x="5615" y="6639"/>
                  </a:cubicBezTo>
                  <a:cubicBezTo>
                    <a:pt x="5605" y="6715"/>
                    <a:pt x="5605" y="6715"/>
                    <a:pt x="5605" y="6715"/>
                  </a:cubicBezTo>
                  <a:cubicBezTo>
                    <a:pt x="5749" y="6732"/>
                    <a:pt x="5749" y="6732"/>
                    <a:pt x="5749" y="6732"/>
                  </a:cubicBezTo>
                  <a:lnTo>
                    <a:pt x="5756" y="6733"/>
                  </a:lnTo>
                  <a:close/>
                  <a:moveTo>
                    <a:pt x="5620" y="6703"/>
                  </a:moveTo>
                  <a:cubicBezTo>
                    <a:pt x="5626" y="6654"/>
                    <a:pt x="5626" y="6654"/>
                    <a:pt x="5626" y="6654"/>
                  </a:cubicBezTo>
                  <a:cubicBezTo>
                    <a:pt x="5750" y="6669"/>
                    <a:pt x="5750" y="6669"/>
                    <a:pt x="5750" y="6669"/>
                  </a:cubicBezTo>
                  <a:cubicBezTo>
                    <a:pt x="5744" y="6719"/>
                    <a:pt x="5744" y="6719"/>
                    <a:pt x="5744" y="6719"/>
                  </a:cubicBezTo>
                  <a:lnTo>
                    <a:pt x="5620" y="6703"/>
                  </a:lnTo>
                  <a:close/>
                  <a:moveTo>
                    <a:pt x="5793" y="6559"/>
                  </a:moveTo>
                  <a:cubicBezTo>
                    <a:pt x="5802" y="6483"/>
                    <a:pt x="5802" y="6483"/>
                    <a:pt x="5802" y="6483"/>
                  </a:cubicBezTo>
                  <a:cubicBezTo>
                    <a:pt x="5651" y="6465"/>
                    <a:pt x="5651" y="6465"/>
                    <a:pt x="5651" y="6465"/>
                  </a:cubicBezTo>
                  <a:cubicBezTo>
                    <a:pt x="5642" y="6540"/>
                    <a:pt x="5642" y="6540"/>
                    <a:pt x="5642" y="6540"/>
                  </a:cubicBezTo>
                  <a:cubicBezTo>
                    <a:pt x="5786" y="6558"/>
                    <a:pt x="5786" y="6558"/>
                    <a:pt x="5786" y="6558"/>
                  </a:cubicBezTo>
                  <a:lnTo>
                    <a:pt x="5793" y="6559"/>
                  </a:lnTo>
                  <a:close/>
                  <a:moveTo>
                    <a:pt x="5657" y="6529"/>
                  </a:moveTo>
                  <a:cubicBezTo>
                    <a:pt x="5663" y="6480"/>
                    <a:pt x="5663" y="6480"/>
                    <a:pt x="5663" y="6480"/>
                  </a:cubicBezTo>
                  <a:cubicBezTo>
                    <a:pt x="5787" y="6495"/>
                    <a:pt x="5787" y="6495"/>
                    <a:pt x="5787" y="6495"/>
                  </a:cubicBezTo>
                  <a:cubicBezTo>
                    <a:pt x="5781" y="6544"/>
                    <a:pt x="5781" y="6544"/>
                    <a:pt x="5781" y="6544"/>
                  </a:cubicBezTo>
                  <a:lnTo>
                    <a:pt x="5657" y="6529"/>
                  </a:lnTo>
                  <a:close/>
                  <a:moveTo>
                    <a:pt x="3544" y="4910"/>
                  </a:moveTo>
                  <a:cubicBezTo>
                    <a:pt x="3542" y="4917"/>
                    <a:pt x="3542" y="4917"/>
                    <a:pt x="3542" y="4917"/>
                  </a:cubicBezTo>
                  <a:cubicBezTo>
                    <a:pt x="3615" y="4936"/>
                    <a:pt x="3615" y="4936"/>
                    <a:pt x="3615" y="4936"/>
                  </a:cubicBezTo>
                  <a:cubicBezTo>
                    <a:pt x="3655" y="4790"/>
                    <a:pt x="3655" y="4790"/>
                    <a:pt x="3655" y="4790"/>
                  </a:cubicBezTo>
                  <a:cubicBezTo>
                    <a:pt x="3581" y="4770"/>
                    <a:pt x="3581" y="4770"/>
                    <a:pt x="3581" y="4770"/>
                  </a:cubicBezTo>
                  <a:lnTo>
                    <a:pt x="3544" y="4910"/>
                  </a:lnTo>
                  <a:close/>
                  <a:moveTo>
                    <a:pt x="3639" y="4799"/>
                  </a:moveTo>
                  <a:cubicBezTo>
                    <a:pt x="3606" y="4920"/>
                    <a:pt x="3606" y="4920"/>
                    <a:pt x="3606" y="4920"/>
                  </a:cubicBezTo>
                  <a:cubicBezTo>
                    <a:pt x="3558" y="4907"/>
                    <a:pt x="3558" y="4907"/>
                    <a:pt x="3558" y="4907"/>
                  </a:cubicBezTo>
                  <a:cubicBezTo>
                    <a:pt x="3591" y="4786"/>
                    <a:pt x="3591" y="4786"/>
                    <a:pt x="3591" y="4786"/>
                  </a:cubicBezTo>
                  <a:lnTo>
                    <a:pt x="3639" y="4799"/>
                  </a:lnTo>
                  <a:close/>
                  <a:moveTo>
                    <a:pt x="3191" y="4923"/>
                  </a:moveTo>
                  <a:cubicBezTo>
                    <a:pt x="3189" y="4929"/>
                    <a:pt x="3189" y="4929"/>
                    <a:pt x="3189" y="4929"/>
                  </a:cubicBezTo>
                  <a:cubicBezTo>
                    <a:pt x="3263" y="4949"/>
                    <a:pt x="3263" y="4949"/>
                    <a:pt x="3263" y="4949"/>
                  </a:cubicBezTo>
                  <a:cubicBezTo>
                    <a:pt x="3302" y="4802"/>
                    <a:pt x="3302" y="4802"/>
                    <a:pt x="3302" y="4802"/>
                  </a:cubicBezTo>
                  <a:cubicBezTo>
                    <a:pt x="3229" y="4783"/>
                    <a:pt x="3229" y="4783"/>
                    <a:pt x="3229" y="4783"/>
                  </a:cubicBezTo>
                  <a:lnTo>
                    <a:pt x="3191" y="4923"/>
                  </a:lnTo>
                  <a:close/>
                  <a:moveTo>
                    <a:pt x="3286" y="4812"/>
                  </a:moveTo>
                  <a:cubicBezTo>
                    <a:pt x="3253" y="4933"/>
                    <a:pt x="3253" y="4933"/>
                    <a:pt x="3253" y="4933"/>
                  </a:cubicBezTo>
                  <a:cubicBezTo>
                    <a:pt x="3205" y="4920"/>
                    <a:pt x="3205" y="4920"/>
                    <a:pt x="3205" y="4920"/>
                  </a:cubicBezTo>
                  <a:cubicBezTo>
                    <a:pt x="3238" y="4799"/>
                    <a:pt x="3238" y="4799"/>
                    <a:pt x="3238" y="4799"/>
                  </a:cubicBezTo>
                  <a:lnTo>
                    <a:pt x="3286" y="4812"/>
                  </a:lnTo>
                  <a:close/>
                  <a:moveTo>
                    <a:pt x="3587" y="5506"/>
                  </a:moveTo>
                  <a:cubicBezTo>
                    <a:pt x="3581" y="5506"/>
                    <a:pt x="3581" y="5506"/>
                    <a:pt x="3581" y="5506"/>
                  </a:cubicBezTo>
                  <a:cubicBezTo>
                    <a:pt x="3585" y="5582"/>
                    <a:pt x="3585" y="5582"/>
                    <a:pt x="3585" y="5582"/>
                  </a:cubicBezTo>
                  <a:cubicBezTo>
                    <a:pt x="3736" y="5573"/>
                    <a:pt x="3736" y="5573"/>
                    <a:pt x="3736" y="5573"/>
                  </a:cubicBezTo>
                  <a:cubicBezTo>
                    <a:pt x="3732" y="5497"/>
                    <a:pt x="3732" y="5497"/>
                    <a:pt x="3732" y="5497"/>
                  </a:cubicBezTo>
                  <a:lnTo>
                    <a:pt x="3587" y="5506"/>
                  </a:lnTo>
                  <a:close/>
                  <a:moveTo>
                    <a:pt x="3597" y="5568"/>
                  </a:moveTo>
                  <a:cubicBezTo>
                    <a:pt x="3594" y="5518"/>
                    <a:pt x="3594" y="5518"/>
                    <a:pt x="3594" y="5518"/>
                  </a:cubicBezTo>
                  <a:cubicBezTo>
                    <a:pt x="3719" y="5511"/>
                    <a:pt x="3719" y="5511"/>
                    <a:pt x="3719" y="5511"/>
                  </a:cubicBezTo>
                  <a:cubicBezTo>
                    <a:pt x="3722" y="5560"/>
                    <a:pt x="3722" y="5560"/>
                    <a:pt x="3722" y="5560"/>
                  </a:cubicBezTo>
                  <a:lnTo>
                    <a:pt x="3597" y="5568"/>
                  </a:lnTo>
                  <a:close/>
                  <a:moveTo>
                    <a:pt x="10799" y="12031"/>
                  </a:moveTo>
                  <a:cubicBezTo>
                    <a:pt x="10727" y="12053"/>
                    <a:pt x="10727" y="12053"/>
                    <a:pt x="10727" y="12053"/>
                  </a:cubicBezTo>
                  <a:cubicBezTo>
                    <a:pt x="10770" y="12192"/>
                    <a:pt x="10770" y="12192"/>
                    <a:pt x="10770" y="12192"/>
                  </a:cubicBezTo>
                  <a:cubicBezTo>
                    <a:pt x="10772" y="12198"/>
                    <a:pt x="10772" y="12198"/>
                    <a:pt x="10772" y="12198"/>
                  </a:cubicBezTo>
                  <a:cubicBezTo>
                    <a:pt x="10844" y="12176"/>
                    <a:pt x="10844" y="12176"/>
                    <a:pt x="10844" y="12176"/>
                  </a:cubicBezTo>
                  <a:lnTo>
                    <a:pt x="10799" y="12031"/>
                  </a:lnTo>
                  <a:close/>
                  <a:moveTo>
                    <a:pt x="10743" y="12062"/>
                  </a:moveTo>
                  <a:cubicBezTo>
                    <a:pt x="10791" y="12047"/>
                    <a:pt x="10791" y="12047"/>
                    <a:pt x="10791" y="12047"/>
                  </a:cubicBezTo>
                  <a:cubicBezTo>
                    <a:pt x="10828" y="12167"/>
                    <a:pt x="10828" y="12167"/>
                    <a:pt x="10828" y="12167"/>
                  </a:cubicBezTo>
                  <a:cubicBezTo>
                    <a:pt x="10780" y="12182"/>
                    <a:pt x="10780" y="12182"/>
                    <a:pt x="10780" y="12182"/>
                  </a:cubicBezTo>
                  <a:lnTo>
                    <a:pt x="10743" y="12062"/>
                  </a:lnTo>
                  <a:close/>
                  <a:moveTo>
                    <a:pt x="10695" y="12063"/>
                  </a:moveTo>
                  <a:cubicBezTo>
                    <a:pt x="10623" y="12086"/>
                    <a:pt x="10623" y="12086"/>
                    <a:pt x="10623" y="12086"/>
                  </a:cubicBezTo>
                  <a:cubicBezTo>
                    <a:pt x="10666" y="12224"/>
                    <a:pt x="10666" y="12224"/>
                    <a:pt x="10666" y="12224"/>
                  </a:cubicBezTo>
                  <a:cubicBezTo>
                    <a:pt x="10668" y="12231"/>
                    <a:pt x="10668" y="12231"/>
                    <a:pt x="10668" y="12231"/>
                  </a:cubicBezTo>
                  <a:cubicBezTo>
                    <a:pt x="10740" y="12208"/>
                    <a:pt x="10740" y="12208"/>
                    <a:pt x="10740" y="12208"/>
                  </a:cubicBezTo>
                  <a:lnTo>
                    <a:pt x="10695" y="12063"/>
                  </a:lnTo>
                  <a:close/>
                  <a:moveTo>
                    <a:pt x="10639" y="12095"/>
                  </a:moveTo>
                  <a:cubicBezTo>
                    <a:pt x="10687" y="12080"/>
                    <a:pt x="10687" y="12080"/>
                    <a:pt x="10687" y="12080"/>
                  </a:cubicBezTo>
                  <a:cubicBezTo>
                    <a:pt x="10724" y="12200"/>
                    <a:pt x="10724" y="12200"/>
                    <a:pt x="10724" y="12200"/>
                  </a:cubicBezTo>
                  <a:cubicBezTo>
                    <a:pt x="10676" y="12214"/>
                    <a:pt x="10676" y="12214"/>
                    <a:pt x="10676" y="12214"/>
                  </a:cubicBezTo>
                  <a:lnTo>
                    <a:pt x="10639" y="12095"/>
                  </a:lnTo>
                  <a:close/>
                  <a:moveTo>
                    <a:pt x="10507" y="12129"/>
                  </a:moveTo>
                  <a:cubicBezTo>
                    <a:pt x="10434" y="12151"/>
                    <a:pt x="10434" y="12151"/>
                    <a:pt x="10434" y="12151"/>
                  </a:cubicBezTo>
                  <a:cubicBezTo>
                    <a:pt x="10477" y="12289"/>
                    <a:pt x="10477" y="12289"/>
                    <a:pt x="10477" y="12289"/>
                  </a:cubicBezTo>
                  <a:cubicBezTo>
                    <a:pt x="10479" y="12296"/>
                    <a:pt x="10479" y="12296"/>
                    <a:pt x="10479" y="12296"/>
                  </a:cubicBezTo>
                  <a:cubicBezTo>
                    <a:pt x="10551" y="12273"/>
                    <a:pt x="10551" y="12273"/>
                    <a:pt x="10551" y="12273"/>
                  </a:cubicBezTo>
                  <a:lnTo>
                    <a:pt x="10507" y="12129"/>
                  </a:lnTo>
                  <a:close/>
                  <a:moveTo>
                    <a:pt x="10451" y="12160"/>
                  </a:moveTo>
                  <a:cubicBezTo>
                    <a:pt x="10498" y="12145"/>
                    <a:pt x="10498" y="12145"/>
                    <a:pt x="10498" y="12145"/>
                  </a:cubicBezTo>
                  <a:cubicBezTo>
                    <a:pt x="10535" y="12265"/>
                    <a:pt x="10535" y="12265"/>
                    <a:pt x="10535" y="12265"/>
                  </a:cubicBezTo>
                  <a:cubicBezTo>
                    <a:pt x="10488" y="12279"/>
                    <a:pt x="10488" y="12279"/>
                    <a:pt x="10488" y="12279"/>
                  </a:cubicBezTo>
                  <a:lnTo>
                    <a:pt x="10451" y="12160"/>
                  </a:lnTo>
                  <a:close/>
                  <a:moveTo>
                    <a:pt x="10403" y="12161"/>
                  </a:moveTo>
                  <a:cubicBezTo>
                    <a:pt x="10330" y="12183"/>
                    <a:pt x="10330" y="12183"/>
                    <a:pt x="10330" y="12183"/>
                  </a:cubicBezTo>
                  <a:cubicBezTo>
                    <a:pt x="10373" y="12322"/>
                    <a:pt x="10373" y="12322"/>
                    <a:pt x="10373" y="12322"/>
                  </a:cubicBezTo>
                  <a:cubicBezTo>
                    <a:pt x="10375" y="12328"/>
                    <a:pt x="10375" y="12328"/>
                    <a:pt x="10375" y="12328"/>
                  </a:cubicBezTo>
                  <a:cubicBezTo>
                    <a:pt x="10447" y="12306"/>
                    <a:pt x="10447" y="12306"/>
                    <a:pt x="10447" y="12306"/>
                  </a:cubicBezTo>
                  <a:lnTo>
                    <a:pt x="10403" y="12161"/>
                  </a:lnTo>
                  <a:close/>
                  <a:moveTo>
                    <a:pt x="10346" y="12192"/>
                  </a:moveTo>
                  <a:cubicBezTo>
                    <a:pt x="10394" y="12178"/>
                    <a:pt x="10394" y="12178"/>
                    <a:pt x="10394" y="12178"/>
                  </a:cubicBezTo>
                  <a:cubicBezTo>
                    <a:pt x="10431" y="12297"/>
                    <a:pt x="10431" y="12297"/>
                    <a:pt x="10431" y="12297"/>
                  </a:cubicBezTo>
                  <a:cubicBezTo>
                    <a:pt x="10383" y="12312"/>
                    <a:pt x="10383" y="12312"/>
                    <a:pt x="10383" y="12312"/>
                  </a:cubicBezTo>
                  <a:lnTo>
                    <a:pt x="10346" y="12192"/>
                  </a:lnTo>
                  <a:close/>
                  <a:moveTo>
                    <a:pt x="10145" y="12245"/>
                  </a:moveTo>
                  <a:cubicBezTo>
                    <a:pt x="10188" y="12383"/>
                    <a:pt x="10188" y="12383"/>
                    <a:pt x="10188" y="12383"/>
                  </a:cubicBezTo>
                  <a:cubicBezTo>
                    <a:pt x="10190" y="12389"/>
                    <a:pt x="10190" y="12389"/>
                    <a:pt x="10190" y="12389"/>
                  </a:cubicBezTo>
                  <a:cubicBezTo>
                    <a:pt x="10262" y="12367"/>
                    <a:pt x="10262" y="12367"/>
                    <a:pt x="10262" y="12367"/>
                  </a:cubicBezTo>
                  <a:cubicBezTo>
                    <a:pt x="10218" y="12222"/>
                    <a:pt x="10218" y="12222"/>
                    <a:pt x="10218" y="12222"/>
                  </a:cubicBezTo>
                  <a:lnTo>
                    <a:pt x="10145" y="12245"/>
                  </a:lnTo>
                  <a:close/>
                  <a:moveTo>
                    <a:pt x="10199" y="12373"/>
                  </a:moveTo>
                  <a:cubicBezTo>
                    <a:pt x="10162" y="12253"/>
                    <a:pt x="10162" y="12253"/>
                    <a:pt x="10162" y="12253"/>
                  </a:cubicBezTo>
                  <a:cubicBezTo>
                    <a:pt x="10209" y="12239"/>
                    <a:pt x="10209" y="12239"/>
                    <a:pt x="10209" y="12239"/>
                  </a:cubicBezTo>
                  <a:cubicBezTo>
                    <a:pt x="10246" y="12358"/>
                    <a:pt x="10246" y="12358"/>
                    <a:pt x="10246" y="12358"/>
                  </a:cubicBezTo>
                  <a:lnTo>
                    <a:pt x="10199" y="12373"/>
                  </a:lnTo>
                  <a:close/>
                  <a:moveTo>
                    <a:pt x="10041" y="12277"/>
                  </a:moveTo>
                  <a:cubicBezTo>
                    <a:pt x="10084" y="12416"/>
                    <a:pt x="10084" y="12416"/>
                    <a:pt x="10084" y="12416"/>
                  </a:cubicBezTo>
                  <a:cubicBezTo>
                    <a:pt x="10086" y="12422"/>
                    <a:pt x="10086" y="12422"/>
                    <a:pt x="10086" y="12422"/>
                  </a:cubicBezTo>
                  <a:cubicBezTo>
                    <a:pt x="10158" y="12400"/>
                    <a:pt x="10158" y="12400"/>
                    <a:pt x="10158" y="12400"/>
                  </a:cubicBezTo>
                  <a:cubicBezTo>
                    <a:pt x="10114" y="12255"/>
                    <a:pt x="10114" y="12255"/>
                    <a:pt x="10114" y="12255"/>
                  </a:cubicBezTo>
                  <a:lnTo>
                    <a:pt x="10041" y="12277"/>
                  </a:lnTo>
                  <a:close/>
                  <a:moveTo>
                    <a:pt x="10095" y="12406"/>
                  </a:moveTo>
                  <a:cubicBezTo>
                    <a:pt x="10058" y="12286"/>
                    <a:pt x="10058" y="12286"/>
                    <a:pt x="10058" y="12286"/>
                  </a:cubicBezTo>
                  <a:cubicBezTo>
                    <a:pt x="10105" y="12271"/>
                    <a:pt x="10105" y="12271"/>
                    <a:pt x="10105" y="12271"/>
                  </a:cubicBezTo>
                  <a:cubicBezTo>
                    <a:pt x="10142" y="12391"/>
                    <a:pt x="10142" y="12391"/>
                    <a:pt x="10142" y="12391"/>
                  </a:cubicBezTo>
                  <a:lnTo>
                    <a:pt x="10095" y="12406"/>
                  </a:lnTo>
                  <a:close/>
                  <a:moveTo>
                    <a:pt x="9855" y="12328"/>
                  </a:moveTo>
                  <a:cubicBezTo>
                    <a:pt x="9898" y="12466"/>
                    <a:pt x="9898" y="12466"/>
                    <a:pt x="9898" y="12466"/>
                  </a:cubicBezTo>
                  <a:cubicBezTo>
                    <a:pt x="9900" y="12473"/>
                    <a:pt x="9900" y="12473"/>
                    <a:pt x="9900" y="12473"/>
                  </a:cubicBezTo>
                  <a:cubicBezTo>
                    <a:pt x="9972" y="12450"/>
                    <a:pt x="9972" y="12450"/>
                    <a:pt x="9972" y="12450"/>
                  </a:cubicBezTo>
                  <a:cubicBezTo>
                    <a:pt x="9927" y="12306"/>
                    <a:pt x="9927" y="12306"/>
                    <a:pt x="9927" y="12306"/>
                  </a:cubicBezTo>
                  <a:lnTo>
                    <a:pt x="9855" y="12328"/>
                  </a:lnTo>
                  <a:close/>
                  <a:moveTo>
                    <a:pt x="9908" y="12456"/>
                  </a:moveTo>
                  <a:cubicBezTo>
                    <a:pt x="9871" y="12337"/>
                    <a:pt x="9871" y="12337"/>
                    <a:pt x="9871" y="12337"/>
                  </a:cubicBezTo>
                  <a:cubicBezTo>
                    <a:pt x="9919" y="12322"/>
                    <a:pt x="9919" y="12322"/>
                    <a:pt x="9919" y="12322"/>
                  </a:cubicBezTo>
                  <a:cubicBezTo>
                    <a:pt x="9956" y="12442"/>
                    <a:pt x="9956" y="12442"/>
                    <a:pt x="9956" y="12442"/>
                  </a:cubicBezTo>
                  <a:lnTo>
                    <a:pt x="9908" y="12456"/>
                  </a:lnTo>
                  <a:close/>
                  <a:moveTo>
                    <a:pt x="9794" y="12499"/>
                  </a:moveTo>
                  <a:cubicBezTo>
                    <a:pt x="9796" y="12505"/>
                    <a:pt x="9796" y="12505"/>
                    <a:pt x="9796" y="12505"/>
                  </a:cubicBezTo>
                  <a:cubicBezTo>
                    <a:pt x="9868" y="12483"/>
                    <a:pt x="9868" y="12483"/>
                    <a:pt x="9868" y="12483"/>
                  </a:cubicBezTo>
                  <a:cubicBezTo>
                    <a:pt x="9823" y="12338"/>
                    <a:pt x="9823" y="12338"/>
                    <a:pt x="9823" y="12338"/>
                  </a:cubicBezTo>
                  <a:cubicBezTo>
                    <a:pt x="9751" y="12360"/>
                    <a:pt x="9751" y="12360"/>
                    <a:pt x="9751" y="12360"/>
                  </a:cubicBezTo>
                  <a:lnTo>
                    <a:pt x="9794" y="12499"/>
                  </a:lnTo>
                  <a:close/>
                  <a:moveTo>
                    <a:pt x="9852" y="12474"/>
                  </a:moveTo>
                  <a:cubicBezTo>
                    <a:pt x="9804" y="12489"/>
                    <a:pt x="9804" y="12489"/>
                    <a:pt x="9804" y="12489"/>
                  </a:cubicBezTo>
                  <a:cubicBezTo>
                    <a:pt x="9767" y="12369"/>
                    <a:pt x="9767" y="12369"/>
                    <a:pt x="9767" y="12369"/>
                  </a:cubicBezTo>
                  <a:cubicBezTo>
                    <a:pt x="9815" y="12354"/>
                    <a:pt x="9815" y="12354"/>
                    <a:pt x="9815" y="12354"/>
                  </a:cubicBezTo>
                  <a:lnTo>
                    <a:pt x="9852" y="12474"/>
                  </a:lnTo>
                  <a:close/>
                  <a:moveTo>
                    <a:pt x="9547" y="12368"/>
                  </a:moveTo>
                  <a:cubicBezTo>
                    <a:pt x="9589" y="12507"/>
                    <a:pt x="9589" y="12507"/>
                    <a:pt x="9589" y="12507"/>
                  </a:cubicBezTo>
                  <a:cubicBezTo>
                    <a:pt x="9591" y="12513"/>
                    <a:pt x="9591" y="12513"/>
                    <a:pt x="9591" y="12513"/>
                  </a:cubicBezTo>
                  <a:cubicBezTo>
                    <a:pt x="9664" y="12491"/>
                    <a:pt x="9664" y="12491"/>
                    <a:pt x="9664" y="12491"/>
                  </a:cubicBezTo>
                  <a:cubicBezTo>
                    <a:pt x="9619" y="12346"/>
                    <a:pt x="9619" y="12346"/>
                    <a:pt x="9619" y="12346"/>
                  </a:cubicBezTo>
                  <a:lnTo>
                    <a:pt x="9547" y="12368"/>
                  </a:lnTo>
                  <a:close/>
                  <a:moveTo>
                    <a:pt x="9600" y="12497"/>
                  </a:moveTo>
                  <a:cubicBezTo>
                    <a:pt x="9563" y="12377"/>
                    <a:pt x="9563" y="12377"/>
                    <a:pt x="9563" y="12377"/>
                  </a:cubicBezTo>
                  <a:cubicBezTo>
                    <a:pt x="9610" y="12362"/>
                    <a:pt x="9610" y="12362"/>
                    <a:pt x="9610" y="12362"/>
                  </a:cubicBezTo>
                  <a:cubicBezTo>
                    <a:pt x="9647" y="12482"/>
                    <a:pt x="9647" y="12482"/>
                    <a:pt x="9647" y="12482"/>
                  </a:cubicBezTo>
                  <a:lnTo>
                    <a:pt x="9600" y="12497"/>
                  </a:lnTo>
                  <a:close/>
                  <a:moveTo>
                    <a:pt x="9442" y="12401"/>
                  </a:moveTo>
                  <a:cubicBezTo>
                    <a:pt x="9485" y="12539"/>
                    <a:pt x="9485" y="12539"/>
                    <a:pt x="9485" y="12539"/>
                  </a:cubicBezTo>
                  <a:cubicBezTo>
                    <a:pt x="9487" y="12546"/>
                    <a:pt x="9487" y="12546"/>
                    <a:pt x="9487" y="12546"/>
                  </a:cubicBezTo>
                  <a:cubicBezTo>
                    <a:pt x="9560" y="12523"/>
                    <a:pt x="9560" y="12523"/>
                    <a:pt x="9560" y="12523"/>
                  </a:cubicBezTo>
                  <a:cubicBezTo>
                    <a:pt x="9515" y="12378"/>
                    <a:pt x="9515" y="12378"/>
                    <a:pt x="9515" y="12378"/>
                  </a:cubicBezTo>
                  <a:lnTo>
                    <a:pt x="9442" y="12401"/>
                  </a:lnTo>
                  <a:close/>
                  <a:moveTo>
                    <a:pt x="9496" y="12529"/>
                  </a:moveTo>
                  <a:cubicBezTo>
                    <a:pt x="9459" y="12410"/>
                    <a:pt x="9459" y="12410"/>
                    <a:pt x="9459" y="12410"/>
                  </a:cubicBezTo>
                  <a:cubicBezTo>
                    <a:pt x="9506" y="12395"/>
                    <a:pt x="9506" y="12395"/>
                    <a:pt x="9506" y="12395"/>
                  </a:cubicBezTo>
                  <a:cubicBezTo>
                    <a:pt x="9543" y="12515"/>
                    <a:pt x="9543" y="12515"/>
                    <a:pt x="9543" y="12515"/>
                  </a:cubicBezTo>
                  <a:lnTo>
                    <a:pt x="9496" y="12529"/>
                  </a:lnTo>
                  <a:close/>
                  <a:moveTo>
                    <a:pt x="9385" y="12771"/>
                  </a:moveTo>
                  <a:cubicBezTo>
                    <a:pt x="9387" y="12777"/>
                    <a:pt x="9387" y="12777"/>
                    <a:pt x="9387" y="12777"/>
                  </a:cubicBezTo>
                  <a:cubicBezTo>
                    <a:pt x="9459" y="12755"/>
                    <a:pt x="9459" y="12755"/>
                    <a:pt x="9459" y="12755"/>
                  </a:cubicBezTo>
                  <a:cubicBezTo>
                    <a:pt x="9415" y="12610"/>
                    <a:pt x="9415" y="12610"/>
                    <a:pt x="9415" y="12610"/>
                  </a:cubicBezTo>
                  <a:cubicBezTo>
                    <a:pt x="9342" y="12632"/>
                    <a:pt x="9342" y="12632"/>
                    <a:pt x="9342" y="12632"/>
                  </a:cubicBezTo>
                  <a:lnTo>
                    <a:pt x="9385" y="12771"/>
                  </a:lnTo>
                  <a:close/>
                  <a:moveTo>
                    <a:pt x="9443" y="12746"/>
                  </a:moveTo>
                  <a:cubicBezTo>
                    <a:pt x="9396" y="12761"/>
                    <a:pt x="9396" y="12761"/>
                    <a:pt x="9396" y="12761"/>
                  </a:cubicBezTo>
                  <a:cubicBezTo>
                    <a:pt x="9359" y="12641"/>
                    <a:pt x="9359" y="12641"/>
                    <a:pt x="9359" y="12641"/>
                  </a:cubicBezTo>
                  <a:cubicBezTo>
                    <a:pt x="9406" y="12627"/>
                    <a:pt x="9406" y="12627"/>
                    <a:pt x="9406" y="12627"/>
                  </a:cubicBezTo>
                  <a:lnTo>
                    <a:pt x="9443" y="12746"/>
                  </a:lnTo>
                  <a:close/>
                  <a:moveTo>
                    <a:pt x="7589" y="7234"/>
                  </a:moveTo>
                  <a:cubicBezTo>
                    <a:pt x="7642" y="7179"/>
                    <a:pt x="7642" y="7179"/>
                    <a:pt x="7642" y="7179"/>
                  </a:cubicBezTo>
                  <a:cubicBezTo>
                    <a:pt x="7587" y="7127"/>
                    <a:pt x="7587" y="7127"/>
                    <a:pt x="7587" y="7127"/>
                  </a:cubicBezTo>
                  <a:cubicBezTo>
                    <a:pt x="7638" y="7074"/>
                    <a:pt x="7638" y="7074"/>
                    <a:pt x="7638" y="7074"/>
                  </a:cubicBezTo>
                  <a:cubicBezTo>
                    <a:pt x="7537" y="6976"/>
                    <a:pt x="7537" y="6976"/>
                    <a:pt x="7537" y="6976"/>
                  </a:cubicBezTo>
                  <a:cubicBezTo>
                    <a:pt x="7470" y="7045"/>
                    <a:pt x="7470" y="7045"/>
                    <a:pt x="7470" y="7045"/>
                  </a:cubicBezTo>
                  <a:cubicBezTo>
                    <a:pt x="7474" y="7050"/>
                    <a:pt x="7474" y="7050"/>
                    <a:pt x="7474" y="7050"/>
                  </a:cubicBezTo>
                  <a:cubicBezTo>
                    <a:pt x="7483" y="7058"/>
                    <a:pt x="7483" y="7058"/>
                    <a:pt x="7483" y="7058"/>
                  </a:cubicBezTo>
                  <a:cubicBezTo>
                    <a:pt x="7448" y="7094"/>
                    <a:pt x="7448" y="7094"/>
                    <a:pt x="7448" y="7094"/>
                  </a:cubicBezTo>
                  <a:cubicBezTo>
                    <a:pt x="7584" y="7229"/>
                    <a:pt x="7584" y="7229"/>
                    <a:pt x="7584" y="7229"/>
                  </a:cubicBezTo>
                  <a:lnTo>
                    <a:pt x="7589" y="7234"/>
                  </a:lnTo>
                  <a:close/>
                  <a:moveTo>
                    <a:pt x="7501" y="7058"/>
                  </a:moveTo>
                  <a:cubicBezTo>
                    <a:pt x="7497" y="7053"/>
                    <a:pt x="7497" y="7053"/>
                    <a:pt x="7497" y="7053"/>
                  </a:cubicBezTo>
                  <a:cubicBezTo>
                    <a:pt x="7488" y="7045"/>
                    <a:pt x="7488" y="7045"/>
                    <a:pt x="7488" y="7045"/>
                  </a:cubicBezTo>
                  <a:cubicBezTo>
                    <a:pt x="7537" y="6994"/>
                    <a:pt x="7537" y="6994"/>
                    <a:pt x="7537" y="6994"/>
                  </a:cubicBezTo>
                  <a:cubicBezTo>
                    <a:pt x="7620" y="7074"/>
                    <a:pt x="7620" y="7074"/>
                    <a:pt x="7620" y="7074"/>
                  </a:cubicBezTo>
                  <a:cubicBezTo>
                    <a:pt x="7569" y="7127"/>
                    <a:pt x="7569" y="7127"/>
                    <a:pt x="7569" y="7127"/>
                  </a:cubicBezTo>
                  <a:cubicBezTo>
                    <a:pt x="7623" y="7180"/>
                    <a:pt x="7623" y="7180"/>
                    <a:pt x="7623" y="7180"/>
                  </a:cubicBezTo>
                  <a:cubicBezTo>
                    <a:pt x="7589" y="7215"/>
                    <a:pt x="7589" y="7215"/>
                    <a:pt x="7589" y="7215"/>
                  </a:cubicBezTo>
                  <a:cubicBezTo>
                    <a:pt x="7467" y="7094"/>
                    <a:pt x="7467" y="7094"/>
                    <a:pt x="7467" y="7094"/>
                  </a:cubicBezTo>
                  <a:lnTo>
                    <a:pt x="7501" y="7058"/>
                  </a:lnTo>
                  <a:close/>
                  <a:moveTo>
                    <a:pt x="9491" y="16163"/>
                  </a:moveTo>
                  <a:cubicBezTo>
                    <a:pt x="9399" y="16193"/>
                    <a:pt x="9399" y="16193"/>
                    <a:pt x="9399" y="16193"/>
                  </a:cubicBezTo>
                  <a:cubicBezTo>
                    <a:pt x="9401" y="16199"/>
                    <a:pt x="9401" y="16199"/>
                    <a:pt x="9401" y="16199"/>
                  </a:cubicBezTo>
                  <a:cubicBezTo>
                    <a:pt x="9405" y="16210"/>
                    <a:pt x="9405" y="16210"/>
                    <a:pt x="9405" y="16210"/>
                  </a:cubicBezTo>
                  <a:cubicBezTo>
                    <a:pt x="9358" y="16226"/>
                    <a:pt x="9358" y="16226"/>
                    <a:pt x="9358" y="16226"/>
                  </a:cubicBezTo>
                  <a:cubicBezTo>
                    <a:pt x="9414" y="16409"/>
                    <a:pt x="9414" y="16409"/>
                    <a:pt x="9414" y="16409"/>
                  </a:cubicBezTo>
                  <a:cubicBezTo>
                    <a:pt x="9416" y="16415"/>
                    <a:pt x="9416" y="16415"/>
                    <a:pt x="9416" y="16415"/>
                  </a:cubicBezTo>
                  <a:cubicBezTo>
                    <a:pt x="9488" y="16392"/>
                    <a:pt x="9488" y="16392"/>
                    <a:pt x="9488" y="16392"/>
                  </a:cubicBezTo>
                  <a:cubicBezTo>
                    <a:pt x="9465" y="16320"/>
                    <a:pt x="9465" y="16320"/>
                    <a:pt x="9465" y="16320"/>
                  </a:cubicBezTo>
                  <a:cubicBezTo>
                    <a:pt x="9534" y="16298"/>
                    <a:pt x="9534" y="16298"/>
                    <a:pt x="9534" y="16298"/>
                  </a:cubicBezTo>
                  <a:lnTo>
                    <a:pt x="9491" y="16163"/>
                  </a:lnTo>
                  <a:close/>
                  <a:moveTo>
                    <a:pt x="9471" y="16384"/>
                  </a:moveTo>
                  <a:cubicBezTo>
                    <a:pt x="9424" y="16399"/>
                    <a:pt x="9424" y="16399"/>
                    <a:pt x="9424" y="16399"/>
                  </a:cubicBezTo>
                  <a:cubicBezTo>
                    <a:pt x="9374" y="16234"/>
                    <a:pt x="9374" y="16234"/>
                    <a:pt x="9374" y="16234"/>
                  </a:cubicBezTo>
                  <a:cubicBezTo>
                    <a:pt x="9421" y="16219"/>
                    <a:pt x="9421" y="16219"/>
                    <a:pt x="9421" y="16219"/>
                  </a:cubicBezTo>
                  <a:cubicBezTo>
                    <a:pt x="9419" y="16213"/>
                    <a:pt x="9419" y="16213"/>
                    <a:pt x="9419" y="16213"/>
                  </a:cubicBezTo>
                  <a:cubicBezTo>
                    <a:pt x="9416" y="16202"/>
                    <a:pt x="9416" y="16202"/>
                    <a:pt x="9416" y="16202"/>
                  </a:cubicBezTo>
                  <a:cubicBezTo>
                    <a:pt x="9483" y="16180"/>
                    <a:pt x="9483" y="16180"/>
                    <a:pt x="9483" y="16180"/>
                  </a:cubicBezTo>
                  <a:cubicBezTo>
                    <a:pt x="9518" y="16289"/>
                    <a:pt x="9518" y="16289"/>
                    <a:pt x="9518" y="16289"/>
                  </a:cubicBezTo>
                  <a:cubicBezTo>
                    <a:pt x="9448" y="16312"/>
                    <a:pt x="9448" y="16312"/>
                    <a:pt x="9448" y="16312"/>
                  </a:cubicBezTo>
                  <a:lnTo>
                    <a:pt x="9471" y="16384"/>
                  </a:lnTo>
                  <a:close/>
                  <a:moveTo>
                    <a:pt x="3703" y="15997"/>
                  </a:moveTo>
                  <a:cubicBezTo>
                    <a:pt x="3763" y="16031"/>
                    <a:pt x="3763" y="16031"/>
                    <a:pt x="3763" y="16031"/>
                  </a:cubicBezTo>
                  <a:cubicBezTo>
                    <a:pt x="3769" y="16035"/>
                    <a:pt x="3769" y="16035"/>
                    <a:pt x="3769" y="16035"/>
                  </a:cubicBezTo>
                  <a:cubicBezTo>
                    <a:pt x="3866" y="15861"/>
                    <a:pt x="3866" y="15861"/>
                    <a:pt x="3866" y="15861"/>
                  </a:cubicBezTo>
                  <a:cubicBezTo>
                    <a:pt x="3823" y="15836"/>
                    <a:pt x="3823" y="15836"/>
                    <a:pt x="3823" y="15836"/>
                  </a:cubicBezTo>
                  <a:cubicBezTo>
                    <a:pt x="3832" y="15821"/>
                    <a:pt x="3832" y="15821"/>
                    <a:pt x="3832" y="15821"/>
                  </a:cubicBezTo>
                  <a:cubicBezTo>
                    <a:pt x="3748" y="15772"/>
                    <a:pt x="3748" y="15772"/>
                    <a:pt x="3748" y="15772"/>
                  </a:cubicBezTo>
                  <a:cubicBezTo>
                    <a:pt x="3678" y="15895"/>
                    <a:pt x="3678" y="15895"/>
                    <a:pt x="3678" y="15895"/>
                  </a:cubicBezTo>
                  <a:cubicBezTo>
                    <a:pt x="3741" y="15931"/>
                    <a:pt x="3741" y="15931"/>
                    <a:pt x="3741" y="15931"/>
                  </a:cubicBezTo>
                  <a:lnTo>
                    <a:pt x="3703" y="15997"/>
                  </a:lnTo>
                  <a:close/>
                  <a:moveTo>
                    <a:pt x="3696" y="15890"/>
                  </a:moveTo>
                  <a:cubicBezTo>
                    <a:pt x="3753" y="15790"/>
                    <a:pt x="3753" y="15790"/>
                    <a:pt x="3753" y="15790"/>
                  </a:cubicBezTo>
                  <a:cubicBezTo>
                    <a:pt x="3814" y="15825"/>
                    <a:pt x="3814" y="15825"/>
                    <a:pt x="3814" y="15825"/>
                  </a:cubicBezTo>
                  <a:cubicBezTo>
                    <a:pt x="3805" y="15841"/>
                    <a:pt x="3805" y="15841"/>
                    <a:pt x="3805" y="15841"/>
                  </a:cubicBezTo>
                  <a:cubicBezTo>
                    <a:pt x="3848" y="15866"/>
                    <a:pt x="3848" y="15866"/>
                    <a:pt x="3848" y="15866"/>
                  </a:cubicBezTo>
                  <a:cubicBezTo>
                    <a:pt x="3764" y="16017"/>
                    <a:pt x="3764" y="16017"/>
                    <a:pt x="3764" y="16017"/>
                  </a:cubicBezTo>
                  <a:cubicBezTo>
                    <a:pt x="3721" y="15992"/>
                    <a:pt x="3721" y="15992"/>
                    <a:pt x="3721" y="15992"/>
                  </a:cubicBezTo>
                  <a:cubicBezTo>
                    <a:pt x="3759" y="15926"/>
                    <a:pt x="3759" y="15926"/>
                    <a:pt x="3759" y="15926"/>
                  </a:cubicBezTo>
                  <a:lnTo>
                    <a:pt x="3696" y="15890"/>
                  </a:lnTo>
                  <a:close/>
                  <a:moveTo>
                    <a:pt x="6057" y="13841"/>
                  </a:moveTo>
                  <a:cubicBezTo>
                    <a:pt x="6063" y="13842"/>
                    <a:pt x="6063" y="13842"/>
                    <a:pt x="6063" y="13842"/>
                  </a:cubicBezTo>
                  <a:cubicBezTo>
                    <a:pt x="6065" y="13766"/>
                    <a:pt x="6065" y="13766"/>
                    <a:pt x="6065" y="13766"/>
                  </a:cubicBezTo>
                  <a:cubicBezTo>
                    <a:pt x="5989" y="13764"/>
                    <a:pt x="5989" y="13764"/>
                    <a:pt x="5989" y="13764"/>
                  </a:cubicBezTo>
                  <a:cubicBezTo>
                    <a:pt x="5991" y="13691"/>
                    <a:pt x="5991" y="13691"/>
                    <a:pt x="5991" y="13691"/>
                  </a:cubicBezTo>
                  <a:cubicBezTo>
                    <a:pt x="5850" y="13688"/>
                    <a:pt x="5850" y="13688"/>
                    <a:pt x="5850" y="13688"/>
                  </a:cubicBezTo>
                  <a:cubicBezTo>
                    <a:pt x="5848" y="13784"/>
                    <a:pt x="5848" y="13784"/>
                    <a:pt x="5848" y="13784"/>
                  </a:cubicBezTo>
                  <a:cubicBezTo>
                    <a:pt x="5854" y="13784"/>
                    <a:pt x="5854" y="13784"/>
                    <a:pt x="5854" y="13784"/>
                  </a:cubicBezTo>
                  <a:cubicBezTo>
                    <a:pt x="5866" y="13785"/>
                    <a:pt x="5866" y="13785"/>
                    <a:pt x="5866" y="13785"/>
                  </a:cubicBezTo>
                  <a:cubicBezTo>
                    <a:pt x="5865" y="13834"/>
                    <a:pt x="5865" y="13834"/>
                    <a:pt x="5865" y="13834"/>
                  </a:cubicBezTo>
                  <a:lnTo>
                    <a:pt x="6057" y="13841"/>
                  </a:lnTo>
                  <a:close/>
                  <a:moveTo>
                    <a:pt x="5861" y="13771"/>
                  </a:moveTo>
                  <a:cubicBezTo>
                    <a:pt x="5863" y="13701"/>
                    <a:pt x="5863" y="13701"/>
                    <a:pt x="5863" y="13701"/>
                  </a:cubicBezTo>
                  <a:cubicBezTo>
                    <a:pt x="5978" y="13704"/>
                    <a:pt x="5978" y="13704"/>
                    <a:pt x="5978" y="13704"/>
                  </a:cubicBezTo>
                  <a:cubicBezTo>
                    <a:pt x="5976" y="13777"/>
                    <a:pt x="5976" y="13777"/>
                    <a:pt x="5976" y="13777"/>
                  </a:cubicBezTo>
                  <a:cubicBezTo>
                    <a:pt x="6052" y="13778"/>
                    <a:pt x="6052" y="13778"/>
                    <a:pt x="6052" y="13778"/>
                  </a:cubicBezTo>
                  <a:cubicBezTo>
                    <a:pt x="6050" y="13828"/>
                    <a:pt x="6050" y="13828"/>
                    <a:pt x="6050" y="13828"/>
                  </a:cubicBezTo>
                  <a:cubicBezTo>
                    <a:pt x="5878" y="13822"/>
                    <a:pt x="5878" y="13822"/>
                    <a:pt x="5878" y="13822"/>
                  </a:cubicBezTo>
                  <a:cubicBezTo>
                    <a:pt x="5879" y="13772"/>
                    <a:pt x="5879" y="13772"/>
                    <a:pt x="5879" y="13772"/>
                  </a:cubicBezTo>
                  <a:cubicBezTo>
                    <a:pt x="5873" y="13772"/>
                    <a:pt x="5873" y="13772"/>
                    <a:pt x="5873" y="13772"/>
                  </a:cubicBezTo>
                  <a:lnTo>
                    <a:pt x="5861" y="13771"/>
                  </a:lnTo>
                  <a:close/>
                  <a:moveTo>
                    <a:pt x="6702" y="13067"/>
                  </a:moveTo>
                  <a:cubicBezTo>
                    <a:pt x="6562" y="13058"/>
                    <a:pt x="6562" y="13058"/>
                    <a:pt x="6562" y="13058"/>
                  </a:cubicBezTo>
                  <a:cubicBezTo>
                    <a:pt x="6556" y="13155"/>
                    <a:pt x="6556" y="13155"/>
                    <a:pt x="6556" y="13155"/>
                  </a:cubicBezTo>
                  <a:cubicBezTo>
                    <a:pt x="6562" y="13155"/>
                    <a:pt x="6562" y="13155"/>
                    <a:pt x="6562" y="13155"/>
                  </a:cubicBezTo>
                  <a:cubicBezTo>
                    <a:pt x="6574" y="13156"/>
                    <a:pt x="6574" y="13156"/>
                    <a:pt x="6574" y="13156"/>
                  </a:cubicBezTo>
                  <a:cubicBezTo>
                    <a:pt x="6571" y="13205"/>
                    <a:pt x="6571" y="13205"/>
                    <a:pt x="6571" y="13205"/>
                  </a:cubicBezTo>
                  <a:cubicBezTo>
                    <a:pt x="6762" y="13220"/>
                    <a:pt x="6762" y="13220"/>
                    <a:pt x="6762" y="13220"/>
                  </a:cubicBezTo>
                  <a:cubicBezTo>
                    <a:pt x="6769" y="13220"/>
                    <a:pt x="6769" y="13220"/>
                    <a:pt x="6769" y="13220"/>
                  </a:cubicBezTo>
                  <a:cubicBezTo>
                    <a:pt x="6773" y="13144"/>
                    <a:pt x="6773" y="13144"/>
                    <a:pt x="6773" y="13144"/>
                  </a:cubicBezTo>
                  <a:cubicBezTo>
                    <a:pt x="6698" y="13140"/>
                    <a:pt x="6698" y="13140"/>
                    <a:pt x="6698" y="13140"/>
                  </a:cubicBezTo>
                  <a:lnTo>
                    <a:pt x="6702" y="13067"/>
                  </a:lnTo>
                  <a:close/>
                  <a:moveTo>
                    <a:pt x="6760" y="13157"/>
                  </a:moveTo>
                  <a:cubicBezTo>
                    <a:pt x="6757" y="13206"/>
                    <a:pt x="6757" y="13206"/>
                    <a:pt x="6757" y="13206"/>
                  </a:cubicBezTo>
                  <a:cubicBezTo>
                    <a:pt x="6585" y="13193"/>
                    <a:pt x="6585" y="13193"/>
                    <a:pt x="6585" y="13193"/>
                  </a:cubicBezTo>
                  <a:cubicBezTo>
                    <a:pt x="6588" y="13143"/>
                    <a:pt x="6588" y="13143"/>
                    <a:pt x="6588" y="13143"/>
                  </a:cubicBezTo>
                  <a:cubicBezTo>
                    <a:pt x="6581" y="13143"/>
                    <a:pt x="6581" y="13143"/>
                    <a:pt x="6581" y="13143"/>
                  </a:cubicBezTo>
                  <a:cubicBezTo>
                    <a:pt x="6570" y="13142"/>
                    <a:pt x="6570" y="13142"/>
                    <a:pt x="6570" y="13142"/>
                  </a:cubicBezTo>
                  <a:cubicBezTo>
                    <a:pt x="6574" y="13072"/>
                    <a:pt x="6574" y="13072"/>
                    <a:pt x="6574" y="13072"/>
                  </a:cubicBezTo>
                  <a:cubicBezTo>
                    <a:pt x="6689" y="13079"/>
                    <a:pt x="6689" y="13079"/>
                    <a:pt x="6689" y="13079"/>
                  </a:cubicBezTo>
                  <a:cubicBezTo>
                    <a:pt x="6684" y="13152"/>
                    <a:pt x="6684" y="13152"/>
                    <a:pt x="6684" y="13152"/>
                  </a:cubicBezTo>
                  <a:lnTo>
                    <a:pt x="6760" y="13157"/>
                  </a:lnTo>
                  <a:close/>
                  <a:moveTo>
                    <a:pt x="3662" y="10407"/>
                  </a:moveTo>
                  <a:cubicBezTo>
                    <a:pt x="3664" y="10414"/>
                    <a:pt x="3664" y="10414"/>
                    <a:pt x="3664" y="10414"/>
                  </a:cubicBezTo>
                  <a:cubicBezTo>
                    <a:pt x="3736" y="10390"/>
                    <a:pt x="3736" y="10390"/>
                    <a:pt x="3736" y="10390"/>
                  </a:cubicBezTo>
                  <a:cubicBezTo>
                    <a:pt x="3712" y="10318"/>
                    <a:pt x="3712" y="10318"/>
                    <a:pt x="3712" y="10318"/>
                  </a:cubicBezTo>
                  <a:cubicBezTo>
                    <a:pt x="3782" y="10295"/>
                    <a:pt x="3782" y="10295"/>
                    <a:pt x="3782" y="10295"/>
                  </a:cubicBezTo>
                  <a:cubicBezTo>
                    <a:pt x="3737" y="10161"/>
                    <a:pt x="3737" y="10161"/>
                    <a:pt x="3737" y="10161"/>
                  </a:cubicBezTo>
                  <a:cubicBezTo>
                    <a:pt x="3645" y="10192"/>
                    <a:pt x="3645" y="10192"/>
                    <a:pt x="3645" y="10192"/>
                  </a:cubicBezTo>
                  <a:cubicBezTo>
                    <a:pt x="3648" y="10198"/>
                    <a:pt x="3648" y="10198"/>
                    <a:pt x="3648" y="10198"/>
                  </a:cubicBezTo>
                  <a:cubicBezTo>
                    <a:pt x="3651" y="10209"/>
                    <a:pt x="3651" y="10209"/>
                    <a:pt x="3651" y="10209"/>
                  </a:cubicBezTo>
                  <a:cubicBezTo>
                    <a:pt x="3604" y="10224"/>
                    <a:pt x="3604" y="10224"/>
                    <a:pt x="3604" y="10224"/>
                  </a:cubicBezTo>
                  <a:lnTo>
                    <a:pt x="3662" y="10407"/>
                  </a:lnTo>
                  <a:close/>
                  <a:moveTo>
                    <a:pt x="3666" y="10211"/>
                  </a:moveTo>
                  <a:cubicBezTo>
                    <a:pt x="3662" y="10200"/>
                    <a:pt x="3662" y="10200"/>
                    <a:pt x="3662" y="10200"/>
                  </a:cubicBezTo>
                  <a:cubicBezTo>
                    <a:pt x="3729" y="10178"/>
                    <a:pt x="3729" y="10178"/>
                    <a:pt x="3729" y="10178"/>
                  </a:cubicBezTo>
                  <a:cubicBezTo>
                    <a:pt x="3765" y="10287"/>
                    <a:pt x="3765" y="10287"/>
                    <a:pt x="3765" y="10287"/>
                  </a:cubicBezTo>
                  <a:cubicBezTo>
                    <a:pt x="3696" y="10310"/>
                    <a:pt x="3696" y="10310"/>
                    <a:pt x="3696" y="10310"/>
                  </a:cubicBezTo>
                  <a:cubicBezTo>
                    <a:pt x="3719" y="10382"/>
                    <a:pt x="3719" y="10382"/>
                    <a:pt x="3719" y="10382"/>
                  </a:cubicBezTo>
                  <a:cubicBezTo>
                    <a:pt x="3672" y="10397"/>
                    <a:pt x="3672" y="10397"/>
                    <a:pt x="3672" y="10397"/>
                  </a:cubicBezTo>
                  <a:cubicBezTo>
                    <a:pt x="3621" y="10233"/>
                    <a:pt x="3621" y="10233"/>
                    <a:pt x="3621" y="10233"/>
                  </a:cubicBezTo>
                  <a:cubicBezTo>
                    <a:pt x="3668" y="10217"/>
                    <a:pt x="3668" y="10217"/>
                    <a:pt x="3668" y="10217"/>
                  </a:cubicBezTo>
                  <a:lnTo>
                    <a:pt x="3666" y="10211"/>
                  </a:lnTo>
                  <a:close/>
                  <a:moveTo>
                    <a:pt x="4390" y="9447"/>
                  </a:moveTo>
                  <a:cubicBezTo>
                    <a:pt x="4460" y="9424"/>
                    <a:pt x="4460" y="9424"/>
                    <a:pt x="4460" y="9424"/>
                  </a:cubicBezTo>
                  <a:cubicBezTo>
                    <a:pt x="4415" y="9290"/>
                    <a:pt x="4415" y="9290"/>
                    <a:pt x="4415" y="9290"/>
                  </a:cubicBezTo>
                  <a:cubicBezTo>
                    <a:pt x="4323" y="9321"/>
                    <a:pt x="4323" y="9321"/>
                    <a:pt x="4323" y="9321"/>
                  </a:cubicBezTo>
                  <a:cubicBezTo>
                    <a:pt x="4326" y="9327"/>
                    <a:pt x="4326" y="9327"/>
                    <a:pt x="4326" y="9327"/>
                  </a:cubicBezTo>
                  <a:cubicBezTo>
                    <a:pt x="4329" y="9338"/>
                    <a:pt x="4329" y="9338"/>
                    <a:pt x="4329" y="9338"/>
                  </a:cubicBezTo>
                  <a:cubicBezTo>
                    <a:pt x="4282" y="9354"/>
                    <a:pt x="4282" y="9354"/>
                    <a:pt x="4282" y="9354"/>
                  </a:cubicBezTo>
                  <a:cubicBezTo>
                    <a:pt x="4340" y="9537"/>
                    <a:pt x="4340" y="9537"/>
                    <a:pt x="4340" y="9537"/>
                  </a:cubicBezTo>
                  <a:cubicBezTo>
                    <a:pt x="4342" y="9543"/>
                    <a:pt x="4342" y="9543"/>
                    <a:pt x="4342" y="9543"/>
                  </a:cubicBezTo>
                  <a:cubicBezTo>
                    <a:pt x="4414" y="9519"/>
                    <a:pt x="4414" y="9519"/>
                    <a:pt x="4414" y="9519"/>
                  </a:cubicBezTo>
                  <a:lnTo>
                    <a:pt x="4390" y="9447"/>
                  </a:lnTo>
                  <a:close/>
                  <a:moveTo>
                    <a:pt x="4299" y="9362"/>
                  </a:moveTo>
                  <a:cubicBezTo>
                    <a:pt x="4346" y="9346"/>
                    <a:pt x="4346" y="9346"/>
                    <a:pt x="4346" y="9346"/>
                  </a:cubicBezTo>
                  <a:cubicBezTo>
                    <a:pt x="4344" y="9340"/>
                    <a:pt x="4344" y="9340"/>
                    <a:pt x="4344" y="9340"/>
                  </a:cubicBezTo>
                  <a:cubicBezTo>
                    <a:pt x="4340" y="9329"/>
                    <a:pt x="4340" y="9329"/>
                    <a:pt x="4340" y="9329"/>
                  </a:cubicBezTo>
                  <a:cubicBezTo>
                    <a:pt x="4407" y="9307"/>
                    <a:pt x="4407" y="9307"/>
                    <a:pt x="4407" y="9307"/>
                  </a:cubicBezTo>
                  <a:cubicBezTo>
                    <a:pt x="4443" y="9416"/>
                    <a:pt x="4443" y="9416"/>
                    <a:pt x="4443" y="9416"/>
                  </a:cubicBezTo>
                  <a:cubicBezTo>
                    <a:pt x="4374" y="9439"/>
                    <a:pt x="4374" y="9439"/>
                    <a:pt x="4374" y="9439"/>
                  </a:cubicBezTo>
                  <a:cubicBezTo>
                    <a:pt x="4397" y="9511"/>
                    <a:pt x="4397" y="9511"/>
                    <a:pt x="4397" y="9511"/>
                  </a:cubicBezTo>
                  <a:cubicBezTo>
                    <a:pt x="4350" y="9526"/>
                    <a:pt x="4350" y="9526"/>
                    <a:pt x="4350" y="9526"/>
                  </a:cubicBezTo>
                  <a:lnTo>
                    <a:pt x="4299" y="9362"/>
                  </a:lnTo>
                  <a:close/>
                  <a:moveTo>
                    <a:pt x="7246" y="13129"/>
                  </a:moveTo>
                  <a:cubicBezTo>
                    <a:pt x="7265" y="13131"/>
                    <a:pt x="7265" y="13131"/>
                    <a:pt x="7265" y="13131"/>
                  </a:cubicBezTo>
                  <a:cubicBezTo>
                    <a:pt x="7273" y="13035"/>
                    <a:pt x="7273" y="13035"/>
                    <a:pt x="7273" y="13035"/>
                  </a:cubicBezTo>
                  <a:cubicBezTo>
                    <a:pt x="7132" y="13022"/>
                    <a:pt x="7132" y="13022"/>
                    <a:pt x="7132" y="13022"/>
                  </a:cubicBezTo>
                  <a:cubicBezTo>
                    <a:pt x="7126" y="13095"/>
                    <a:pt x="7126" y="13095"/>
                    <a:pt x="7126" y="13095"/>
                  </a:cubicBezTo>
                  <a:cubicBezTo>
                    <a:pt x="7051" y="13089"/>
                    <a:pt x="7051" y="13089"/>
                    <a:pt x="7051" y="13089"/>
                  </a:cubicBezTo>
                  <a:cubicBezTo>
                    <a:pt x="7045" y="13158"/>
                    <a:pt x="7045" y="13158"/>
                    <a:pt x="7045" y="13158"/>
                  </a:cubicBezTo>
                  <a:cubicBezTo>
                    <a:pt x="7044" y="13164"/>
                    <a:pt x="7044" y="13164"/>
                    <a:pt x="7044" y="13164"/>
                  </a:cubicBezTo>
                  <a:cubicBezTo>
                    <a:pt x="7242" y="13179"/>
                    <a:pt x="7242" y="13179"/>
                    <a:pt x="7242" y="13179"/>
                  </a:cubicBezTo>
                  <a:lnTo>
                    <a:pt x="7246" y="13129"/>
                  </a:lnTo>
                  <a:close/>
                  <a:moveTo>
                    <a:pt x="7230" y="13165"/>
                  </a:moveTo>
                  <a:cubicBezTo>
                    <a:pt x="7058" y="13152"/>
                    <a:pt x="7058" y="13152"/>
                    <a:pt x="7058" y="13152"/>
                  </a:cubicBezTo>
                  <a:cubicBezTo>
                    <a:pt x="7063" y="13103"/>
                    <a:pt x="7063" y="13103"/>
                    <a:pt x="7063" y="13103"/>
                  </a:cubicBezTo>
                  <a:cubicBezTo>
                    <a:pt x="7138" y="13110"/>
                    <a:pt x="7138" y="13110"/>
                    <a:pt x="7138" y="13110"/>
                  </a:cubicBezTo>
                  <a:cubicBezTo>
                    <a:pt x="7144" y="13037"/>
                    <a:pt x="7144" y="13037"/>
                    <a:pt x="7144" y="13037"/>
                  </a:cubicBezTo>
                  <a:cubicBezTo>
                    <a:pt x="7259" y="13047"/>
                    <a:pt x="7259" y="13047"/>
                    <a:pt x="7259" y="13047"/>
                  </a:cubicBezTo>
                  <a:cubicBezTo>
                    <a:pt x="7253" y="13117"/>
                    <a:pt x="7253" y="13117"/>
                    <a:pt x="7253" y="13117"/>
                  </a:cubicBezTo>
                  <a:cubicBezTo>
                    <a:pt x="7234" y="13115"/>
                    <a:pt x="7234" y="13115"/>
                    <a:pt x="7234" y="13115"/>
                  </a:cubicBezTo>
                  <a:lnTo>
                    <a:pt x="7230" y="13165"/>
                  </a:lnTo>
                  <a:close/>
                  <a:moveTo>
                    <a:pt x="6762" y="12620"/>
                  </a:moveTo>
                  <a:cubicBezTo>
                    <a:pt x="6622" y="12607"/>
                    <a:pt x="6622" y="12607"/>
                    <a:pt x="6622" y="12607"/>
                  </a:cubicBezTo>
                  <a:cubicBezTo>
                    <a:pt x="6613" y="12703"/>
                    <a:pt x="6613" y="12703"/>
                    <a:pt x="6613" y="12703"/>
                  </a:cubicBezTo>
                  <a:cubicBezTo>
                    <a:pt x="6619" y="12704"/>
                    <a:pt x="6619" y="12704"/>
                    <a:pt x="6619" y="12704"/>
                  </a:cubicBezTo>
                  <a:cubicBezTo>
                    <a:pt x="6631" y="12705"/>
                    <a:pt x="6631" y="12705"/>
                    <a:pt x="6631" y="12705"/>
                  </a:cubicBezTo>
                  <a:cubicBezTo>
                    <a:pt x="6626" y="12754"/>
                    <a:pt x="6626" y="12754"/>
                    <a:pt x="6626" y="12754"/>
                  </a:cubicBezTo>
                  <a:cubicBezTo>
                    <a:pt x="6817" y="12775"/>
                    <a:pt x="6817" y="12775"/>
                    <a:pt x="6817" y="12775"/>
                  </a:cubicBezTo>
                  <a:cubicBezTo>
                    <a:pt x="6824" y="12775"/>
                    <a:pt x="6824" y="12775"/>
                    <a:pt x="6824" y="12775"/>
                  </a:cubicBezTo>
                  <a:cubicBezTo>
                    <a:pt x="6831" y="12700"/>
                    <a:pt x="6831" y="12700"/>
                    <a:pt x="6831" y="12700"/>
                  </a:cubicBezTo>
                  <a:cubicBezTo>
                    <a:pt x="6755" y="12693"/>
                    <a:pt x="6755" y="12693"/>
                    <a:pt x="6755" y="12693"/>
                  </a:cubicBezTo>
                  <a:lnTo>
                    <a:pt x="6762" y="12620"/>
                  </a:lnTo>
                  <a:close/>
                  <a:moveTo>
                    <a:pt x="6816" y="12712"/>
                  </a:moveTo>
                  <a:cubicBezTo>
                    <a:pt x="6812" y="12761"/>
                    <a:pt x="6812" y="12761"/>
                    <a:pt x="6812" y="12761"/>
                  </a:cubicBezTo>
                  <a:cubicBezTo>
                    <a:pt x="6641" y="12743"/>
                    <a:pt x="6641" y="12743"/>
                    <a:pt x="6641" y="12743"/>
                  </a:cubicBezTo>
                  <a:cubicBezTo>
                    <a:pt x="6645" y="12693"/>
                    <a:pt x="6645" y="12693"/>
                    <a:pt x="6645" y="12693"/>
                  </a:cubicBezTo>
                  <a:cubicBezTo>
                    <a:pt x="6639" y="12693"/>
                    <a:pt x="6639" y="12693"/>
                    <a:pt x="6639" y="12693"/>
                  </a:cubicBezTo>
                  <a:cubicBezTo>
                    <a:pt x="6627" y="12691"/>
                    <a:pt x="6627" y="12691"/>
                    <a:pt x="6627" y="12691"/>
                  </a:cubicBezTo>
                  <a:cubicBezTo>
                    <a:pt x="6633" y="12621"/>
                    <a:pt x="6633" y="12621"/>
                    <a:pt x="6633" y="12621"/>
                  </a:cubicBezTo>
                  <a:cubicBezTo>
                    <a:pt x="6748" y="12632"/>
                    <a:pt x="6748" y="12632"/>
                    <a:pt x="6748" y="12632"/>
                  </a:cubicBezTo>
                  <a:cubicBezTo>
                    <a:pt x="6741" y="12705"/>
                    <a:pt x="6741" y="12705"/>
                    <a:pt x="6741" y="12705"/>
                  </a:cubicBezTo>
                  <a:lnTo>
                    <a:pt x="6816" y="12712"/>
                  </a:lnTo>
                  <a:close/>
                  <a:moveTo>
                    <a:pt x="6864" y="11714"/>
                  </a:moveTo>
                  <a:cubicBezTo>
                    <a:pt x="6724" y="11701"/>
                    <a:pt x="6724" y="11701"/>
                    <a:pt x="6724" y="11701"/>
                  </a:cubicBezTo>
                  <a:cubicBezTo>
                    <a:pt x="6715" y="11797"/>
                    <a:pt x="6715" y="11797"/>
                    <a:pt x="6715" y="11797"/>
                  </a:cubicBezTo>
                  <a:cubicBezTo>
                    <a:pt x="6722" y="11798"/>
                    <a:pt x="6722" y="11798"/>
                    <a:pt x="6722" y="11798"/>
                  </a:cubicBezTo>
                  <a:cubicBezTo>
                    <a:pt x="6733" y="11799"/>
                    <a:pt x="6733" y="11799"/>
                    <a:pt x="6733" y="11799"/>
                  </a:cubicBezTo>
                  <a:cubicBezTo>
                    <a:pt x="6729" y="11848"/>
                    <a:pt x="6729" y="11848"/>
                    <a:pt x="6729" y="11848"/>
                  </a:cubicBezTo>
                  <a:cubicBezTo>
                    <a:pt x="6920" y="11869"/>
                    <a:pt x="6920" y="11869"/>
                    <a:pt x="6920" y="11869"/>
                  </a:cubicBezTo>
                  <a:cubicBezTo>
                    <a:pt x="6926" y="11869"/>
                    <a:pt x="6926" y="11869"/>
                    <a:pt x="6926" y="11869"/>
                  </a:cubicBezTo>
                  <a:cubicBezTo>
                    <a:pt x="6933" y="11794"/>
                    <a:pt x="6933" y="11794"/>
                    <a:pt x="6933" y="11794"/>
                  </a:cubicBezTo>
                  <a:cubicBezTo>
                    <a:pt x="6858" y="11787"/>
                    <a:pt x="6858" y="11787"/>
                    <a:pt x="6858" y="11787"/>
                  </a:cubicBezTo>
                  <a:lnTo>
                    <a:pt x="6864" y="11714"/>
                  </a:lnTo>
                  <a:close/>
                  <a:moveTo>
                    <a:pt x="6919" y="11806"/>
                  </a:moveTo>
                  <a:cubicBezTo>
                    <a:pt x="6914" y="11855"/>
                    <a:pt x="6914" y="11855"/>
                    <a:pt x="6914" y="11855"/>
                  </a:cubicBezTo>
                  <a:cubicBezTo>
                    <a:pt x="6743" y="11837"/>
                    <a:pt x="6743" y="11837"/>
                    <a:pt x="6743" y="11837"/>
                  </a:cubicBezTo>
                  <a:cubicBezTo>
                    <a:pt x="6748" y="11787"/>
                    <a:pt x="6748" y="11787"/>
                    <a:pt x="6748" y="11787"/>
                  </a:cubicBezTo>
                  <a:cubicBezTo>
                    <a:pt x="6741" y="11787"/>
                    <a:pt x="6741" y="11787"/>
                    <a:pt x="6741" y="11787"/>
                  </a:cubicBezTo>
                  <a:cubicBezTo>
                    <a:pt x="6729" y="11785"/>
                    <a:pt x="6729" y="11785"/>
                    <a:pt x="6729" y="11785"/>
                  </a:cubicBezTo>
                  <a:cubicBezTo>
                    <a:pt x="6736" y="11715"/>
                    <a:pt x="6736" y="11715"/>
                    <a:pt x="6736" y="11715"/>
                  </a:cubicBezTo>
                  <a:cubicBezTo>
                    <a:pt x="6850" y="11726"/>
                    <a:pt x="6850" y="11726"/>
                    <a:pt x="6850" y="11726"/>
                  </a:cubicBezTo>
                  <a:cubicBezTo>
                    <a:pt x="6844" y="11799"/>
                    <a:pt x="6844" y="11799"/>
                    <a:pt x="6844" y="11799"/>
                  </a:cubicBezTo>
                  <a:lnTo>
                    <a:pt x="6919" y="11806"/>
                  </a:lnTo>
                  <a:close/>
                  <a:moveTo>
                    <a:pt x="7121" y="10135"/>
                  </a:moveTo>
                  <a:cubicBezTo>
                    <a:pt x="7023" y="10034"/>
                    <a:pt x="7023" y="10034"/>
                    <a:pt x="7023" y="10034"/>
                  </a:cubicBezTo>
                  <a:cubicBezTo>
                    <a:pt x="6953" y="10101"/>
                    <a:pt x="6953" y="10101"/>
                    <a:pt x="6953" y="10101"/>
                  </a:cubicBezTo>
                  <a:cubicBezTo>
                    <a:pt x="6958" y="10106"/>
                    <a:pt x="6958" y="10106"/>
                    <a:pt x="6958" y="10106"/>
                  </a:cubicBezTo>
                  <a:cubicBezTo>
                    <a:pt x="6966" y="10115"/>
                    <a:pt x="6966" y="10115"/>
                    <a:pt x="6966" y="10115"/>
                  </a:cubicBezTo>
                  <a:cubicBezTo>
                    <a:pt x="6931" y="10149"/>
                    <a:pt x="6931" y="10149"/>
                    <a:pt x="6931" y="10149"/>
                  </a:cubicBezTo>
                  <a:cubicBezTo>
                    <a:pt x="7062" y="10289"/>
                    <a:pt x="7062" y="10289"/>
                    <a:pt x="7062" y="10289"/>
                  </a:cubicBezTo>
                  <a:cubicBezTo>
                    <a:pt x="7067" y="10293"/>
                    <a:pt x="7067" y="10293"/>
                    <a:pt x="7067" y="10293"/>
                  </a:cubicBezTo>
                  <a:cubicBezTo>
                    <a:pt x="7121" y="10240"/>
                    <a:pt x="7121" y="10240"/>
                    <a:pt x="7121" y="10240"/>
                  </a:cubicBezTo>
                  <a:cubicBezTo>
                    <a:pt x="7069" y="10186"/>
                    <a:pt x="7069" y="10186"/>
                    <a:pt x="7069" y="10186"/>
                  </a:cubicBezTo>
                  <a:lnTo>
                    <a:pt x="7121" y="10135"/>
                  </a:lnTo>
                  <a:close/>
                  <a:moveTo>
                    <a:pt x="7103" y="10240"/>
                  </a:moveTo>
                  <a:cubicBezTo>
                    <a:pt x="7067" y="10275"/>
                    <a:pt x="7067" y="10275"/>
                    <a:pt x="7067" y="10275"/>
                  </a:cubicBezTo>
                  <a:cubicBezTo>
                    <a:pt x="6949" y="10149"/>
                    <a:pt x="6949" y="10149"/>
                    <a:pt x="6949" y="10149"/>
                  </a:cubicBezTo>
                  <a:cubicBezTo>
                    <a:pt x="6985" y="10115"/>
                    <a:pt x="6985" y="10115"/>
                    <a:pt x="6985" y="10115"/>
                  </a:cubicBezTo>
                  <a:cubicBezTo>
                    <a:pt x="6980" y="10110"/>
                    <a:pt x="6980" y="10110"/>
                    <a:pt x="6980" y="10110"/>
                  </a:cubicBezTo>
                  <a:cubicBezTo>
                    <a:pt x="6972" y="10102"/>
                    <a:pt x="6972" y="10102"/>
                    <a:pt x="6972" y="10102"/>
                  </a:cubicBezTo>
                  <a:cubicBezTo>
                    <a:pt x="7022" y="10053"/>
                    <a:pt x="7022" y="10053"/>
                    <a:pt x="7022" y="10053"/>
                  </a:cubicBezTo>
                  <a:cubicBezTo>
                    <a:pt x="7102" y="10135"/>
                    <a:pt x="7102" y="10135"/>
                    <a:pt x="7102" y="10135"/>
                  </a:cubicBezTo>
                  <a:cubicBezTo>
                    <a:pt x="7050" y="10186"/>
                    <a:pt x="7050" y="10186"/>
                    <a:pt x="7050" y="10186"/>
                  </a:cubicBezTo>
                  <a:lnTo>
                    <a:pt x="7103" y="10240"/>
                  </a:lnTo>
                  <a:close/>
                  <a:moveTo>
                    <a:pt x="7328" y="9916"/>
                  </a:moveTo>
                  <a:cubicBezTo>
                    <a:pt x="7230" y="9815"/>
                    <a:pt x="7230" y="9815"/>
                    <a:pt x="7230" y="9815"/>
                  </a:cubicBezTo>
                  <a:cubicBezTo>
                    <a:pt x="7161" y="9883"/>
                    <a:pt x="7161" y="9883"/>
                    <a:pt x="7161" y="9883"/>
                  </a:cubicBezTo>
                  <a:cubicBezTo>
                    <a:pt x="7165" y="9887"/>
                    <a:pt x="7165" y="9887"/>
                    <a:pt x="7165" y="9887"/>
                  </a:cubicBezTo>
                  <a:cubicBezTo>
                    <a:pt x="7173" y="9896"/>
                    <a:pt x="7173" y="9896"/>
                    <a:pt x="7173" y="9896"/>
                  </a:cubicBezTo>
                  <a:cubicBezTo>
                    <a:pt x="7138" y="9930"/>
                    <a:pt x="7138" y="9930"/>
                    <a:pt x="7138" y="9930"/>
                  </a:cubicBezTo>
                  <a:cubicBezTo>
                    <a:pt x="7270" y="10070"/>
                    <a:pt x="7270" y="10070"/>
                    <a:pt x="7270" y="10070"/>
                  </a:cubicBezTo>
                  <a:cubicBezTo>
                    <a:pt x="7274" y="10074"/>
                    <a:pt x="7274" y="10074"/>
                    <a:pt x="7274" y="10074"/>
                  </a:cubicBezTo>
                  <a:cubicBezTo>
                    <a:pt x="7329" y="10022"/>
                    <a:pt x="7329" y="10022"/>
                    <a:pt x="7329" y="10022"/>
                  </a:cubicBezTo>
                  <a:cubicBezTo>
                    <a:pt x="7276" y="9967"/>
                    <a:pt x="7276" y="9967"/>
                    <a:pt x="7276" y="9967"/>
                  </a:cubicBezTo>
                  <a:lnTo>
                    <a:pt x="7328" y="9916"/>
                  </a:lnTo>
                  <a:close/>
                  <a:moveTo>
                    <a:pt x="7310" y="10021"/>
                  </a:moveTo>
                  <a:cubicBezTo>
                    <a:pt x="7275" y="10056"/>
                    <a:pt x="7275" y="10056"/>
                    <a:pt x="7275" y="10056"/>
                  </a:cubicBezTo>
                  <a:cubicBezTo>
                    <a:pt x="7156" y="9931"/>
                    <a:pt x="7156" y="9931"/>
                    <a:pt x="7156" y="9931"/>
                  </a:cubicBezTo>
                  <a:cubicBezTo>
                    <a:pt x="7192" y="9896"/>
                    <a:pt x="7192" y="9896"/>
                    <a:pt x="7192" y="9896"/>
                  </a:cubicBezTo>
                  <a:cubicBezTo>
                    <a:pt x="7187" y="9891"/>
                    <a:pt x="7187" y="9891"/>
                    <a:pt x="7187" y="9891"/>
                  </a:cubicBezTo>
                  <a:cubicBezTo>
                    <a:pt x="7179" y="9883"/>
                    <a:pt x="7179" y="9883"/>
                    <a:pt x="7179" y="9883"/>
                  </a:cubicBezTo>
                  <a:cubicBezTo>
                    <a:pt x="7230" y="9834"/>
                    <a:pt x="7230" y="9834"/>
                    <a:pt x="7230" y="9834"/>
                  </a:cubicBezTo>
                  <a:cubicBezTo>
                    <a:pt x="7310" y="9916"/>
                    <a:pt x="7310" y="9916"/>
                    <a:pt x="7310" y="9916"/>
                  </a:cubicBezTo>
                  <a:cubicBezTo>
                    <a:pt x="7257" y="9967"/>
                    <a:pt x="7257" y="9967"/>
                    <a:pt x="7257" y="9967"/>
                  </a:cubicBezTo>
                  <a:lnTo>
                    <a:pt x="7310" y="10021"/>
                  </a:lnTo>
                  <a:close/>
                  <a:moveTo>
                    <a:pt x="7506" y="9695"/>
                  </a:moveTo>
                  <a:cubicBezTo>
                    <a:pt x="7407" y="9594"/>
                    <a:pt x="7407" y="9594"/>
                    <a:pt x="7407" y="9594"/>
                  </a:cubicBezTo>
                  <a:cubicBezTo>
                    <a:pt x="7338" y="9661"/>
                    <a:pt x="7338" y="9661"/>
                    <a:pt x="7338" y="9661"/>
                  </a:cubicBezTo>
                  <a:cubicBezTo>
                    <a:pt x="7343" y="9666"/>
                    <a:pt x="7343" y="9666"/>
                    <a:pt x="7343" y="9666"/>
                  </a:cubicBezTo>
                  <a:cubicBezTo>
                    <a:pt x="7351" y="9674"/>
                    <a:pt x="7351" y="9674"/>
                    <a:pt x="7351" y="9674"/>
                  </a:cubicBezTo>
                  <a:cubicBezTo>
                    <a:pt x="7315" y="9709"/>
                    <a:pt x="7315" y="9709"/>
                    <a:pt x="7315" y="9709"/>
                  </a:cubicBezTo>
                  <a:cubicBezTo>
                    <a:pt x="7447" y="9848"/>
                    <a:pt x="7447" y="9848"/>
                    <a:pt x="7447" y="9848"/>
                  </a:cubicBezTo>
                  <a:cubicBezTo>
                    <a:pt x="7452" y="9853"/>
                    <a:pt x="7452" y="9853"/>
                    <a:pt x="7452" y="9853"/>
                  </a:cubicBezTo>
                  <a:cubicBezTo>
                    <a:pt x="7506" y="9800"/>
                    <a:pt x="7506" y="9800"/>
                    <a:pt x="7506" y="9800"/>
                  </a:cubicBezTo>
                  <a:cubicBezTo>
                    <a:pt x="7453" y="9746"/>
                    <a:pt x="7453" y="9746"/>
                    <a:pt x="7453" y="9746"/>
                  </a:cubicBezTo>
                  <a:lnTo>
                    <a:pt x="7506" y="9695"/>
                  </a:lnTo>
                  <a:close/>
                  <a:moveTo>
                    <a:pt x="7488" y="9800"/>
                  </a:moveTo>
                  <a:cubicBezTo>
                    <a:pt x="7452" y="9834"/>
                    <a:pt x="7452" y="9834"/>
                    <a:pt x="7452" y="9834"/>
                  </a:cubicBezTo>
                  <a:cubicBezTo>
                    <a:pt x="7334" y="9709"/>
                    <a:pt x="7334" y="9709"/>
                    <a:pt x="7334" y="9709"/>
                  </a:cubicBezTo>
                  <a:cubicBezTo>
                    <a:pt x="7369" y="9675"/>
                    <a:pt x="7369" y="9675"/>
                    <a:pt x="7369" y="9675"/>
                  </a:cubicBezTo>
                  <a:cubicBezTo>
                    <a:pt x="7365" y="9670"/>
                    <a:pt x="7365" y="9670"/>
                    <a:pt x="7365" y="9670"/>
                  </a:cubicBezTo>
                  <a:cubicBezTo>
                    <a:pt x="7357" y="9661"/>
                    <a:pt x="7357" y="9661"/>
                    <a:pt x="7357" y="9661"/>
                  </a:cubicBezTo>
                  <a:cubicBezTo>
                    <a:pt x="7407" y="9612"/>
                    <a:pt x="7407" y="9612"/>
                    <a:pt x="7407" y="9612"/>
                  </a:cubicBezTo>
                  <a:cubicBezTo>
                    <a:pt x="7487" y="9695"/>
                    <a:pt x="7487" y="9695"/>
                    <a:pt x="7487" y="9695"/>
                  </a:cubicBezTo>
                  <a:cubicBezTo>
                    <a:pt x="7435" y="9746"/>
                    <a:pt x="7435" y="9746"/>
                    <a:pt x="7435" y="9746"/>
                  </a:cubicBezTo>
                  <a:lnTo>
                    <a:pt x="7488" y="9800"/>
                  </a:lnTo>
                  <a:close/>
                  <a:moveTo>
                    <a:pt x="7659" y="9443"/>
                  </a:moveTo>
                  <a:cubicBezTo>
                    <a:pt x="7561" y="9342"/>
                    <a:pt x="7561" y="9342"/>
                    <a:pt x="7561" y="9342"/>
                  </a:cubicBezTo>
                  <a:cubicBezTo>
                    <a:pt x="7491" y="9410"/>
                    <a:pt x="7491" y="9410"/>
                    <a:pt x="7491" y="9410"/>
                  </a:cubicBezTo>
                  <a:cubicBezTo>
                    <a:pt x="7496" y="9414"/>
                    <a:pt x="7496" y="9414"/>
                    <a:pt x="7496" y="9414"/>
                  </a:cubicBezTo>
                  <a:cubicBezTo>
                    <a:pt x="7504" y="9423"/>
                    <a:pt x="7504" y="9423"/>
                    <a:pt x="7504" y="9423"/>
                  </a:cubicBezTo>
                  <a:cubicBezTo>
                    <a:pt x="7468" y="9457"/>
                    <a:pt x="7468" y="9457"/>
                    <a:pt x="7468" y="9457"/>
                  </a:cubicBezTo>
                  <a:cubicBezTo>
                    <a:pt x="7600" y="9597"/>
                    <a:pt x="7600" y="9597"/>
                    <a:pt x="7600" y="9597"/>
                  </a:cubicBezTo>
                  <a:cubicBezTo>
                    <a:pt x="7605" y="9602"/>
                    <a:pt x="7605" y="9602"/>
                    <a:pt x="7605" y="9602"/>
                  </a:cubicBezTo>
                  <a:cubicBezTo>
                    <a:pt x="7659" y="9549"/>
                    <a:pt x="7659" y="9549"/>
                    <a:pt x="7659" y="9549"/>
                  </a:cubicBezTo>
                  <a:cubicBezTo>
                    <a:pt x="7606" y="9494"/>
                    <a:pt x="7606" y="9494"/>
                    <a:pt x="7606" y="9494"/>
                  </a:cubicBezTo>
                  <a:lnTo>
                    <a:pt x="7659" y="9443"/>
                  </a:lnTo>
                  <a:close/>
                  <a:moveTo>
                    <a:pt x="7641" y="9548"/>
                  </a:moveTo>
                  <a:cubicBezTo>
                    <a:pt x="7605" y="9583"/>
                    <a:pt x="7605" y="9583"/>
                    <a:pt x="7605" y="9583"/>
                  </a:cubicBezTo>
                  <a:cubicBezTo>
                    <a:pt x="7487" y="9458"/>
                    <a:pt x="7487" y="9458"/>
                    <a:pt x="7487" y="9458"/>
                  </a:cubicBezTo>
                  <a:cubicBezTo>
                    <a:pt x="7523" y="9423"/>
                    <a:pt x="7523" y="9423"/>
                    <a:pt x="7523" y="9423"/>
                  </a:cubicBezTo>
                  <a:cubicBezTo>
                    <a:pt x="7518" y="9418"/>
                    <a:pt x="7518" y="9418"/>
                    <a:pt x="7518" y="9418"/>
                  </a:cubicBezTo>
                  <a:cubicBezTo>
                    <a:pt x="7510" y="9410"/>
                    <a:pt x="7510" y="9410"/>
                    <a:pt x="7510" y="9410"/>
                  </a:cubicBezTo>
                  <a:cubicBezTo>
                    <a:pt x="7560" y="9361"/>
                    <a:pt x="7560" y="9361"/>
                    <a:pt x="7560" y="9361"/>
                  </a:cubicBezTo>
                  <a:cubicBezTo>
                    <a:pt x="7640" y="9443"/>
                    <a:pt x="7640" y="9443"/>
                    <a:pt x="7640" y="9443"/>
                  </a:cubicBezTo>
                  <a:cubicBezTo>
                    <a:pt x="7588" y="9494"/>
                    <a:pt x="7588" y="9494"/>
                    <a:pt x="7588" y="9494"/>
                  </a:cubicBezTo>
                  <a:lnTo>
                    <a:pt x="7641" y="9548"/>
                  </a:lnTo>
                  <a:close/>
                  <a:moveTo>
                    <a:pt x="7801" y="9189"/>
                  </a:moveTo>
                  <a:cubicBezTo>
                    <a:pt x="7703" y="9088"/>
                    <a:pt x="7703" y="9088"/>
                    <a:pt x="7703" y="9088"/>
                  </a:cubicBezTo>
                  <a:cubicBezTo>
                    <a:pt x="7633" y="9156"/>
                    <a:pt x="7633" y="9156"/>
                    <a:pt x="7633" y="9156"/>
                  </a:cubicBezTo>
                  <a:cubicBezTo>
                    <a:pt x="7638" y="9160"/>
                    <a:pt x="7638" y="9160"/>
                    <a:pt x="7638" y="9160"/>
                  </a:cubicBezTo>
                  <a:cubicBezTo>
                    <a:pt x="7646" y="9169"/>
                    <a:pt x="7646" y="9169"/>
                    <a:pt x="7646" y="9169"/>
                  </a:cubicBezTo>
                  <a:cubicBezTo>
                    <a:pt x="7611" y="9203"/>
                    <a:pt x="7611" y="9203"/>
                    <a:pt x="7611" y="9203"/>
                  </a:cubicBezTo>
                  <a:cubicBezTo>
                    <a:pt x="7742" y="9343"/>
                    <a:pt x="7742" y="9343"/>
                    <a:pt x="7742" y="9343"/>
                  </a:cubicBezTo>
                  <a:cubicBezTo>
                    <a:pt x="7747" y="9347"/>
                    <a:pt x="7747" y="9347"/>
                    <a:pt x="7747" y="9347"/>
                  </a:cubicBezTo>
                  <a:cubicBezTo>
                    <a:pt x="7801" y="9295"/>
                    <a:pt x="7801" y="9295"/>
                    <a:pt x="7801" y="9295"/>
                  </a:cubicBezTo>
                  <a:cubicBezTo>
                    <a:pt x="7749" y="9240"/>
                    <a:pt x="7749" y="9240"/>
                    <a:pt x="7749" y="9240"/>
                  </a:cubicBezTo>
                  <a:lnTo>
                    <a:pt x="7801" y="9189"/>
                  </a:lnTo>
                  <a:close/>
                  <a:moveTo>
                    <a:pt x="7783" y="9294"/>
                  </a:moveTo>
                  <a:cubicBezTo>
                    <a:pt x="7747" y="9329"/>
                    <a:pt x="7747" y="9329"/>
                    <a:pt x="7747" y="9329"/>
                  </a:cubicBezTo>
                  <a:cubicBezTo>
                    <a:pt x="7629" y="9204"/>
                    <a:pt x="7629" y="9204"/>
                    <a:pt x="7629" y="9204"/>
                  </a:cubicBezTo>
                  <a:cubicBezTo>
                    <a:pt x="7665" y="9169"/>
                    <a:pt x="7665" y="9169"/>
                    <a:pt x="7665" y="9169"/>
                  </a:cubicBezTo>
                  <a:cubicBezTo>
                    <a:pt x="7660" y="9164"/>
                    <a:pt x="7660" y="9164"/>
                    <a:pt x="7660" y="9164"/>
                  </a:cubicBezTo>
                  <a:cubicBezTo>
                    <a:pt x="7652" y="9156"/>
                    <a:pt x="7652" y="9156"/>
                    <a:pt x="7652" y="9156"/>
                  </a:cubicBezTo>
                  <a:cubicBezTo>
                    <a:pt x="7702" y="9107"/>
                    <a:pt x="7702" y="9107"/>
                    <a:pt x="7702" y="9107"/>
                  </a:cubicBezTo>
                  <a:cubicBezTo>
                    <a:pt x="7782" y="9189"/>
                    <a:pt x="7782" y="9189"/>
                    <a:pt x="7782" y="9189"/>
                  </a:cubicBezTo>
                  <a:cubicBezTo>
                    <a:pt x="7730" y="9240"/>
                    <a:pt x="7730" y="9240"/>
                    <a:pt x="7730" y="9240"/>
                  </a:cubicBezTo>
                  <a:lnTo>
                    <a:pt x="7783" y="9294"/>
                  </a:lnTo>
                  <a:close/>
                  <a:moveTo>
                    <a:pt x="6891" y="11376"/>
                  </a:moveTo>
                  <a:cubicBezTo>
                    <a:pt x="6751" y="11363"/>
                    <a:pt x="6751" y="11363"/>
                    <a:pt x="6751" y="11363"/>
                  </a:cubicBezTo>
                  <a:cubicBezTo>
                    <a:pt x="6742" y="11459"/>
                    <a:pt x="6742" y="11459"/>
                    <a:pt x="6742" y="11459"/>
                  </a:cubicBezTo>
                  <a:cubicBezTo>
                    <a:pt x="6748" y="11460"/>
                    <a:pt x="6748" y="11460"/>
                    <a:pt x="6748" y="11460"/>
                  </a:cubicBezTo>
                  <a:cubicBezTo>
                    <a:pt x="6760" y="11461"/>
                    <a:pt x="6760" y="11461"/>
                    <a:pt x="6760" y="11461"/>
                  </a:cubicBezTo>
                  <a:cubicBezTo>
                    <a:pt x="6756" y="11510"/>
                    <a:pt x="6756" y="11510"/>
                    <a:pt x="6756" y="11510"/>
                  </a:cubicBezTo>
                  <a:cubicBezTo>
                    <a:pt x="6946" y="11530"/>
                    <a:pt x="6946" y="11530"/>
                    <a:pt x="6946" y="11530"/>
                  </a:cubicBezTo>
                  <a:cubicBezTo>
                    <a:pt x="6953" y="11531"/>
                    <a:pt x="6953" y="11531"/>
                    <a:pt x="6953" y="11531"/>
                  </a:cubicBezTo>
                  <a:cubicBezTo>
                    <a:pt x="6960" y="11456"/>
                    <a:pt x="6960" y="11456"/>
                    <a:pt x="6960" y="11456"/>
                  </a:cubicBezTo>
                  <a:cubicBezTo>
                    <a:pt x="6884" y="11449"/>
                    <a:pt x="6884" y="11449"/>
                    <a:pt x="6884" y="11449"/>
                  </a:cubicBezTo>
                  <a:lnTo>
                    <a:pt x="6891" y="11376"/>
                  </a:lnTo>
                  <a:close/>
                  <a:moveTo>
                    <a:pt x="6946" y="11467"/>
                  </a:moveTo>
                  <a:cubicBezTo>
                    <a:pt x="6941" y="11517"/>
                    <a:pt x="6941" y="11517"/>
                    <a:pt x="6941" y="11517"/>
                  </a:cubicBezTo>
                  <a:cubicBezTo>
                    <a:pt x="6770" y="11498"/>
                    <a:pt x="6770" y="11498"/>
                    <a:pt x="6770" y="11498"/>
                  </a:cubicBezTo>
                  <a:cubicBezTo>
                    <a:pt x="6774" y="11449"/>
                    <a:pt x="6774" y="11449"/>
                    <a:pt x="6774" y="11449"/>
                  </a:cubicBezTo>
                  <a:cubicBezTo>
                    <a:pt x="6768" y="11448"/>
                    <a:pt x="6768" y="11448"/>
                    <a:pt x="6768" y="11448"/>
                  </a:cubicBezTo>
                  <a:cubicBezTo>
                    <a:pt x="6756" y="11447"/>
                    <a:pt x="6756" y="11447"/>
                    <a:pt x="6756" y="11447"/>
                  </a:cubicBezTo>
                  <a:cubicBezTo>
                    <a:pt x="6763" y="11377"/>
                    <a:pt x="6763" y="11377"/>
                    <a:pt x="6763" y="11377"/>
                  </a:cubicBezTo>
                  <a:cubicBezTo>
                    <a:pt x="6877" y="11388"/>
                    <a:pt x="6877" y="11388"/>
                    <a:pt x="6877" y="11388"/>
                  </a:cubicBezTo>
                  <a:cubicBezTo>
                    <a:pt x="6870" y="11460"/>
                    <a:pt x="6870" y="11460"/>
                    <a:pt x="6870" y="11460"/>
                  </a:cubicBezTo>
                  <a:lnTo>
                    <a:pt x="6946" y="11467"/>
                  </a:lnTo>
                  <a:close/>
                  <a:moveTo>
                    <a:pt x="7196" y="12624"/>
                  </a:moveTo>
                  <a:cubicBezTo>
                    <a:pt x="7190" y="12697"/>
                    <a:pt x="7190" y="12697"/>
                    <a:pt x="7190" y="12697"/>
                  </a:cubicBezTo>
                  <a:cubicBezTo>
                    <a:pt x="7114" y="12690"/>
                    <a:pt x="7114" y="12690"/>
                    <a:pt x="7114" y="12690"/>
                  </a:cubicBezTo>
                  <a:cubicBezTo>
                    <a:pt x="7108" y="12759"/>
                    <a:pt x="7108" y="12759"/>
                    <a:pt x="7108" y="12759"/>
                  </a:cubicBezTo>
                  <a:cubicBezTo>
                    <a:pt x="7108" y="12766"/>
                    <a:pt x="7108" y="12766"/>
                    <a:pt x="7108" y="12766"/>
                  </a:cubicBezTo>
                  <a:cubicBezTo>
                    <a:pt x="7306" y="12780"/>
                    <a:pt x="7306" y="12780"/>
                    <a:pt x="7306" y="12780"/>
                  </a:cubicBezTo>
                  <a:cubicBezTo>
                    <a:pt x="7310" y="12731"/>
                    <a:pt x="7310" y="12731"/>
                    <a:pt x="7310" y="12731"/>
                  </a:cubicBezTo>
                  <a:cubicBezTo>
                    <a:pt x="7328" y="12732"/>
                    <a:pt x="7328" y="12732"/>
                    <a:pt x="7328" y="12732"/>
                  </a:cubicBezTo>
                  <a:cubicBezTo>
                    <a:pt x="7337" y="12636"/>
                    <a:pt x="7337" y="12636"/>
                    <a:pt x="7337" y="12636"/>
                  </a:cubicBezTo>
                  <a:lnTo>
                    <a:pt x="7196" y="12624"/>
                  </a:lnTo>
                  <a:close/>
                  <a:moveTo>
                    <a:pt x="7316" y="12718"/>
                  </a:moveTo>
                  <a:cubicBezTo>
                    <a:pt x="7298" y="12716"/>
                    <a:pt x="7298" y="12716"/>
                    <a:pt x="7298" y="12716"/>
                  </a:cubicBezTo>
                  <a:cubicBezTo>
                    <a:pt x="7294" y="12766"/>
                    <a:pt x="7294" y="12766"/>
                    <a:pt x="7294" y="12766"/>
                  </a:cubicBezTo>
                  <a:cubicBezTo>
                    <a:pt x="7122" y="12754"/>
                    <a:pt x="7122" y="12754"/>
                    <a:pt x="7122" y="12754"/>
                  </a:cubicBezTo>
                  <a:cubicBezTo>
                    <a:pt x="7126" y="12704"/>
                    <a:pt x="7126" y="12704"/>
                    <a:pt x="7126" y="12704"/>
                  </a:cubicBezTo>
                  <a:cubicBezTo>
                    <a:pt x="7202" y="12711"/>
                    <a:pt x="7202" y="12711"/>
                    <a:pt x="7202" y="12711"/>
                  </a:cubicBezTo>
                  <a:cubicBezTo>
                    <a:pt x="7208" y="12638"/>
                    <a:pt x="7208" y="12638"/>
                    <a:pt x="7208" y="12638"/>
                  </a:cubicBezTo>
                  <a:cubicBezTo>
                    <a:pt x="7322" y="12648"/>
                    <a:pt x="7322" y="12648"/>
                    <a:pt x="7322" y="12648"/>
                  </a:cubicBezTo>
                  <a:lnTo>
                    <a:pt x="7316" y="12718"/>
                  </a:lnTo>
                  <a:close/>
                  <a:moveTo>
                    <a:pt x="7463" y="12397"/>
                  </a:moveTo>
                  <a:cubicBezTo>
                    <a:pt x="7481" y="12398"/>
                    <a:pt x="7481" y="12398"/>
                    <a:pt x="7481" y="12398"/>
                  </a:cubicBezTo>
                  <a:cubicBezTo>
                    <a:pt x="7489" y="12302"/>
                    <a:pt x="7489" y="12302"/>
                    <a:pt x="7489" y="12302"/>
                  </a:cubicBezTo>
                  <a:cubicBezTo>
                    <a:pt x="7349" y="12290"/>
                    <a:pt x="7349" y="12290"/>
                    <a:pt x="7349" y="12290"/>
                  </a:cubicBezTo>
                  <a:cubicBezTo>
                    <a:pt x="7342" y="12363"/>
                    <a:pt x="7342" y="12363"/>
                    <a:pt x="7342" y="12363"/>
                  </a:cubicBezTo>
                  <a:cubicBezTo>
                    <a:pt x="7267" y="12356"/>
                    <a:pt x="7267" y="12356"/>
                    <a:pt x="7267" y="12356"/>
                  </a:cubicBezTo>
                  <a:cubicBezTo>
                    <a:pt x="7261" y="12425"/>
                    <a:pt x="7261" y="12425"/>
                    <a:pt x="7261" y="12425"/>
                  </a:cubicBezTo>
                  <a:cubicBezTo>
                    <a:pt x="7260" y="12432"/>
                    <a:pt x="7260" y="12432"/>
                    <a:pt x="7260" y="12432"/>
                  </a:cubicBezTo>
                  <a:cubicBezTo>
                    <a:pt x="7458" y="12446"/>
                    <a:pt x="7458" y="12446"/>
                    <a:pt x="7458" y="12446"/>
                  </a:cubicBezTo>
                  <a:lnTo>
                    <a:pt x="7463" y="12397"/>
                  </a:lnTo>
                  <a:close/>
                  <a:moveTo>
                    <a:pt x="7446" y="12432"/>
                  </a:moveTo>
                  <a:cubicBezTo>
                    <a:pt x="7275" y="12419"/>
                    <a:pt x="7275" y="12419"/>
                    <a:pt x="7275" y="12419"/>
                  </a:cubicBezTo>
                  <a:cubicBezTo>
                    <a:pt x="7279" y="12370"/>
                    <a:pt x="7279" y="12370"/>
                    <a:pt x="7279" y="12370"/>
                  </a:cubicBezTo>
                  <a:cubicBezTo>
                    <a:pt x="7354" y="12377"/>
                    <a:pt x="7354" y="12377"/>
                    <a:pt x="7354" y="12377"/>
                  </a:cubicBezTo>
                  <a:cubicBezTo>
                    <a:pt x="7361" y="12304"/>
                    <a:pt x="7361" y="12304"/>
                    <a:pt x="7361" y="12304"/>
                  </a:cubicBezTo>
                  <a:cubicBezTo>
                    <a:pt x="7475" y="12314"/>
                    <a:pt x="7475" y="12314"/>
                    <a:pt x="7475" y="12314"/>
                  </a:cubicBezTo>
                  <a:cubicBezTo>
                    <a:pt x="7469" y="12384"/>
                    <a:pt x="7469" y="12384"/>
                    <a:pt x="7469" y="12384"/>
                  </a:cubicBezTo>
                  <a:cubicBezTo>
                    <a:pt x="7451" y="12382"/>
                    <a:pt x="7451" y="12382"/>
                    <a:pt x="7451" y="12382"/>
                  </a:cubicBezTo>
                  <a:lnTo>
                    <a:pt x="7446" y="12432"/>
                  </a:lnTo>
                  <a:close/>
                  <a:moveTo>
                    <a:pt x="7649" y="12065"/>
                  </a:moveTo>
                  <a:cubicBezTo>
                    <a:pt x="7667" y="12066"/>
                    <a:pt x="7667" y="12066"/>
                    <a:pt x="7667" y="12066"/>
                  </a:cubicBezTo>
                  <a:cubicBezTo>
                    <a:pt x="7676" y="11970"/>
                    <a:pt x="7676" y="11970"/>
                    <a:pt x="7676" y="11970"/>
                  </a:cubicBezTo>
                  <a:cubicBezTo>
                    <a:pt x="7535" y="11958"/>
                    <a:pt x="7535" y="11958"/>
                    <a:pt x="7535" y="11958"/>
                  </a:cubicBezTo>
                  <a:cubicBezTo>
                    <a:pt x="7529" y="12030"/>
                    <a:pt x="7529" y="12030"/>
                    <a:pt x="7529" y="12030"/>
                  </a:cubicBezTo>
                  <a:cubicBezTo>
                    <a:pt x="7453" y="12024"/>
                    <a:pt x="7453" y="12024"/>
                    <a:pt x="7453" y="12024"/>
                  </a:cubicBezTo>
                  <a:cubicBezTo>
                    <a:pt x="7448" y="12093"/>
                    <a:pt x="7448" y="12093"/>
                    <a:pt x="7448" y="12093"/>
                  </a:cubicBezTo>
                  <a:cubicBezTo>
                    <a:pt x="7447" y="12100"/>
                    <a:pt x="7447" y="12100"/>
                    <a:pt x="7447" y="12100"/>
                  </a:cubicBezTo>
                  <a:cubicBezTo>
                    <a:pt x="7645" y="12114"/>
                    <a:pt x="7645" y="12114"/>
                    <a:pt x="7645" y="12114"/>
                  </a:cubicBezTo>
                  <a:lnTo>
                    <a:pt x="7649" y="12065"/>
                  </a:lnTo>
                  <a:close/>
                  <a:moveTo>
                    <a:pt x="7633" y="12100"/>
                  </a:moveTo>
                  <a:cubicBezTo>
                    <a:pt x="7461" y="12087"/>
                    <a:pt x="7461" y="12087"/>
                    <a:pt x="7461" y="12087"/>
                  </a:cubicBezTo>
                  <a:cubicBezTo>
                    <a:pt x="7465" y="12038"/>
                    <a:pt x="7465" y="12038"/>
                    <a:pt x="7465" y="12038"/>
                  </a:cubicBezTo>
                  <a:cubicBezTo>
                    <a:pt x="7541" y="12045"/>
                    <a:pt x="7541" y="12045"/>
                    <a:pt x="7541" y="12045"/>
                  </a:cubicBezTo>
                  <a:cubicBezTo>
                    <a:pt x="7547" y="11972"/>
                    <a:pt x="7547" y="11972"/>
                    <a:pt x="7547" y="11972"/>
                  </a:cubicBezTo>
                  <a:cubicBezTo>
                    <a:pt x="7662" y="11982"/>
                    <a:pt x="7662" y="11982"/>
                    <a:pt x="7662" y="11982"/>
                  </a:cubicBezTo>
                  <a:cubicBezTo>
                    <a:pt x="7655" y="12052"/>
                    <a:pt x="7655" y="12052"/>
                    <a:pt x="7655" y="12052"/>
                  </a:cubicBezTo>
                  <a:cubicBezTo>
                    <a:pt x="7637" y="12050"/>
                    <a:pt x="7637" y="12050"/>
                    <a:pt x="7637" y="12050"/>
                  </a:cubicBezTo>
                  <a:lnTo>
                    <a:pt x="7633" y="12100"/>
                  </a:lnTo>
                  <a:close/>
                  <a:moveTo>
                    <a:pt x="7758" y="11769"/>
                  </a:moveTo>
                  <a:cubicBezTo>
                    <a:pt x="7776" y="11771"/>
                    <a:pt x="7776" y="11771"/>
                    <a:pt x="7776" y="11771"/>
                  </a:cubicBezTo>
                  <a:cubicBezTo>
                    <a:pt x="7784" y="11675"/>
                    <a:pt x="7784" y="11675"/>
                    <a:pt x="7784" y="11675"/>
                  </a:cubicBezTo>
                  <a:cubicBezTo>
                    <a:pt x="7644" y="11662"/>
                    <a:pt x="7644" y="11662"/>
                    <a:pt x="7644" y="11662"/>
                  </a:cubicBezTo>
                  <a:cubicBezTo>
                    <a:pt x="7638" y="11735"/>
                    <a:pt x="7638" y="11735"/>
                    <a:pt x="7638" y="11735"/>
                  </a:cubicBezTo>
                  <a:cubicBezTo>
                    <a:pt x="7562" y="11729"/>
                    <a:pt x="7562" y="11729"/>
                    <a:pt x="7562" y="11729"/>
                  </a:cubicBezTo>
                  <a:cubicBezTo>
                    <a:pt x="7556" y="11798"/>
                    <a:pt x="7556" y="11798"/>
                    <a:pt x="7556" y="11798"/>
                  </a:cubicBezTo>
                  <a:cubicBezTo>
                    <a:pt x="7556" y="11804"/>
                    <a:pt x="7556" y="11804"/>
                    <a:pt x="7556" y="11804"/>
                  </a:cubicBezTo>
                  <a:cubicBezTo>
                    <a:pt x="7754" y="11819"/>
                    <a:pt x="7754" y="11819"/>
                    <a:pt x="7754" y="11819"/>
                  </a:cubicBezTo>
                  <a:lnTo>
                    <a:pt x="7758" y="11769"/>
                  </a:lnTo>
                  <a:close/>
                  <a:moveTo>
                    <a:pt x="7742" y="11805"/>
                  </a:moveTo>
                  <a:cubicBezTo>
                    <a:pt x="7570" y="11792"/>
                    <a:pt x="7570" y="11792"/>
                    <a:pt x="7570" y="11792"/>
                  </a:cubicBezTo>
                  <a:cubicBezTo>
                    <a:pt x="7574" y="11743"/>
                    <a:pt x="7574" y="11743"/>
                    <a:pt x="7574" y="11743"/>
                  </a:cubicBezTo>
                  <a:cubicBezTo>
                    <a:pt x="7649" y="11750"/>
                    <a:pt x="7649" y="11750"/>
                    <a:pt x="7649" y="11750"/>
                  </a:cubicBezTo>
                  <a:cubicBezTo>
                    <a:pt x="7656" y="11677"/>
                    <a:pt x="7656" y="11677"/>
                    <a:pt x="7656" y="11677"/>
                  </a:cubicBezTo>
                  <a:cubicBezTo>
                    <a:pt x="7770" y="11687"/>
                    <a:pt x="7770" y="11687"/>
                    <a:pt x="7770" y="11687"/>
                  </a:cubicBezTo>
                  <a:cubicBezTo>
                    <a:pt x="7764" y="11757"/>
                    <a:pt x="7764" y="11757"/>
                    <a:pt x="7764" y="11757"/>
                  </a:cubicBezTo>
                  <a:cubicBezTo>
                    <a:pt x="7746" y="11755"/>
                    <a:pt x="7746" y="11755"/>
                    <a:pt x="7746" y="11755"/>
                  </a:cubicBezTo>
                  <a:lnTo>
                    <a:pt x="7742" y="11805"/>
                  </a:lnTo>
                  <a:close/>
                  <a:moveTo>
                    <a:pt x="3296" y="17064"/>
                  </a:moveTo>
                  <a:cubicBezTo>
                    <a:pt x="3288" y="17073"/>
                    <a:pt x="3288" y="17073"/>
                    <a:pt x="3288" y="17073"/>
                  </a:cubicBezTo>
                  <a:cubicBezTo>
                    <a:pt x="3252" y="17038"/>
                    <a:pt x="3252" y="17038"/>
                    <a:pt x="3252" y="17038"/>
                  </a:cubicBezTo>
                  <a:cubicBezTo>
                    <a:pt x="3116" y="17173"/>
                    <a:pt x="3116" y="17173"/>
                    <a:pt x="3116" y="17173"/>
                  </a:cubicBezTo>
                  <a:cubicBezTo>
                    <a:pt x="3111" y="17178"/>
                    <a:pt x="3111" y="17178"/>
                    <a:pt x="3111" y="17178"/>
                  </a:cubicBezTo>
                  <a:cubicBezTo>
                    <a:pt x="3166" y="17231"/>
                    <a:pt x="3166" y="17231"/>
                    <a:pt x="3166" y="17231"/>
                  </a:cubicBezTo>
                  <a:cubicBezTo>
                    <a:pt x="3219" y="17177"/>
                    <a:pt x="3219" y="17177"/>
                    <a:pt x="3219" y="17177"/>
                  </a:cubicBezTo>
                  <a:cubicBezTo>
                    <a:pt x="3271" y="17228"/>
                    <a:pt x="3271" y="17228"/>
                    <a:pt x="3271" y="17228"/>
                  </a:cubicBezTo>
                  <a:cubicBezTo>
                    <a:pt x="3370" y="17127"/>
                    <a:pt x="3370" y="17127"/>
                    <a:pt x="3370" y="17127"/>
                  </a:cubicBezTo>
                  <a:cubicBezTo>
                    <a:pt x="3301" y="17060"/>
                    <a:pt x="3301" y="17060"/>
                    <a:pt x="3301" y="17060"/>
                  </a:cubicBezTo>
                  <a:lnTo>
                    <a:pt x="3296" y="17064"/>
                  </a:lnTo>
                  <a:close/>
                  <a:moveTo>
                    <a:pt x="3351" y="17128"/>
                  </a:moveTo>
                  <a:cubicBezTo>
                    <a:pt x="3271" y="17210"/>
                    <a:pt x="3271" y="17210"/>
                    <a:pt x="3271" y="17210"/>
                  </a:cubicBezTo>
                  <a:cubicBezTo>
                    <a:pt x="3218" y="17158"/>
                    <a:pt x="3218" y="17158"/>
                    <a:pt x="3218" y="17158"/>
                  </a:cubicBezTo>
                  <a:cubicBezTo>
                    <a:pt x="3165" y="17212"/>
                    <a:pt x="3165" y="17212"/>
                    <a:pt x="3165" y="17212"/>
                  </a:cubicBezTo>
                  <a:cubicBezTo>
                    <a:pt x="3130" y="17178"/>
                    <a:pt x="3130" y="17178"/>
                    <a:pt x="3130" y="17178"/>
                  </a:cubicBezTo>
                  <a:cubicBezTo>
                    <a:pt x="3253" y="17057"/>
                    <a:pt x="3253" y="17057"/>
                    <a:pt x="3253" y="17057"/>
                  </a:cubicBezTo>
                  <a:cubicBezTo>
                    <a:pt x="3288" y="17091"/>
                    <a:pt x="3288" y="17091"/>
                    <a:pt x="3288" y="17091"/>
                  </a:cubicBezTo>
                  <a:cubicBezTo>
                    <a:pt x="3293" y="17087"/>
                    <a:pt x="3293" y="17087"/>
                    <a:pt x="3293" y="17087"/>
                  </a:cubicBezTo>
                  <a:cubicBezTo>
                    <a:pt x="3301" y="17078"/>
                    <a:pt x="3301" y="17078"/>
                    <a:pt x="3301" y="17078"/>
                  </a:cubicBezTo>
                  <a:lnTo>
                    <a:pt x="3351" y="17128"/>
                  </a:lnTo>
                  <a:close/>
                  <a:moveTo>
                    <a:pt x="4922" y="17299"/>
                  </a:moveTo>
                  <a:cubicBezTo>
                    <a:pt x="4838" y="17251"/>
                    <a:pt x="4838" y="17251"/>
                    <a:pt x="4838" y="17251"/>
                  </a:cubicBezTo>
                  <a:cubicBezTo>
                    <a:pt x="4768" y="17374"/>
                    <a:pt x="4768" y="17374"/>
                    <a:pt x="4768" y="17374"/>
                  </a:cubicBezTo>
                  <a:cubicBezTo>
                    <a:pt x="4831" y="17410"/>
                    <a:pt x="4831" y="17410"/>
                    <a:pt x="4831" y="17410"/>
                  </a:cubicBezTo>
                  <a:cubicBezTo>
                    <a:pt x="4794" y="17476"/>
                    <a:pt x="4794" y="17476"/>
                    <a:pt x="4794" y="17476"/>
                  </a:cubicBezTo>
                  <a:cubicBezTo>
                    <a:pt x="4854" y="17510"/>
                    <a:pt x="4854" y="17510"/>
                    <a:pt x="4854" y="17510"/>
                  </a:cubicBezTo>
                  <a:cubicBezTo>
                    <a:pt x="4860" y="17513"/>
                    <a:pt x="4860" y="17513"/>
                    <a:pt x="4860" y="17513"/>
                  </a:cubicBezTo>
                  <a:cubicBezTo>
                    <a:pt x="4956" y="17340"/>
                    <a:pt x="4956" y="17340"/>
                    <a:pt x="4956" y="17340"/>
                  </a:cubicBezTo>
                  <a:cubicBezTo>
                    <a:pt x="4913" y="17315"/>
                    <a:pt x="4913" y="17315"/>
                    <a:pt x="4913" y="17315"/>
                  </a:cubicBezTo>
                  <a:lnTo>
                    <a:pt x="4922" y="17299"/>
                  </a:lnTo>
                  <a:close/>
                  <a:moveTo>
                    <a:pt x="4938" y="17345"/>
                  </a:moveTo>
                  <a:cubicBezTo>
                    <a:pt x="4854" y="17495"/>
                    <a:pt x="4854" y="17495"/>
                    <a:pt x="4854" y="17495"/>
                  </a:cubicBezTo>
                  <a:cubicBezTo>
                    <a:pt x="4812" y="17471"/>
                    <a:pt x="4812" y="17471"/>
                    <a:pt x="4812" y="17471"/>
                  </a:cubicBezTo>
                  <a:cubicBezTo>
                    <a:pt x="4849" y="17405"/>
                    <a:pt x="4849" y="17405"/>
                    <a:pt x="4849" y="17405"/>
                  </a:cubicBezTo>
                  <a:cubicBezTo>
                    <a:pt x="4786" y="17369"/>
                    <a:pt x="4786" y="17369"/>
                    <a:pt x="4786" y="17369"/>
                  </a:cubicBezTo>
                  <a:cubicBezTo>
                    <a:pt x="4843" y="17269"/>
                    <a:pt x="4843" y="17269"/>
                    <a:pt x="4843" y="17269"/>
                  </a:cubicBezTo>
                  <a:cubicBezTo>
                    <a:pt x="4904" y="17304"/>
                    <a:pt x="4904" y="17304"/>
                    <a:pt x="4904" y="17304"/>
                  </a:cubicBezTo>
                  <a:cubicBezTo>
                    <a:pt x="4895" y="17320"/>
                    <a:pt x="4895" y="17320"/>
                    <a:pt x="4895" y="17320"/>
                  </a:cubicBezTo>
                  <a:lnTo>
                    <a:pt x="4938" y="17345"/>
                  </a:lnTo>
                  <a:close/>
                  <a:moveTo>
                    <a:pt x="53" y="12834"/>
                  </a:moveTo>
                  <a:cubicBezTo>
                    <a:pt x="73" y="12740"/>
                    <a:pt x="73" y="12740"/>
                    <a:pt x="73" y="12740"/>
                  </a:cubicBezTo>
                  <a:cubicBezTo>
                    <a:pt x="4" y="12727"/>
                    <a:pt x="4" y="12727"/>
                    <a:pt x="4" y="12727"/>
                  </a:cubicBezTo>
                  <a:cubicBezTo>
                    <a:pt x="4" y="12714"/>
                    <a:pt x="4" y="12714"/>
                    <a:pt x="4" y="12714"/>
                  </a:cubicBezTo>
                  <a:cubicBezTo>
                    <a:pt x="89" y="12729"/>
                    <a:pt x="89" y="12729"/>
                    <a:pt x="89" y="12729"/>
                  </a:cubicBezTo>
                  <a:cubicBezTo>
                    <a:pt x="63" y="12850"/>
                    <a:pt x="63" y="12850"/>
                    <a:pt x="63" y="12850"/>
                  </a:cubicBezTo>
                  <a:cubicBezTo>
                    <a:pt x="57" y="12848"/>
                    <a:pt x="57" y="12848"/>
                    <a:pt x="57" y="12848"/>
                  </a:cubicBezTo>
                  <a:cubicBezTo>
                    <a:pt x="7" y="12839"/>
                    <a:pt x="7" y="12839"/>
                    <a:pt x="7" y="12839"/>
                  </a:cubicBezTo>
                  <a:cubicBezTo>
                    <a:pt x="4" y="12854"/>
                    <a:pt x="4" y="12854"/>
                    <a:pt x="4" y="12854"/>
                  </a:cubicBezTo>
                  <a:cubicBezTo>
                    <a:pt x="4" y="12825"/>
                    <a:pt x="4" y="12825"/>
                    <a:pt x="4" y="12825"/>
                  </a:cubicBezTo>
                  <a:lnTo>
                    <a:pt x="53" y="12834"/>
                  </a:lnTo>
                  <a:close/>
                  <a:moveTo>
                    <a:pt x="2340" y="15266"/>
                  </a:moveTo>
                  <a:cubicBezTo>
                    <a:pt x="2398" y="15265"/>
                    <a:pt x="2398" y="15265"/>
                    <a:pt x="2398" y="15265"/>
                  </a:cubicBezTo>
                  <a:cubicBezTo>
                    <a:pt x="2398" y="15338"/>
                    <a:pt x="2398" y="15338"/>
                    <a:pt x="2398" y="15338"/>
                  </a:cubicBezTo>
                  <a:cubicBezTo>
                    <a:pt x="2508" y="15338"/>
                    <a:pt x="2508" y="15338"/>
                    <a:pt x="2508" y="15338"/>
                  </a:cubicBezTo>
                  <a:cubicBezTo>
                    <a:pt x="2506" y="15152"/>
                    <a:pt x="2506" y="15152"/>
                    <a:pt x="2506" y="15152"/>
                  </a:cubicBezTo>
                  <a:cubicBezTo>
                    <a:pt x="2454" y="15152"/>
                    <a:pt x="2454" y="15152"/>
                    <a:pt x="2454" y="15152"/>
                  </a:cubicBezTo>
                  <a:cubicBezTo>
                    <a:pt x="2454" y="15142"/>
                    <a:pt x="2454" y="15142"/>
                    <a:pt x="2454" y="15142"/>
                  </a:cubicBezTo>
                  <a:cubicBezTo>
                    <a:pt x="2337" y="15143"/>
                    <a:pt x="2337" y="15143"/>
                    <a:pt x="2337" y="15143"/>
                  </a:cubicBezTo>
                  <a:cubicBezTo>
                    <a:pt x="2340" y="15259"/>
                    <a:pt x="2340" y="15259"/>
                    <a:pt x="2340" y="15259"/>
                  </a:cubicBezTo>
                  <a:lnTo>
                    <a:pt x="2340" y="15266"/>
                  </a:lnTo>
                  <a:close/>
                  <a:moveTo>
                    <a:pt x="2441" y="15155"/>
                  </a:moveTo>
                  <a:cubicBezTo>
                    <a:pt x="2441" y="15166"/>
                    <a:pt x="2441" y="15166"/>
                    <a:pt x="2441" y="15166"/>
                  </a:cubicBezTo>
                  <a:cubicBezTo>
                    <a:pt x="2493" y="15165"/>
                    <a:pt x="2493" y="15165"/>
                    <a:pt x="2493" y="15165"/>
                  </a:cubicBezTo>
                  <a:cubicBezTo>
                    <a:pt x="2495" y="15325"/>
                    <a:pt x="2495" y="15325"/>
                    <a:pt x="2495" y="15325"/>
                  </a:cubicBezTo>
                  <a:cubicBezTo>
                    <a:pt x="2411" y="15325"/>
                    <a:pt x="2411" y="15325"/>
                    <a:pt x="2411" y="15325"/>
                  </a:cubicBezTo>
                  <a:cubicBezTo>
                    <a:pt x="2411" y="15252"/>
                    <a:pt x="2411" y="15252"/>
                    <a:pt x="2411" y="15252"/>
                  </a:cubicBezTo>
                  <a:cubicBezTo>
                    <a:pt x="2353" y="15252"/>
                    <a:pt x="2353" y="15252"/>
                    <a:pt x="2353" y="15252"/>
                  </a:cubicBezTo>
                  <a:cubicBezTo>
                    <a:pt x="2350" y="15156"/>
                    <a:pt x="2350" y="15156"/>
                    <a:pt x="2350" y="15156"/>
                  </a:cubicBezTo>
                  <a:lnTo>
                    <a:pt x="2441" y="15155"/>
                  </a:lnTo>
                  <a:close/>
                  <a:moveTo>
                    <a:pt x="4350" y="15869"/>
                  </a:moveTo>
                  <a:cubicBezTo>
                    <a:pt x="4165" y="15860"/>
                    <a:pt x="4165" y="15860"/>
                    <a:pt x="4165" y="15860"/>
                  </a:cubicBezTo>
                  <a:cubicBezTo>
                    <a:pt x="4163" y="15912"/>
                    <a:pt x="4163" y="15912"/>
                    <a:pt x="4163" y="15912"/>
                  </a:cubicBezTo>
                  <a:cubicBezTo>
                    <a:pt x="4152" y="15911"/>
                    <a:pt x="4152" y="15911"/>
                    <a:pt x="4152" y="15911"/>
                  </a:cubicBezTo>
                  <a:cubicBezTo>
                    <a:pt x="4146" y="16029"/>
                    <a:pt x="4146" y="16029"/>
                    <a:pt x="4146" y="16029"/>
                  </a:cubicBezTo>
                  <a:cubicBezTo>
                    <a:pt x="4263" y="16032"/>
                    <a:pt x="4263" y="16032"/>
                    <a:pt x="4263" y="16032"/>
                  </a:cubicBezTo>
                  <a:cubicBezTo>
                    <a:pt x="4269" y="16032"/>
                    <a:pt x="4269" y="16032"/>
                    <a:pt x="4269" y="16032"/>
                  </a:cubicBezTo>
                  <a:cubicBezTo>
                    <a:pt x="4272" y="15975"/>
                    <a:pt x="4272" y="15975"/>
                    <a:pt x="4272" y="15975"/>
                  </a:cubicBezTo>
                  <a:cubicBezTo>
                    <a:pt x="4345" y="15979"/>
                    <a:pt x="4345" y="15979"/>
                    <a:pt x="4345" y="15979"/>
                  </a:cubicBezTo>
                  <a:lnTo>
                    <a:pt x="4350" y="15869"/>
                  </a:lnTo>
                  <a:close/>
                  <a:moveTo>
                    <a:pt x="4333" y="15965"/>
                  </a:moveTo>
                  <a:cubicBezTo>
                    <a:pt x="4259" y="15961"/>
                    <a:pt x="4259" y="15961"/>
                    <a:pt x="4259" y="15961"/>
                  </a:cubicBezTo>
                  <a:cubicBezTo>
                    <a:pt x="4257" y="16019"/>
                    <a:pt x="4257" y="16019"/>
                    <a:pt x="4257" y="16019"/>
                  </a:cubicBezTo>
                  <a:cubicBezTo>
                    <a:pt x="4160" y="16016"/>
                    <a:pt x="4160" y="16016"/>
                    <a:pt x="4160" y="16016"/>
                  </a:cubicBezTo>
                  <a:cubicBezTo>
                    <a:pt x="4165" y="15925"/>
                    <a:pt x="4165" y="15925"/>
                    <a:pt x="4165" y="15925"/>
                  </a:cubicBezTo>
                  <a:cubicBezTo>
                    <a:pt x="4175" y="15926"/>
                    <a:pt x="4175" y="15926"/>
                    <a:pt x="4175" y="15926"/>
                  </a:cubicBezTo>
                  <a:cubicBezTo>
                    <a:pt x="4178" y="15873"/>
                    <a:pt x="4178" y="15873"/>
                    <a:pt x="4178" y="15873"/>
                  </a:cubicBezTo>
                  <a:cubicBezTo>
                    <a:pt x="4337" y="15881"/>
                    <a:pt x="4337" y="15881"/>
                    <a:pt x="4337" y="15881"/>
                  </a:cubicBezTo>
                  <a:lnTo>
                    <a:pt x="4333" y="15965"/>
                  </a:lnTo>
                  <a:close/>
                  <a:moveTo>
                    <a:pt x="3286" y="16324"/>
                  </a:moveTo>
                  <a:cubicBezTo>
                    <a:pt x="3343" y="16324"/>
                    <a:pt x="3343" y="16324"/>
                    <a:pt x="3343" y="16324"/>
                  </a:cubicBezTo>
                  <a:cubicBezTo>
                    <a:pt x="3343" y="16397"/>
                    <a:pt x="3343" y="16397"/>
                    <a:pt x="3343" y="16397"/>
                  </a:cubicBezTo>
                  <a:cubicBezTo>
                    <a:pt x="3453" y="16396"/>
                    <a:pt x="3453" y="16396"/>
                    <a:pt x="3453" y="16396"/>
                  </a:cubicBezTo>
                  <a:cubicBezTo>
                    <a:pt x="3452" y="16211"/>
                    <a:pt x="3452" y="16211"/>
                    <a:pt x="3452" y="16211"/>
                  </a:cubicBezTo>
                  <a:cubicBezTo>
                    <a:pt x="3400" y="16211"/>
                    <a:pt x="3400" y="16211"/>
                    <a:pt x="3400" y="16211"/>
                  </a:cubicBezTo>
                  <a:cubicBezTo>
                    <a:pt x="3399" y="16201"/>
                    <a:pt x="3399" y="16201"/>
                    <a:pt x="3399" y="16201"/>
                  </a:cubicBezTo>
                  <a:cubicBezTo>
                    <a:pt x="3282" y="16201"/>
                    <a:pt x="3282" y="16201"/>
                    <a:pt x="3282" y="16201"/>
                  </a:cubicBezTo>
                  <a:cubicBezTo>
                    <a:pt x="3285" y="16318"/>
                    <a:pt x="3285" y="16318"/>
                    <a:pt x="3285" y="16318"/>
                  </a:cubicBezTo>
                  <a:lnTo>
                    <a:pt x="3286" y="16324"/>
                  </a:lnTo>
                  <a:close/>
                  <a:moveTo>
                    <a:pt x="3386" y="16214"/>
                  </a:moveTo>
                  <a:cubicBezTo>
                    <a:pt x="3387" y="16224"/>
                    <a:pt x="3387" y="16224"/>
                    <a:pt x="3387" y="16224"/>
                  </a:cubicBezTo>
                  <a:cubicBezTo>
                    <a:pt x="3439" y="16224"/>
                    <a:pt x="3439" y="16224"/>
                    <a:pt x="3439" y="16224"/>
                  </a:cubicBezTo>
                  <a:cubicBezTo>
                    <a:pt x="3440" y="16383"/>
                    <a:pt x="3440" y="16383"/>
                    <a:pt x="3440" y="16383"/>
                  </a:cubicBezTo>
                  <a:cubicBezTo>
                    <a:pt x="3356" y="16384"/>
                    <a:pt x="3356" y="16384"/>
                    <a:pt x="3356" y="16384"/>
                  </a:cubicBezTo>
                  <a:cubicBezTo>
                    <a:pt x="3356" y="16311"/>
                    <a:pt x="3356" y="16311"/>
                    <a:pt x="3356" y="16311"/>
                  </a:cubicBezTo>
                  <a:cubicBezTo>
                    <a:pt x="3298" y="16311"/>
                    <a:pt x="3298" y="16311"/>
                    <a:pt x="3298" y="16311"/>
                  </a:cubicBezTo>
                  <a:cubicBezTo>
                    <a:pt x="3295" y="16214"/>
                    <a:pt x="3295" y="16214"/>
                    <a:pt x="3295" y="16214"/>
                  </a:cubicBezTo>
                  <a:lnTo>
                    <a:pt x="3386" y="16214"/>
                  </a:lnTo>
                  <a:close/>
                  <a:moveTo>
                    <a:pt x="6886" y="16914"/>
                  </a:moveTo>
                  <a:cubicBezTo>
                    <a:pt x="6834" y="16914"/>
                    <a:pt x="6834" y="16914"/>
                    <a:pt x="6834" y="16914"/>
                  </a:cubicBezTo>
                  <a:cubicBezTo>
                    <a:pt x="6834" y="16904"/>
                    <a:pt x="6834" y="16904"/>
                    <a:pt x="6834" y="16904"/>
                  </a:cubicBezTo>
                  <a:cubicBezTo>
                    <a:pt x="6716" y="16904"/>
                    <a:pt x="6716" y="16904"/>
                    <a:pt x="6716" y="16904"/>
                  </a:cubicBezTo>
                  <a:cubicBezTo>
                    <a:pt x="6720" y="17021"/>
                    <a:pt x="6720" y="17021"/>
                    <a:pt x="6720" y="17021"/>
                  </a:cubicBezTo>
                  <a:cubicBezTo>
                    <a:pt x="6720" y="17027"/>
                    <a:pt x="6720" y="17027"/>
                    <a:pt x="6720" y="17027"/>
                  </a:cubicBezTo>
                  <a:cubicBezTo>
                    <a:pt x="6777" y="17027"/>
                    <a:pt x="6777" y="17027"/>
                    <a:pt x="6777" y="17027"/>
                  </a:cubicBezTo>
                  <a:cubicBezTo>
                    <a:pt x="6777" y="17100"/>
                    <a:pt x="6777" y="17100"/>
                    <a:pt x="6777" y="17100"/>
                  </a:cubicBezTo>
                  <a:cubicBezTo>
                    <a:pt x="6887" y="17099"/>
                    <a:pt x="6887" y="17099"/>
                    <a:pt x="6887" y="17099"/>
                  </a:cubicBezTo>
                  <a:lnTo>
                    <a:pt x="6886" y="16914"/>
                  </a:lnTo>
                  <a:close/>
                  <a:moveTo>
                    <a:pt x="6791" y="17087"/>
                  </a:moveTo>
                  <a:cubicBezTo>
                    <a:pt x="6790" y="17014"/>
                    <a:pt x="6790" y="17014"/>
                    <a:pt x="6790" y="17014"/>
                  </a:cubicBezTo>
                  <a:cubicBezTo>
                    <a:pt x="6732" y="17014"/>
                    <a:pt x="6732" y="17014"/>
                    <a:pt x="6732" y="17014"/>
                  </a:cubicBezTo>
                  <a:cubicBezTo>
                    <a:pt x="6729" y="16917"/>
                    <a:pt x="6729" y="16917"/>
                    <a:pt x="6729" y="16917"/>
                  </a:cubicBezTo>
                  <a:cubicBezTo>
                    <a:pt x="6821" y="16917"/>
                    <a:pt x="6821" y="16917"/>
                    <a:pt x="6821" y="16917"/>
                  </a:cubicBezTo>
                  <a:cubicBezTo>
                    <a:pt x="6821" y="16927"/>
                    <a:pt x="6821" y="16927"/>
                    <a:pt x="6821" y="16927"/>
                  </a:cubicBezTo>
                  <a:cubicBezTo>
                    <a:pt x="6873" y="16927"/>
                    <a:pt x="6873" y="16927"/>
                    <a:pt x="6873" y="16927"/>
                  </a:cubicBezTo>
                  <a:cubicBezTo>
                    <a:pt x="6874" y="17086"/>
                    <a:pt x="6874" y="17086"/>
                    <a:pt x="6874" y="17086"/>
                  </a:cubicBezTo>
                  <a:lnTo>
                    <a:pt x="6791" y="17087"/>
                  </a:lnTo>
                  <a:close/>
                  <a:moveTo>
                    <a:pt x="7365" y="16078"/>
                  </a:moveTo>
                  <a:cubicBezTo>
                    <a:pt x="7313" y="16078"/>
                    <a:pt x="7313" y="16078"/>
                    <a:pt x="7313" y="16078"/>
                  </a:cubicBezTo>
                  <a:cubicBezTo>
                    <a:pt x="7313" y="16068"/>
                    <a:pt x="7313" y="16068"/>
                    <a:pt x="7313" y="16068"/>
                  </a:cubicBezTo>
                  <a:cubicBezTo>
                    <a:pt x="7195" y="16069"/>
                    <a:pt x="7195" y="16069"/>
                    <a:pt x="7195" y="16069"/>
                  </a:cubicBezTo>
                  <a:cubicBezTo>
                    <a:pt x="7199" y="16185"/>
                    <a:pt x="7199" y="16185"/>
                    <a:pt x="7199" y="16185"/>
                  </a:cubicBezTo>
                  <a:cubicBezTo>
                    <a:pt x="7199" y="16192"/>
                    <a:pt x="7199" y="16192"/>
                    <a:pt x="7199" y="16192"/>
                  </a:cubicBezTo>
                  <a:cubicBezTo>
                    <a:pt x="7256" y="16191"/>
                    <a:pt x="7256" y="16191"/>
                    <a:pt x="7256" y="16191"/>
                  </a:cubicBezTo>
                  <a:cubicBezTo>
                    <a:pt x="7257" y="16264"/>
                    <a:pt x="7257" y="16264"/>
                    <a:pt x="7257" y="16264"/>
                  </a:cubicBezTo>
                  <a:cubicBezTo>
                    <a:pt x="7366" y="16263"/>
                    <a:pt x="7366" y="16263"/>
                    <a:pt x="7366" y="16263"/>
                  </a:cubicBezTo>
                  <a:lnTo>
                    <a:pt x="7365" y="16078"/>
                  </a:lnTo>
                  <a:close/>
                  <a:moveTo>
                    <a:pt x="7270" y="16251"/>
                  </a:moveTo>
                  <a:cubicBezTo>
                    <a:pt x="7269" y="16178"/>
                    <a:pt x="7269" y="16178"/>
                    <a:pt x="7269" y="16178"/>
                  </a:cubicBezTo>
                  <a:cubicBezTo>
                    <a:pt x="7212" y="16178"/>
                    <a:pt x="7212" y="16178"/>
                    <a:pt x="7212" y="16178"/>
                  </a:cubicBezTo>
                  <a:cubicBezTo>
                    <a:pt x="7209" y="16082"/>
                    <a:pt x="7209" y="16082"/>
                    <a:pt x="7209" y="16082"/>
                  </a:cubicBezTo>
                  <a:cubicBezTo>
                    <a:pt x="7300" y="16081"/>
                    <a:pt x="7300" y="16081"/>
                    <a:pt x="7300" y="16081"/>
                  </a:cubicBezTo>
                  <a:cubicBezTo>
                    <a:pt x="7300" y="16092"/>
                    <a:pt x="7300" y="16092"/>
                    <a:pt x="7300" y="16092"/>
                  </a:cubicBezTo>
                  <a:cubicBezTo>
                    <a:pt x="7352" y="16091"/>
                    <a:pt x="7352" y="16091"/>
                    <a:pt x="7352" y="16091"/>
                  </a:cubicBezTo>
                  <a:cubicBezTo>
                    <a:pt x="7353" y="16250"/>
                    <a:pt x="7353" y="16250"/>
                    <a:pt x="7353" y="16250"/>
                  </a:cubicBezTo>
                  <a:lnTo>
                    <a:pt x="7270" y="16251"/>
                  </a:lnTo>
                  <a:close/>
                  <a:moveTo>
                    <a:pt x="6278" y="17154"/>
                  </a:moveTo>
                  <a:cubicBezTo>
                    <a:pt x="6278" y="17144"/>
                    <a:pt x="6278" y="17144"/>
                    <a:pt x="6278" y="17144"/>
                  </a:cubicBezTo>
                  <a:cubicBezTo>
                    <a:pt x="6161" y="17145"/>
                    <a:pt x="6161" y="17145"/>
                    <a:pt x="6161" y="17145"/>
                  </a:cubicBezTo>
                  <a:cubicBezTo>
                    <a:pt x="6164" y="17261"/>
                    <a:pt x="6164" y="17261"/>
                    <a:pt x="6164" y="17261"/>
                  </a:cubicBezTo>
                  <a:cubicBezTo>
                    <a:pt x="6164" y="17267"/>
                    <a:pt x="6164" y="17267"/>
                    <a:pt x="6164" y="17267"/>
                  </a:cubicBezTo>
                  <a:cubicBezTo>
                    <a:pt x="6222" y="17267"/>
                    <a:pt x="6222" y="17267"/>
                    <a:pt x="6222" y="17267"/>
                  </a:cubicBezTo>
                  <a:cubicBezTo>
                    <a:pt x="6222" y="17340"/>
                    <a:pt x="6222" y="17340"/>
                    <a:pt x="6222" y="17340"/>
                  </a:cubicBezTo>
                  <a:cubicBezTo>
                    <a:pt x="6332" y="17339"/>
                    <a:pt x="6332" y="17339"/>
                    <a:pt x="6332" y="17339"/>
                  </a:cubicBezTo>
                  <a:cubicBezTo>
                    <a:pt x="6331" y="17154"/>
                    <a:pt x="6331" y="17154"/>
                    <a:pt x="6331" y="17154"/>
                  </a:cubicBezTo>
                  <a:lnTo>
                    <a:pt x="6278" y="17154"/>
                  </a:lnTo>
                  <a:close/>
                  <a:moveTo>
                    <a:pt x="6235" y="17327"/>
                  </a:moveTo>
                  <a:cubicBezTo>
                    <a:pt x="6235" y="17254"/>
                    <a:pt x="6235" y="17254"/>
                    <a:pt x="6235" y="17254"/>
                  </a:cubicBezTo>
                  <a:cubicBezTo>
                    <a:pt x="6177" y="17254"/>
                    <a:pt x="6177" y="17254"/>
                    <a:pt x="6177" y="17254"/>
                  </a:cubicBezTo>
                  <a:cubicBezTo>
                    <a:pt x="6174" y="17158"/>
                    <a:pt x="6174" y="17158"/>
                    <a:pt x="6174" y="17158"/>
                  </a:cubicBezTo>
                  <a:cubicBezTo>
                    <a:pt x="6265" y="17157"/>
                    <a:pt x="6265" y="17157"/>
                    <a:pt x="6265" y="17157"/>
                  </a:cubicBezTo>
                  <a:cubicBezTo>
                    <a:pt x="6265" y="17167"/>
                    <a:pt x="6265" y="17167"/>
                    <a:pt x="6265" y="17167"/>
                  </a:cubicBezTo>
                  <a:cubicBezTo>
                    <a:pt x="6318" y="17167"/>
                    <a:pt x="6318" y="17167"/>
                    <a:pt x="6318" y="17167"/>
                  </a:cubicBezTo>
                  <a:cubicBezTo>
                    <a:pt x="6319" y="17326"/>
                    <a:pt x="6319" y="17326"/>
                    <a:pt x="6319" y="17326"/>
                  </a:cubicBezTo>
                  <a:lnTo>
                    <a:pt x="6235" y="17327"/>
                  </a:lnTo>
                  <a:close/>
                  <a:moveTo>
                    <a:pt x="6586" y="17257"/>
                  </a:moveTo>
                  <a:cubicBezTo>
                    <a:pt x="6586" y="17261"/>
                    <a:pt x="6586" y="17261"/>
                    <a:pt x="6586" y="17261"/>
                  </a:cubicBezTo>
                  <a:cubicBezTo>
                    <a:pt x="6534" y="17261"/>
                    <a:pt x="6534" y="17261"/>
                    <a:pt x="6534" y="17261"/>
                  </a:cubicBezTo>
                  <a:cubicBezTo>
                    <a:pt x="6533" y="17446"/>
                    <a:pt x="6533" y="17446"/>
                    <a:pt x="6533" y="17446"/>
                  </a:cubicBezTo>
                  <a:cubicBezTo>
                    <a:pt x="6643" y="17447"/>
                    <a:pt x="6643" y="17447"/>
                    <a:pt x="6643" y="17447"/>
                  </a:cubicBezTo>
                  <a:cubicBezTo>
                    <a:pt x="6643" y="17374"/>
                    <a:pt x="6643" y="17374"/>
                    <a:pt x="6643" y="17374"/>
                  </a:cubicBezTo>
                  <a:cubicBezTo>
                    <a:pt x="6694" y="17374"/>
                    <a:pt x="6694" y="17374"/>
                    <a:pt x="6694" y="17374"/>
                  </a:cubicBezTo>
                  <a:cubicBezTo>
                    <a:pt x="6700" y="17374"/>
                    <a:pt x="6700" y="17374"/>
                    <a:pt x="6700" y="17374"/>
                  </a:cubicBezTo>
                  <a:cubicBezTo>
                    <a:pt x="6704" y="17252"/>
                    <a:pt x="6704" y="17252"/>
                    <a:pt x="6704" y="17252"/>
                  </a:cubicBezTo>
                  <a:cubicBezTo>
                    <a:pt x="6586" y="17251"/>
                    <a:pt x="6586" y="17251"/>
                    <a:pt x="6586" y="17251"/>
                  </a:cubicBezTo>
                  <a:lnTo>
                    <a:pt x="6586" y="17257"/>
                  </a:lnTo>
                  <a:close/>
                  <a:moveTo>
                    <a:pt x="6599" y="17268"/>
                  </a:moveTo>
                  <a:cubicBezTo>
                    <a:pt x="6599" y="17264"/>
                    <a:pt x="6599" y="17264"/>
                    <a:pt x="6599" y="17264"/>
                  </a:cubicBezTo>
                  <a:cubicBezTo>
                    <a:pt x="6690" y="17265"/>
                    <a:pt x="6690" y="17265"/>
                    <a:pt x="6690" y="17265"/>
                  </a:cubicBezTo>
                  <a:cubicBezTo>
                    <a:pt x="6688" y="17361"/>
                    <a:pt x="6688" y="17361"/>
                    <a:pt x="6688" y="17361"/>
                  </a:cubicBezTo>
                  <a:cubicBezTo>
                    <a:pt x="6630" y="17361"/>
                    <a:pt x="6630" y="17361"/>
                    <a:pt x="6630" y="17361"/>
                  </a:cubicBezTo>
                  <a:cubicBezTo>
                    <a:pt x="6629" y="17434"/>
                    <a:pt x="6629" y="17434"/>
                    <a:pt x="6629" y="17434"/>
                  </a:cubicBezTo>
                  <a:cubicBezTo>
                    <a:pt x="6546" y="17433"/>
                    <a:pt x="6546" y="17433"/>
                    <a:pt x="6546" y="17433"/>
                  </a:cubicBezTo>
                  <a:cubicBezTo>
                    <a:pt x="6547" y="17274"/>
                    <a:pt x="6547" y="17274"/>
                    <a:pt x="6547" y="17274"/>
                  </a:cubicBezTo>
                  <a:cubicBezTo>
                    <a:pt x="6599" y="17275"/>
                    <a:pt x="6599" y="17275"/>
                    <a:pt x="6599" y="17275"/>
                  </a:cubicBezTo>
                  <a:lnTo>
                    <a:pt x="6599" y="17268"/>
                  </a:lnTo>
                  <a:close/>
                  <a:moveTo>
                    <a:pt x="6905" y="16532"/>
                  </a:moveTo>
                  <a:cubicBezTo>
                    <a:pt x="6905" y="16536"/>
                    <a:pt x="6905" y="16536"/>
                    <a:pt x="6905" y="16536"/>
                  </a:cubicBezTo>
                  <a:cubicBezTo>
                    <a:pt x="6853" y="16535"/>
                    <a:pt x="6853" y="16535"/>
                    <a:pt x="6853" y="16535"/>
                  </a:cubicBezTo>
                  <a:cubicBezTo>
                    <a:pt x="6852" y="16721"/>
                    <a:pt x="6852" y="16721"/>
                    <a:pt x="6852" y="16721"/>
                  </a:cubicBezTo>
                  <a:cubicBezTo>
                    <a:pt x="6962" y="16721"/>
                    <a:pt x="6962" y="16721"/>
                    <a:pt x="6962" y="16721"/>
                  </a:cubicBezTo>
                  <a:cubicBezTo>
                    <a:pt x="6962" y="16648"/>
                    <a:pt x="6962" y="16648"/>
                    <a:pt x="6962" y="16648"/>
                  </a:cubicBezTo>
                  <a:cubicBezTo>
                    <a:pt x="7013" y="16649"/>
                    <a:pt x="7013" y="16649"/>
                    <a:pt x="7013" y="16649"/>
                  </a:cubicBezTo>
                  <a:cubicBezTo>
                    <a:pt x="7019" y="16649"/>
                    <a:pt x="7019" y="16649"/>
                    <a:pt x="7019" y="16649"/>
                  </a:cubicBezTo>
                  <a:cubicBezTo>
                    <a:pt x="7023" y="16526"/>
                    <a:pt x="7023" y="16526"/>
                    <a:pt x="7023" y="16526"/>
                  </a:cubicBezTo>
                  <a:cubicBezTo>
                    <a:pt x="6905" y="16525"/>
                    <a:pt x="6905" y="16525"/>
                    <a:pt x="6905" y="16525"/>
                  </a:cubicBezTo>
                  <a:lnTo>
                    <a:pt x="6905" y="16532"/>
                  </a:lnTo>
                  <a:close/>
                  <a:moveTo>
                    <a:pt x="6918" y="16542"/>
                  </a:moveTo>
                  <a:cubicBezTo>
                    <a:pt x="6918" y="16538"/>
                    <a:pt x="6918" y="16538"/>
                    <a:pt x="6918" y="16538"/>
                  </a:cubicBezTo>
                  <a:cubicBezTo>
                    <a:pt x="7009" y="16539"/>
                    <a:pt x="7009" y="16539"/>
                    <a:pt x="7009" y="16539"/>
                  </a:cubicBezTo>
                  <a:cubicBezTo>
                    <a:pt x="7007" y="16636"/>
                    <a:pt x="7007" y="16636"/>
                    <a:pt x="7007" y="16636"/>
                  </a:cubicBezTo>
                  <a:cubicBezTo>
                    <a:pt x="6949" y="16635"/>
                    <a:pt x="6949" y="16635"/>
                    <a:pt x="6949" y="16635"/>
                  </a:cubicBezTo>
                  <a:cubicBezTo>
                    <a:pt x="6948" y="16708"/>
                    <a:pt x="6948" y="16708"/>
                    <a:pt x="6948" y="16708"/>
                  </a:cubicBezTo>
                  <a:cubicBezTo>
                    <a:pt x="6865" y="16708"/>
                    <a:pt x="6865" y="16708"/>
                    <a:pt x="6865" y="16708"/>
                  </a:cubicBezTo>
                  <a:cubicBezTo>
                    <a:pt x="6866" y="16548"/>
                    <a:pt x="6866" y="16548"/>
                    <a:pt x="6866" y="16548"/>
                  </a:cubicBezTo>
                  <a:cubicBezTo>
                    <a:pt x="6918" y="16549"/>
                    <a:pt x="6918" y="16549"/>
                    <a:pt x="6918" y="16549"/>
                  </a:cubicBezTo>
                  <a:lnTo>
                    <a:pt x="6918" y="16542"/>
                  </a:lnTo>
                  <a:close/>
                  <a:moveTo>
                    <a:pt x="6996" y="15803"/>
                  </a:moveTo>
                  <a:cubicBezTo>
                    <a:pt x="7053" y="15803"/>
                    <a:pt x="7053" y="15803"/>
                    <a:pt x="7053" y="15803"/>
                  </a:cubicBezTo>
                  <a:cubicBezTo>
                    <a:pt x="7054" y="15876"/>
                    <a:pt x="7054" y="15876"/>
                    <a:pt x="7054" y="15876"/>
                  </a:cubicBezTo>
                  <a:cubicBezTo>
                    <a:pt x="7164" y="15875"/>
                    <a:pt x="7164" y="15875"/>
                    <a:pt x="7164" y="15875"/>
                  </a:cubicBezTo>
                  <a:cubicBezTo>
                    <a:pt x="7162" y="15690"/>
                    <a:pt x="7162" y="15690"/>
                    <a:pt x="7162" y="15690"/>
                  </a:cubicBezTo>
                  <a:cubicBezTo>
                    <a:pt x="7110" y="15690"/>
                    <a:pt x="7110" y="15690"/>
                    <a:pt x="7110" y="15690"/>
                  </a:cubicBezTo>
                  <a:cubicBezTo>
                    <a:pt x="7110" y="15680"/>
                    <a:pt x="7110" y="15680"/>
                    <a:pt x="7110" y="15680"/>
                  </a:cubicBezTo>
                  <a:cubicBezTo>
                    <a:pt x="6992" y="15681"/>
                    <a:pt x="6992" y="15681"/>
                    <a:pt x="6992" y="15681"/>
                  </a:cubicBezTo>
                  <a:cubicBezTo>
                    <a:pt x="6996" y="15797"/>
                    <a:pt x="6996" y="15797"/>
                    <a:pt x="6996" y="15797"/>
                  </a:cubicBezTo>
                  <a:lnTo>
                    <a:pt x="6996" y="15803"/>
                  </a:lnTo>
                  <a:close/>
                  <a:moveTo>
                    <a:pt x="7097" y="15693"/>
                  </a:moveTo>
                  <a:cubicBezTo>
                    <a:pt x="7097" y="15703"/>
                    <a:pt x="7097" y="15703"/>
                    <a:pt x="7097" y="15703"/>
                  </a:cubicBezTo>
                  <a:cubicBezTo>
                    <a:pt x="7149" y="15703"/>
                    <a:pt x="7149" y="15703"/>
                    <a:pt x="7149" y="15703"/>
                  </a:cubicBezTo>
                  <a:cubicBezTo>
                    <a:pt x="7150" y="15862"/>
                    <a:pt x="7150" y="15862"/>
                    <a:pt x="7150" y="15862"/>
                  </a:cubicBezTo>
                  <a:cubicBezTo>
                    <a:pt x="7067" y="15863"/>
                    <a:pt x="7067" y="15863"/>
                    <a:pt x="7067" y="15863"/>
                  </a:cubicBezTo>
                  <a:cubicBezTo>
                    <a:pt x="7066" y="15790"/>
                    <a:pt x="7066" y="15790"/>
                    <a:pt x="7066" y="15790"/>
                  </a:cubicBezTo>
                  <a:cubicBezTo>
                    <a:pt x="7009" y="15790"/>
                    <a:pt x="7009" y="15790"/>
                    <a:pt x="7009" y="15790"/>
                  </a:cubicBezTo>
                  <a:cubicBezTo>
                    <a:pt x="7006" y="15694"/>
                    <a:pt x="7006" y="15694"/>
                    <a:pt x="7006" y="15694"/>
                  </a:cubicBezTo>
                  <a:lnTo>
                    <a:pt x="7097" y="15693"/>
                  </a:lnTo>
                  <a:close/>
                  <a:moveTo>
                    <a:pt x="6769" y="14289"/>
                  </a:moveTo>
                  <a:cubicBezTo>
                    <a:pt x="6769" y="14293"/>
                    <a:pt x="6769" y="14293"/>
                    <a:pt x="6769" y="14293"/>
                  </a:cubicBezTo>
                  <a:cubicBezTo>
                    <a:pt x="6717" y="14288"/>
                    <a:pt x="6717" y="14288"/>
                    <a:pt x="6717" y="14288"/>
                  </a:cubicBezTo>
                  <a:cubicBezTo>
                    <a:pt x="6700" y="14472"/>
                    <a:pt x="6700" y="14472"/>
                    <a:pt x="6700" y="14472"/>
                  </a:cubicBezTo>
                  <a:cubicBezTo>
                    <a:pt x="6809" y="14483"/>
                    <a:pt x="6809" y="14483"/>
                    <a:pt x="6809" y="14483"/>
                  </a:cubicBezTo>
                  <a:cubicBezTo>
                    <a:pt x="6816" y="14410"/>
                    <a:pt x="6816" y="14410"/>
                    <a:pt x="6816" y="14410"/>
                  </a:cubicBezTo>
                  <a:cubicBezTo>
                    <a:pt x="6866" y="14415"/>
                    <a:pt x="6866" y="14415"/>
                    <a:pt x="6866" y="14415"/>
                  </a:cubicBezTo>
                  <a:cubicBezTo>
                    <a:pt x="6873" y="14415"/>
                    <a:pt x="6873" y="14415"/>
                    <a:pt x="6873" y="14415"/>
                  </a:cubicBezTo>
                  <a:cubicBezTo>
                    <a:pt x="6887" y="14293"/>
                    <a:pt x="6887" y="14293"/>
                    <a:pt x="6887" y="14293"/>
                  </a:cubicBezTo>
                  <a:cubicBezTo>
                    <a:pt x="6770" y="14282"/>
                    <a:pt x="6770" y="14282"/>
                    <a:pt x="6770" y="14282"/>
                  </a:cubicBezTo>
                  <a:lnTo>
                    <a:pt x="6769" y="14289"/>
                  </a:lnTo>
                  <a:close/>
                  <a:moveTo>
                    <a:pt x="6781" y="14300"/>
                  </a:moveTo>
                  <a:cubicBezTo>
                    <a:pt x="6782" y="14296"/>
                    <a:pt x="6782" y="14296"/>
                    <a:pt x="6782" y="14296"/>
                  </a:cubicBezTo>
                  <a:cubicBezTo>
                    <a:pt x="6873" y="14305"/>
                    <a:pt x="6873" y="14305"/>
                    <a:pt x="6873" y="14305"/>
                  </a:cubicBezTo>
                  <a:cubicBezTo>
                    <a:pt x="6861" y="14401"/>
                    <a:pt x="6861" y="14401"/>
                    <a:pt x="6861" y="14401"/>
                  </a:cubicBezTo>
                  <a:cubicBezTo>
                    <a:pt x="6804" y="14396"/>
                    <a:pt x="6804" y="14396"/>
                    <a:pt x="6804" y="14396"/>
                  </a:cubicBezTo>
                  <a:cubicBezTo>
                    <a:pt x="6797" y="14468"/>
                    <a:pt x="6797" y="14468"/>
                    <a:pt x="6797" y="14468"/>
                  </a:cubicBezTo>
                  <a:cubicBezTo>
                    <a:pt x="6714" y="14460"/>
                    <a:pt x="6714" y="14460"/>
                    <a:pt x="6714" y="14460"/>
                  </a:cubicBezTo>
                  <a:cubicBezTo>
                    <a:pt x="6729" y="14302"/>
                    <a:pt x="6729" y="14302"/>
                    <a:pt x="6729" y="14302"/>
                  </a:cubicBezTo>
                  <a:cubicBezTo>
                    <a:pt x="6781" y="14307"/>
                    <a:pt x="6781" y="14307"/>
                    <a:pt x="6781" y="14307"/>
                  </a:cubicBezTo>
                  <a:lnTo>
                    <a:pt x="6781" y="14300"/>
                  </a:lnTo>
                  <a:close/>
                  <a:moveTo>
                    <a:pt x="6484" y="14296"/>
                  </a:moveTo>
                  <a:cubicBezTo>
                    <a:pt x="6484" y="14300"/>
                    <a:pt x="6484" y="14300"/>
                    <a:pt x="6484" y="14300"/>
                  </a:cubicBezTo>
                  <a:cubicBezTo>
                    <a:pt x="6432" y="14295"/>
                    <a:pt x="6432" y="14295"/>
                    <a:pt x="6432" y="14295"/>
                  </a:cubicBezTo>
                  <a:cubicBezTo>
                    <a:pt x="6414" y="14480"/>
                    <a:pt x="6414" y="14480"/>
                    <a:pt x="6414" y="14480"/>
                  </a:cubicBezTo>
                  <a:cubicBezTo>
                    <a:pt x="6524" y="14490"/>
                    <a:pt x="6524" y="14490"/>
                    <a:pt x="6524" y="14490"/>
                  </a:cubicBezTo>
                  <a:cubicBezTo>
                    <a:pt x="6530" y="14418"/>
                    <a:pt x="6530" y="14418"/>
                    <a:pt x="6530" y="14418"/>
                  </a:cubicBezTo>
                  <a:cubicBezTo>
                    <a:pt x="6581" y="14422"/>
                    <a:pt x="6581" y="14422"/>
                    <a:pt x="6581" y="14422"/>
                  </a:cubicBezTo>
                  <a:cubicBezTo>
                    <a:pt x="6587" y="14423"/>
                    <a:pt x="6587" y="14423"/>
                    <a:pt x="6587" y="14423"/>
                  </a:cubicBezTo>
                  <a:cubicBezTo>
                    <a:pt x="6602" y="14301"/>
                    <a:pt x="6602" y="14301"/>
                    <a:pt x="6602" y="14301"/>
                  </a:cubicBezTo>
                  <a:cubicBezTo>
                    <a:pt x="6485" y="14290"/>
                    <a:pt x="6485" y="14290"/>
                    <a:pt x="6485" y="14290"/>
                  </a:cubicBezTo>
                  <a:lnTo>
                    <a:pt x="6484" y="14296"/>
                  </a:lnTo>
                  <a:close/>
                  <a:moveTo>
                    <a:pt x="6496" y="14308"/>
                  </a:moveTo>
                  <a:cubicBezTo>
                    <a:pt x="6496" y="14304"/>
                    <a:pt x="6496" y="14304"/>
                    <a:pt x="6496" y="14304"/>
                  </a:cubicBezTo>
                  <a:cubicBezTo>
                    <a:pt x="6587" y="14313"/>
                    <a:pt x="6587" y="14313"/>
                    <a:pt x="6587" y="14313"/>
                  </a:cubicBezTo>
                  <a:cubicBezTo>
                    <a:pt x="6576" y="14409"/>
                    <a:pt x="6576" y="14409"/>
                    <a:pt x="6576" y="14409"/>
                  </a:cubicBezTo>
                  <a:cubicBezTo>
                    <a:pt x="6518" y="14403"/>
                    <a:pt x="6518" y="14403"/>
                    <a:pt x="6518" y="14403"/>
                  </a:cubicBezTo>
                  <a:cubicBezTo>
                    <a:pt x="6512" y="14476"/>
                    <a:pt x="6512" y="14476"/>
                    <a:pt x="6512" y="14476"/>
                  </a:cubicBezTo>
                  <a:cubicBezTo>
                    <a:pt x="6429" y="14468"/>
                    <a:pt x="6429" y="14468"/>
                    <a:pt x="6429" y="14468"/>
                  </a:cubicBezTo>
                  <a:cubicBezTo>
                    <a:pt x="6443" y="14310"/>
                    <a:pt x="6443" y="14310"/>
                    <a:pt x="6443" y="14310"/>
                  </a:cubicBezTo>
                  <a:cubicBezTo>
                    <a:pt x="6495" y="14315"/>
                    <a:pt x="6495" y="14315"/>
                    <a:pt x="6495" y="14315"/>
                  </a:cubicBezTo>
                  <a:lnTo>
                    <a:pt x="6496" y="14308"/>
                  </a:lnTo>
                  <a:close/>
                  <a:moveTo>
                    <a:pt x="6266" y="14425"/>
                  </a:moveTo>
                  <a:cubicBezTo>
                    <a:pt x="6316" y="14430"/>
                    <a:pt x="6316" y="14430"/>
                    <a:pt x="6316" y="14430"/>
                  </a:cubicBezTo>
                  <a:cubicBezTo>
                    <a:pt x="6323" y="14431"/>
                    <a:pt x="6323" y="14431"/>
                    <a:pt x="6323" y="14431"/>
                  </a:cubicBezTo>
                  <a:cubicBezTo>
                    <a:pt x="6337" y="14309"/>
                    <a:pt x="6337" y="14309"/>
                    <a:pt x="6337" y="14309"/>
                  </a:cubicBezTo>
                  <a:cubicBezTo>
                    <a:pt x="6220" y="14298"/>
                    <a:pt x="6220" y="14298"/>
                    <a:pt x="6220" y="14298"/>
                  </a:cubicBezTo>
                  <a:cubicBezTo>
                    <a:pt x="6219" y="14304"/>
                    <a:pt x="6219" y="14304"/>
                    <a:pt x="6219" y="14304"/>
                  </a:cubicBezTo>
                  <a:cubicBezTo>
                    <a:pt x="6219" y="14308"/>
                    <a:pt x="6219" y="14308"/>
                    <a:pt x="6219" y="14308"/>
                  </a:cubicBezTo>
                  <a:cubicBezTo>
                    <a:pt x="6167" y="14303"/>
                    <a:pt x="6167" y="14303"/>
                    <a:pt x="6167" y="14303"/>
                  </a:cubicBezTo>
                  <a:cubicBezTo>
                    <a:pt x="6149" y="14488"/>
                    <a:pt x="6149" y="14488"/>
                    <a:pt x="6149" y="14488"/>
                  </a:cubicBezTo>
                  <a:cubicBezTo>
                    <a:pt x="6259" y="14498"/>
                    <a:pt x="6259" y="14498"/>
                    <a:pt x="6259" y="14498"/>
                  </a:cubicBezTo>
                  <a:lnTo>
                    <a:pt x="6266" y="14425"/>
                  </a:lnTo>
                  <a:close/>
                  <a:moveTo>
                    <a:pt x="6247" y="14484"/>
                  </a:moveTo>
                  <a:cubicBezTo>
                    <a:pt x="6164" y="14476"/>
                    <a:pt x="6164" y="14476"/>
                    <a:pt x="6164" y="14476"/>
                  </a:cubicBezTo>
                  <a:cubicBezTo>
                    <a:pt x="6179" y="14317"/>
                    <a:pt x="6179" y="14317"/>
                    <a:pt x="6179" y="14317"/>
                  </a:cubicBezTo>
                  <a:cubicBezTo>
                    <a:pt x="6231" y="14322"/>
                    <a:pt x="6231" y="14322"/>
                    <a:pt x="6231" y="14322"/>
                  </a:cubicBezTo>
                  <a:cubicBezTo>
                    <a:pt x="6231" y="14316"/>
                    <a:pt x="6231" y="14316"/>
                    <a:pt x="6231" y="14316"/>
                  </a:cubicBezTo>
                  <a:cubicBezTo>
                    <a:pt x="6232" y="14312"/>
                    <a:pt x="6232" y="14312"/>
                    <a:pt x="6232" y="14312"/>
                  </a:cubicBezTo>
                  <a:cubicBezTo>
                    <a:pt x="6322" y="14320"/>
                    <a:pt x="6322" y="14320"/>
                    <a:pt x="6322" y="14320"/>
                  </a:cubicBezTo>
                  <a:cubicBezTo>
                    <a:pt x="6311" y="14416"/>
                    <a:pt x="6311" y="14416"/>
                    <a:pt x="6311" y="14416"/>
                  </a:cubicBezTo>
                  <a:cubicBezTo>
                    <a:pt x="6254" y="14411"/>
                    <a:pt x="6254" y="14411"/>
                    <a:pt x="6254" y="14411"/>
                  </a:cubicBezTo>
                  <a:lnTo>
                    <a:pt x="6247" y="14484"/>
                  </a:lnTo>
                  <a:close/>
                  <a:moveTo>
                    <a:pt x="5382" y="11335"/>
                  </a:moveTo>
                  <a:cubicBezTo>
                    <a:pt x="5378" y="11335"/>
                    <a:pt x="5378" y="11335"/>
                    <a:pt x="5378" y="11335"/>
                  </a:cubicBezTo>
                  <a:cubicBezTo>
                    <a:pt x="5370" y="11284"/>
                    <a:pt x="5370" y="11284"/>
                    <a:pt x="5370" y="11284"/>
                  </a:cubicBezTo>
                  <a:cubicBezTo>
                    <a:pt x="5187" y="11314"/>
                    <a:pt x="5187" y="11314"/>
                    <a:pt x="5187" y="11314"/>
                  </a:cubicBezTo>
                  <a:cubicBezTo>
                    <a:pt x="5205" y="11422"/>
                    <a:pt x="5205" y="11422"/>
                    <a:pt x="5205" y="11422"/>
                  </a:cubicBezTo>
                  <a:cubicBezTo>
                    <a:pt x="5277" y="11410"/>
                    <a:pt x="5277" y="11410"/>
                    <a:pt x="5277" y="11410"/>
                  </a:cubicBezTo>
                  <a:cubicBezTo>
                    <a:pt x="5285" y="11460"/>
                    <a:pt x="5285" y="11460"/>
                    <a:pt x="5285" y="11460"/>
                  </a:cubicBezTo>
                  <a:cubicBezTo>
                    <a:pt x="5286" y="11467"/>
                    <a:pt x="5286" y="11467"/>
                    <a:pt x="5286" y="11467"/>
                  </a:cubicBezTo>
                  <a:cubicBezTo>
                    <a:pt x="5408" y="11450"/>
                    <a:pt x="5408" y="11450"/>
                    <a:pt x="5408" y="11450"/>
                  </a:cubicBezTo>
                  <a:cubicBezTo>
                    <a:pt x="5389" y="11333"/>
                    <a:pt x="5389" y="11333"/>
                    <a:pt x="5389" y="11333"/>
                  </a:cubicBezTo>
                  <a:lnTo>
                    <a:pt x="5382" y="11335"/>
                  </a:lnTo>
                  <a:close/>
                  <a:moveTo>
                    <a:pt x="5297" y="11452"/>
                  </a:moveTo>
                  <a:cubicBezTo>
                    <a:pt x="5288" y="11395"/>
                    <a:pt x="5288" y="11395"/>
                    <a:pt x="5288" y="11395"/>
                  </a:cubicBezTo>
                  <a:cubicBezTo>
                    <a:pt x="5216" y="11407"/>
                    <a:pt x="5216" y="11407"/>
                    <a:pt x="5216" y="11407"/>
                  </a:cubicBezTo>
                  <a:cubicBezTo>
                    <a:pt x="5202" y="11325"/>
                    <a:pt x="5202" y="11325"/>
                    <a:pt x="5202" y="11325"/>
                  </a:cubicBezTo>
                  <a:cubicBezTo>
                    <a:pt x="5359" y="11299"/>
                    <a:pt x="5359" y="11299"/>
                    <a:pt x="5359" y="11299"/>
                  </a:cubicBezTo>
                  <a:cubicBezTo>
                    <a:pt x="5368" y="11350"/>
                    <a:pt x="5368" y="11350"/>
                    <a:pt x="5368" y="11350"/>
                  </a:cubicBezTo>
                  <a:cubicBezTo>
                    <a:pt x="5374" y="11349"/>
                    <a:pt x="5374" y="11349"/>
                    <a:pt x="5374" y="11349"/>
                  </a:cubicBezTo>
                  <a:cubicBezTo>
                    <a:pt x="5378" y="11349"/>
                    <a:pt x="5378" y="11349"/>
                    <a:pt x="5378" y="11349"/>
                  </a:cubicBezTo>
                  <a:cubicBezTo>
                    <a:pt x="5393" y="11438"/>
                    <a:pt x="5393" y="11438"/>
                    <a:pt x="5393" y="11438"/>
                  </a:cubicBezTo>
                  <a:lnTo>
                    <a:pt x="5297" y="11452"/>
                  </a:lnTo>
                  <a:close/>
                  <a:moveTo>
                    <a:pt x="7106" y="10878"/>
                  </a:moveTo>
                  <a:cubicBezTo>
                    <a:pt x="7102" y="10892"/>
                    <a:pt x="7102" y="10892"/>
                    <a:pt x="7102" y="10892"/>
                  </a:cubicBezTo>
                  <a:cubicBezTo>
                    <a:pt x="7212" y="10925"/>
                    <a:pt x="7212" y="10925"/>
                    <a:pt x="7212" y="10925"/>
                  </a:cubicBezTo>
                  <a:cubicBezTo>
                    <a:pt x="7243" y="10813"/>
                    <a:pt x="7243" y="10813"/>
                    <a:pt x="7243" y="10813"/>
                  </a:cubicBezTo>
                  <a:cubicBezTo>
                    <a:pt x="7245" y="10807"/>
                    <a:pt x="7245" y="10807"/>
                    <a:pt x="7245" y="10807"/>
                  </a:cubicBezTo>
                  <a:cubicBezTo>
                    <a:pt x="7190" y="10789"/>
                    <a:pt x="7190" y="10789"/>
                    <a:pt x="7190" y="10789"/>
                  </a:cubicBezTo>
                  <a:cubicBezTo>
                    <a:pt x="7211" y="10715"/>
                    <a:pt x="7211" y="10715"/>
                    <a:pt x="7211" y="10715"/>
                  </a:cubicBezTo>
                  <a:cubicBezTo>
                    <a:pt x="7106" y="10685"/>
                    <a:pt x="7106" y="10685"/>
                    <a:pt x="7106" y="10685"/>
                  </a:cubicBezTo>
                  <a:cubicBezTo>
                    <a:pt x="7056" y="10864"/>
                    <a:pt x="7056" y="10864"/>
                    <a:pt x="7056" y="10864"/>
                  </a:cubicBezTo>
                  <a:lnTo>
                    <a:pt x="7106" y="10878"/>
                  </a:lnTo>
                  <a:close/>
                  <a:moveTo>
                    <a:pt x="7115" y="10702"/>
                  </a:moveTo>
                  <a:cubicBezTo>
                    <a:pt x="7195" y="10724"/>
                    <a:pt x="7195" y="10724"/>
                    <a:pt x="7195" y="10724"/>
                  </a:cubicBezTo>
                  <a:cubicBezTo>
                    <a:pt x="7173" y="10798"/>
                    <a:pt x="7173" y="10798"/>
                    <a:pt x="7173" y="10798"/>
                  </a:cubicBezTo>
                  <a:cubicBezTo>
                    <a:pt x="7229" y="10815"/>
                    <a:pt x="7229" y="10815"/>
                    <a:pt x="7229" y="10815"/>
                  </a:cubicBezTo>
                  <a:cubicBezTo>
                    <a:pt x="7203" y="10908"/>
                    <a:pt x="7203" y="10908"/>
                    <a:pt x="7203" y="10908"/>
                  </a:cubicBezTo>
                  <a:cubicBezTo>
                    <a:pt x="7118" y="10883"/>
                    <a:pt x="7118" y="10883"/>
                    <a:pt x="7118" y="10883"/>
                  </a:cubicBezTo>
                  <a:cubicBezTo>
                    <a:pt x="7123" y="10869"/>
                    <a:pt x="7123" y="10869"/>
                    <a:pt x="7123" y="10869"/>
                  </a:cubicBezTo>
                  <a:cubicBezTo>
                    <a:pt x="7072" y="10855"/>
                    <a:pt x="7072" y="10855"/>
                    <a:pt x="7072" y="10855"/>
                  </a:cubicBezTo>
                  <a:lnTo>
                    <a:pt x="7115" y="10702"/>
                  </a:lnTo>
                  <a:close/>
                  <a:moveTo>
                    <a:pt x="7510" y="10855"/>
                  </a:moveTo>
                  <a:cubicBezTo>
                    <a:pt x="7540" y="10743"/>
                    <a:pt x="7540" y="10743"/>
                    <a:pt x="7540" y="10743"/>
                  </a:cubicBezTo>
                  <a:cubicBezTo>
                    <a:pt x="7542" y="10737"/>
                    <a:pt x="7542" y="10737"/>
                    <a:pt x="7542" y="10737"/>
                  </a:cubicBezTo>
                  <a:cubicBezTo>
                    <a:pt x="7487" y="10720"/>
                    <a:pt x="7487" y="10720"/>
                    <a:pt x="7487" y="10720"/>
                  </a:cubicBezTo>
                  <a:cubicBezTo>
                    <a:pt x="7509" y="10646"/>
                    <a:pt x="7509" y="10646"/>
                    <a:pt x="7509" y="10646"/>
                  </a:cubicBezTo>
                  <a:cubicBezTo>
                    <a:pt x="7403" y="10616"/>
                    <a:pt x="7403" y="10616"/>
                    <a:pt x="7403" y="10616"/>
                  </a:cubicBezTo>
                  <a:cubicBezTo>
                    <a:pt x="7354" y="10795"/>
                    <a:pt x="7354" y="10795"/>
                    <a:pt x="7354" y="10795"/>
                  </a:cubicBezTo>
                  <a:cubicBezTo>
                    <a:pt x="7404" y="10809"/>
                    <a:pt x="7404" y="10809"/>
                    <a:pt x="7404" y="10809"/>
                  </a:cubicBezTo>
                  <a:cubicBezTo>
                    <a:pt x="7399" y="10823"/>
                    <a:pt x="7399" y="10823"/>
                    <a:pt x="7399" y="10823"/>
                  </a:cubicBezTo>
                  <a:lnTo>
                    <a:pt x="7510" y="10855"/>
                  </a:lnTo>
                  <a:close/>
                  <a:moveTo>
                    <a:pt x="7370" y="10786"/>
                  </a:moveTo>
                  <a:cubicBezTo>
                    <a:pt x="7412" y="10632"/>
                    <a:pt x="7412" y="10632"/>
                    <a:pt x="7412" y="10632"/>
                  </a:cubicBezTo>
                  <a:cubicBezTo>
                    <a:pt x="7493" y="10655"/>
                    <a:pt x="7493" y="10655"/>
                    <a:pt x="7493" y="10655"/>
                  </a:cubicBezTo>
                  <a:cubicBezTo>
                    <a:pt x="7471" y="10728"/>
                    <a:pt x="7471" y="10728"/>
                    <a:pt x="7471" y="10728"/>
                  </a:cubicBezTo>
                  <a:cubicBezTo>
                    <a:pt x="7526" y="10746"/>
                    <a:pt x="7526" y="10746"/>
                    <a:pt x="7526" y="10746"/>
                  </a:cubicBezTo>
                  <a:cubicBezTo>
                    <a:pt x="7501" y="10839"/>
                    <a:pt x="7501" y="10839"/>
                    <a:pt x="7501" y="10839"/>
                  </a:cubicBezTo>
                  <a:cubicBezTo>
                    <a:pt x="7416" y="10814"/>
                    <a:pt x="7416" y="10814"/>
                    <a:pt x="7416" y="10814"/>
                  </a:cubicBezTo>
                  <a:cubicBezTo>
                    <a:pt x="7420" y="10800"/>
                    <a:pt x="7420" y="10800"/>
                    <a:pt x="7420" y="10800"/>
                  </a:cubicBezTo>
                  <a:lnTo>
                    <a:pt x="7370" y="10786"/>
                  </a:lnTo>
                  <a:close/>
                  <a:moveTo>
                    <a:pt x="6885" y="10591"/>
                  </a:moveTo>
                  <a:cubicBezTo>
                    <a:pt x="6994" y="10605"/>
                    <a:pt x="6994" y="10605"/>
                    <a:pt x="6994" y="10605"/>
                  </a:cubicBezTo>
                  <a:cubicBezTo>
                    <a:pt x="7019" y="10422"/>
                    <a:pt x="7019" y="10422"/>
                    <a:pt x="7019" y="10422"/>
                  </a:cubicBezTo>
                  <a:cubicBezTo>
                    <a:pt x="6968" y="10415"/>
                    <a:pt x="6968" y="10415"/>
                    <a:pt x="6968" y="10415"/>
                  </a:cubicBezTo>
                  <a:cubicBezTo>
                    <a:pt x="6970" y="10400"/>
                    <a:pt x="6970" y="10400"/>
                    <a:pt x="6970" y="10400"/>
                  </a:cubicBezTo>
                  <a:cubicBezTo>
                    <a:pt x="6856" y="10383"/>
                    <a:pt x="6856" y="10383"/>
                    <a:pt x="6856" y="10383"/>
                  </a:cubicBezTo>
                  <a:cubicBezTo>
                    <a:pt x="6841" y="10498"/>
                    <a:pt x="6841" y="10498"/>
                    <a:pt x="6841" y="10498"/>
                  </a:cubicBezTo>
                  <a:cubicBezTo>
                    <a:pt x="6840" y="10504"/>
                    <a:pt x="6840" y="10504"/>
                    <a:pt x="6840" y="10504"/>
                  </a:cubicBezTo>
                  <a:cubicBezTo>
                    <a:pt x="6897" y="10514"/>
                    <a:pt x="6897" y="10514"/>
                    <a:pt x="6897" y="10514"/>
                  </a:cubicBezTo>
                  <a:lnTo>
                    <a:pt x="6885" y="10591"/>
                  </a:lnTo>
                  <a:close/>
                  <a:moveTo>
                    <a:pt x="6855" y="10493"/>
                  </a:moveTo>
                  <a:cubicBezTo>
                    <a:pt x="6867" y="10398"/>
                    <a:pt x="6867" y="10398"/>
                    <a:pt x="6867" y="10398"/>
                  </a:cubicBezTo>
                  <a:cubicBezTo>
                    <a:pt x="6955" y="10411"/>
                    <a:pt x="6955" y="10411"/>
                    <a:pt x="6955" y="10411"/>
                  </a:cubicBezTo>
                  <a:cubicBezTo>
                    <a:pt x="6952" y="10426"/>
                    <a:pt x="6952" y="10426"/>
                    <a:pt x="6952" y="10426"/>
                  </a:cubicBezTo>
                  <a:cubicBezTo>
                    <a:pt x="7004" y="10433"/>
                    <a:pt x="7004" y="10433"/>
                    <a:pt x="7004" y="10433"/>
                  </a:cubicBezTo>
                  <a:cubicBezTo>
                    <a:pt x="6983" y="10591"/>
                    <a:pt x="6983" y="10591"/>
                    <a:pt x="6983" y="10591"/>
                  </a:cubicBezTo>
                  <a:cubicBezTo>
                    <a:pt x="6900" y="10579"/>
                    <a:pt x="6900" y="10579"/>
                    <a:pt x="6900" y="10579"/>
                  </a:cubicBezTo>
                  <a:cubicBezTo>
                    <a:pt x="6912" y="10503"/>
                    <a:pt x="6912" y="10503"/>
                    <a:pt x="6912" y="10503"/>
                  </a:cubicBezTo>
                  <a:lnTo>
                    <a:pt x="6855" y="10493"/>
                  </a:lnTo>
                  <a:close/>
                  <a:moveTo>
                    <a:pt x="7008" y="14387"/>
                  </a:moveTo>
                  <a:cubicBezTo>
                    <a:pt x="7008" y="14391"/>
                    <a:pt x="7008" y="14391"/>
                    <a:pt x="7008" y="14391"/>
                  </a:cubicBezTo>
                  <a:cubicBezTo>
                    <a:pt x="6956" y="14386"/>
                    <a:pt x="6956" y="14386"/>
                    <a:pt x="6956" y="14386"/>
                  </a:cubicBezTo>
                  <a:cubicBezTo>
                    <a:pt x="6939" y="14571"/>
                    <a:pt x="6939" y="14571"/>
                    <a:pt x="6939" y="14571"/>
                  </a:cubicBezTo>
                  <a:cubicBezTo>
                    <a:pt x="7048" y="14581"/>
                    <a:pt x="7048" y="14581"/>
                    <a:pt x="7048" y="14581"/>
                  </a:cubicBezTo>
                  <a:cubicBezTo>
                    <a:pt x="7055" y="14508"/>
                    <a:pt x="7055" y="14508"/>
                    <a:pt x="7055" y="14508"/>
                  </a:cubicBezTo>
                  <a:cubicBezTo>
                    <a:pt x="7105" y="14513"/>
                    <a:pt x="7105" y="14513"/>
                    <a:pt x="7105" y="14513"/>
                  </a:cubicBezTo>
                  <a:cubicBezTo>
                    <a:pt x="7112" y="14513"/>
                    <a:pt x="7112" y="14513"/>
                    <a:pt x="7112" y="14513"/>
                  </a:cubicBezTo>
                  <a:cubicBezTo>
                    <a:pt x="7126" y="14391"/>
                    <a:pt x="7126" y="14391"/>
                    <a:pt x="7126" y="14391"/>
                  </a:cubicBezTo>
                  <a:cubicBezTo>
                    <a:pt x="7009" y="14380"/>
                    <a:pt x="7009" y="14380"/>
                    <a:pt x="7009" y="14380"/>
                  </a:cubicBezTo>
                  <a:lnTo>
                    <a:pt x="7008" y="14387"/>
                  </a:lnTo>
                  <a:close/>
                  <a:moveTo>
                    <a:pt x="7020" y="14398"/>
                  </a:moveTo>
                  <a:cubicBezTo>
                    <a:pt x="7021" y="14395"/>
                    <a:pt x="7021" y="14395"/>
                    <a:pt x="7021" y="14395"/>
                  </a:cubicBezTo>
                  <a:cubicBezTo>
                    <a:pt x="7111" y="14403"/>
                    <a:pt x="7111" y="14403"/>
                    <a:pt x="7111" y="14403"/>
                  </a:cubicBezTo>
                  <a:cubicBezTo>
                    <a:pt x="7100" y="14499"/>
                    <a:pt x="7100" y="14499"/>
                    <a:pt x="7100" y="14499"/>
                  </a:cubicBezTo>
                  <a:cubicBezTo>
                    <a:pt x="7043" y="14494"/>
                    <a:pt x="7043" y="14494"/>
                    <a:pt x="7043" y="14494"/>
                  </a:cubicBezTo>
                  <a:cubicBezTo>
                    <a:pt x="7036" y="14566"/>
                    <a:pt x="7036" y="14566"/>
                    <a:pt x="7036" y="14566"/>
                  </a:cubicBezTo>
                  <a:cubicBezTo>
                    <a:pt x="6953" y="14559"/>
                    <a:pt x="6953" y="14559"/>
                    <a:pt x="6953" y="14559"/>
                  </a:cubicBezTo>
                  <a:cubicBezTo>
                    <a:pt x="6968" y="14400"/>
                    <a:pt x="6968" y="14400"/>
                    <a:pt x="6968" y="14400"/>
                  </a:cubicBezTo>
                  <a:cubicBezTo>
                    <a:pt x="7020" y="14405"/>
                    <a:pt x="7020" y="14405"/>
                    <a:pt x="7020" y="14405"/>
                  </a:cubicBezTo>
                  <a:lnTo>
                    <a:pt x="7020" y="14398"/>
                  </a:lnTo>
                  <a:close/>
                  <a:moveTo>
                    <a:pt x="7344" y="14384"/>
                  </a:moveTo>
                  <a:cubicBezTo>
                    <a:pt x="7358" y="14262"/>
                    <a:pt x="7358" y="14262"/>
                    <a:pt x="7358" y="14262"/>
                  </a:cubicBezTo>
                  <a:cubicBezTo>
                    <a:pt x="7241" y="14251"/>
                    <a:pt x="7241" y="14251"/>
                    <a:pt x="7241" y="14251"/>
                  </a:cubicBezTo>
                  <a:cubicBezTo>
                    <a:pt x="7241" y="14258"/>
                    <a:pt x="7241" y="14258"/>
                    <a:pt x="7241" y="14258"/>
                  </a:cubicBezTo>
                  <a:cubicBezTo>
                    <a:pt x="7240" y="14262"/>
                    <a:pt x="7240" y="14262"/>
                    <a:pt x="7240" y="14262"/>
                  </a:cubicBezTo>
                  <a:cubicBezTo>
                    <a:pt x="7188" y="14257"/>
                    <a:pt x="7188" y="14257"/>
                    <a:pt x="7188" y="14257"/>
                  </a:cubicBezTo>
                  <a:cubicBezTo>
                    <a:pt x="7171" y="14441"/>
                    <a:pt x="7171" y="14441"/>
                    <a:pt x="7171" y="14441"/>
                  </a:cubicBezTo>
                  <a:cubicBezTo>
                    <a:pt x="7280" y="14452"/>
                    <a:pt x="7280" y="14452"/>
                    <a:pt x="7280" y="14452"/>
                  </a:cubicBezTo>
                  <a:cubicBezTo>
                    <a:pt x="7287" y="14379"/>
                    <a:pt x="7287" y="14379"/>
                    <a:pt x="7287" y="14379"/>
                  </a:cubicBezTo>
                  <a:cubicBezTo>
                    <a:pt x="7338" y="14384"/>
                    <a:pt x="7338" y="14384"/>
                    <a:pt x="7338" y="14384"/>
                  </a:cubicBezTo>
                  <a:lnTo>
                    <a:pt x="7344" y="14384"/>
                  </a:lnTo>
                  <a:close/>
                  <a:moveTo>
                    <a:pt x="7275" y="14365"/>
                  </a:moveTo>
                  <a:cubicBezTo>
                    <a:pt x="7268" y="14437"/>
                    <a:pt x="7268" y="14437"/>
                    <a:pt x="7268" y="14437"/>
                  </a:cubicBezTo>
                  <a:cubicBezTo>
                    <a:pt x="7185" y="14430"/>
                    <a:pt x="7185" y="14430"/>
                    <a:pt x="7185" y="14430"/>
                  </a:cubicBezTo>
                  <a:cubicBezTo>
                    <a:pt x="7200" y="14271"/>
                    <a:pt x="7200" y="14271"/>
                    <a:pt x="7200" y="14271"/>
                  </a:cubicBezTo>
                  <a:cubicBezTo>
                    <a:pt x="7252" y="14276"/>
                    <a:pt x="7252" y="14276"/>
                    <a:pt x="7252" y="14276"/>
                  </a:cubicBezTo>
                  <a:cubicBezTo>
                    <a:pt x="7253" y="14269"/>
                    <a:pt x="7253" y="14269"/>
                    <a:pt x="7253" y="14269"/>
                  </a:cubicBezTo>
                  <a:cubicBezTo>
                    <a:pt x="7253" y="14265"/>
                    <a:pt x="7253" y="14265"/>
                    <a:pt x="7253" y="14265"/>
                  </a:cubicBezTo>
                  <a:cubicBezTo>
                    <a:pt x="7344" y="14274"/>
                    <a:pt x="7344" y="14274"/>
                    <a:pt x="7344" y="14274"/>
                  </a:cubicBezTo>
                  <a:cubicBezTo>
                    <a:pt x="7333" y="14370"/>
                    <a:pt x="7333" y="14370"/>
                    <a:pt x="7333" y="14370"/>
                  </a:cubicBezTo>
                  <a:lnTo>
                    <a:pt x="7275" y="14365"/>
                  </a:lnTo>
                  <a:close/>
                  <a:moveTo>
                    <a:pt x="7597" y="14321"/>
                  </a:moveTo>
                  <a:cubicBezTo>
                    <a:pt x="7648" y="14325"/>
                    <a:pt x="7648" y="14325"/>
                    <a:pt x="7648" y="14325"/>
                  </a:cubicBezTo>
                  <a:cubicBezTo>
                    <a:pt x="7654" y="14326"/>
                    <a:pt x="7654" y="14326"/>
                    <a:pt x="7654" y="14326"/>
                  </a:cubicBezTo>
                  <a:cubicBezTo>
                    <a:pt x="7668" y="14204"/>
                    <a:pt x="7668" y="14204"/>
                    <a:pt x="7668" y="14204"/>
                  </a:cubicBezTo>
                  <a:cubicBezTo>
                    <a:pt x="7551" y="14193"/>
                    <a:pt x="7551" y="14193"/>
                    <a:pt x="7551" y="14193"/>
                  </a:cubicBezTo>
                  <a:cubicBezTo>
                    <a:pt x="7551" y="14200"/>
                    <a:pt x="7551" y="14200"/>
                    <a:pt x="7551" y="14200"/>
                  </a:cubicBezTo>
                  <a:cubicBezTo>
                    <a:pt x="7550" y="14203"/>
                    <a:pt x="7550" y="14203"/>
                    <a:pt x="7550" y="14203"/>
                  </a:cubicBezTo>
                  <a:cubicBezTo>
                    <a:pt x="7498" y="14199"/>
                    <a:pt x="7498" y="14199"/>
                    <a:pt x="7498" y="14199"/>
                  </a:cubicBezTo>
                  <a:cubicBezTo>
                    <a:pt x="7481" y="14383"/>
                    <a:pt x="7481" y="14383"/>
                    <a:pt x="7481" y="14383"/>
                  </a:cubicBezTo>
                  <a:cubicBezTo>
                    <a:pt x="7590" y="14393"/>
                    <a:pt x="7590" y="14393"/>
                    <a:pt x="7590" y="14393"/>
                  </a:cubicBezTo>
                  <a:lnTo>
                    <a:pt x="7597" y="14321"/>
                  </a:lnTo>
                  <a:close/>
                  <a:moveTo>
                    <a:pt x="7578" y="14379"/>
                  </a:moveTo>
                  <a:cubicBezTo>
                    <a:pt x="7495" y="14371"/>
                    <a:pt x="7495" y="14371"/>
                    <a:pt x="7495" y="14371"/>
                  </a:cubicBezTo>
                  <a:cubicBezTo>
                    <a:pt x="7510" y="14213"/>
                    <a:pt x="7510" y="14213"/>
                    <a:pt x="7510" y="14213"/>
                  </a:cubicBezTo>
                  <a:cubicBezTo>
                    <a:pt x="7562" y="14218"/>
                    <a:pt x="7562" y="14218"/>
                    <a:pt x="7562" y="14218"/>
                  </a:cubicBezTo>
                  <a:cubicBezTo>
                    <a:pt x="7563" y="14211"/>
                    <a:pt x="7563" y="14211"/>
                    <a:pt x="7563" y="14211"/>
                  </a:cubicBezTo>
                  <a:cubicBezTo>
                    <a:pt x="7563" y="14207"/>
                    <a:pt x="7563" y="14207"/>
                    <a:pt x="7563" y="14207"/>
                  </a:cubicBezTo>
                  <a:cubicBezTo>
                    <a:pt x="7654" y="14216"/>
                    <a:pt x="7654" y="14216"/>
                    <a:pt x="7654" y="14216"/>
                  </a:cubicBezTo>
                  <a:cubicBezTo>
                    <a:pt x="7643" y="14312"/>
                    <a:pt x="7643" y="14312"/>
                    <a:pt x="7643" y="14312"/>
                  </a:cubicBezTo>
                  <a:cubicBezTo>
                    <a:pt x="7585" y="14306"/>
                    <a:pt x="7585" y="14306"/>
                    <a:pt x="7585" y="14306"/>
                  </a:cubicBezTo>
                  <a:lnTo>
                    <a:pt x="7578" y="14379"/>
                  </a:lnTo>
                  <a:close/>
                  <a:moveTo>
                    <a:pt x="6616" y="13911"/>
                  </a:moveTo>
                  <a:cubicBezTo>
                    <a:pt x="6608" y="13963"/>
                    <a:pt x="6608" y="13963"/>
                    <a:pt x="6608" y="13963"/>
                  </a:cubicBezTo>
                  <a:cubicBezTo>
                    <a:pt x="6598" y="13961"/>
                    <a:pt x="6598" y="13961"/>
                    <a:pt x="6598" y="13961"/>
                  </a:cubicBezTo>
                  <a:cubicBezTo>
                    <a:pt x="6580" y="14078"/>
                    <a:pt x="6580" y="14078"/>
                    <a:pt x="6580" y="14078"/>
                  </a:cubicBezTo>
                  <a:cubicBezTo>
                    <a:pt x="6696" y="14092"/>
                    <a:pt x="6696" y="14092"/>
                    <a:pt x="6696" y="14092"/>
                  </a:cubicBezTo>
                  <a:cubicBezTo>
                    <a:pt x="6702" y="14093"/>
                    <a:pt x="6702" y="14093"/>
                    <a:pt x="6702" y="14093"/>
                  </a:cubicBezTo>
                  <a:cubicBezTo>
                    <a:pt x="6711" y="14036"/>
                    <a:pt x="6711" y="14036"/>
                    <a:pt x="6711" y="14036"/>
                  </a:cubicBezTo>
                  <a:cubicBezTo>
                    <a:pt x="6783" y="14047"/>
                    <a:pt x="6783" y="14047"/>
                    <a:pt x="6783" y="14047"/>
                  </a:cubicBezTo>
                  <a:cubicBezTo>
                    <a:pt x="6799" y="13939"/>
                    <a:pt x="6799" y="13939"/>
                    <a:pt x="6799" y="13939"/>
                  </a:cubicBezTo>
                  <a:lnTo>
                    <a:pt x="6616" y="13911"/>
                  </a:lnTo>
                  <a:close/>
                  <a:moveTo>
                    <a:pt x="6772" y="14032"/>
                  </a:moveTo>
                  <a:cubicBezTo>
                    <a:pt x="6700" y="14022"/>
                    <a:pt x="6700" y="14022"/>
                    <a:pt x="6700" y="14022"/>
                  </a:cubicBezTo>
                  <a:cubicBezTo>
                    <a:pt x="6691" y="14078"/>
                    <a:pt x="6691" y="14078"/>
                    <a:pt x="6691" y="14078"/>
                  </a:cubicBezTo>
                  <a:cubicBezTo>
                    <a:pt x="6595" y="14066"/>
                    <a:pt x="6595" y="14066"/>
                    <a:pt x="6595" y="14066"/>
                  </a:cubicBezTo>
                  <a:cubicBezTo>
                    <a:pt x="6609" y="13976"/>
                    <a:pt x="6609" y="13976"/>
                    <a:pt x="6609" y="13976"/>
                  </a:cubicBezTo>
                  <a:cubicBezTo>
                    <a:pt x="6619" y="13978"/>
                    <a:pt x="6619" y="13978"/>
                    <a:pt x="6619" y="13978"/>
                  </a:cubicBezTo>
                  <a:cubicBezTo>
                    <a:pt x="6627" y="13926"/>
                    <a:pt x="6627" y="13926"/>
                    <a:pt x="6627" y="13926"/>
                  </a:cubicBezTo>
                  <a:cubicBezTo>
                    <a:pt x="6785" y="13950"/>
                    <a:pt x="6785" y="13950"/>
                    <a:pt x="6785" y="13950"/>
                  </a:cubicBezTo>
                  <a:lnTo>
                    <a:pt x="6772" y="14032"/>
                  </a:lnTo>
                  <a:close/>
                  <a:moveTo>
                    <a:pt x="6379" y="14185"/>
                  </a:moveTo>
                  <a:cubicBezTo>
                    <a:pt x="6388" y="14128"/>
                    <a:pt x="6388" y="14128"/>
                    <a:pt x="6388" y="14128"/>
                  </a:cubicBezTo>
                  <a:cubicBezTo>
                    <a:pt x="6460" y="14139"/>
                    <a:pt x="6460" y="14139"/>
                    <a:pt x="6460" y="14139"/>
                  </a:cubicBezTo>
                  <a:cubicBezTo>
                    <a:pt x="6477" y="14031"/>
                    <a:pt x="6477" y="14031"/>
                    <a:pt x="6477" y="14031"/>
                  </a:cubicBezTo>
                  <a:cubicBezTo>
                    <a:pt x="6293" y="14003"/>
                    <a:pt x="6293" y="14003"/>
                    <a:pt x="6293" y="14003"/>
                  </a:cubicBezTo>
                  <a:cubicBezTo>
                    <a:pt x="6285" y="14055"/>
                    <a:pt x="6285" y="14055"/>
                    <a:pt x="6285" y="14055"/>
                  </a:cubicBezTo>
                  <a:cubicBezTo>
                    <a:pt x="6275" y="14053"/>
                    <a:pt x="6275" y="14053"/>
                    <a:pt x="6275" y="14053"/>
                  </a:cubicBezTo>
                  <a:cubicBezTo>
                    <a:pt x="6258" y="14169"/>
                    <a:pt x="6258" y="14169"/>
                    <a:pt x="6258" y="14169"/>
                  </a:cubicBezTo>
                  <a:cubicBezTo>
                    <a:pt x="6373" y="14184"/>
                    <a:pt x="6373" y="14184"/>
                    <a:pt x="6373" y="14184"/>
                  </a:cubicBezTo>
                  <a:lnTo>
                    <a:pt x="6379" y="14185"/>
                  </a:lnTo>
                  <a:close/>
                  <a:moveTo>
                    <a:pt x="6273" y="14158"/>
                  </a:moveTo>
                  <a:cubicBezTo>
                    <a:pt x="6286" y="14068"/>
                    <a:pt x="6286" y="14068"/>
                    <a:pt x="6286" y="14068"/>
                  </a:cubicBezTo>
                  <a:cubicBezTo>
                    <a:pt x="6296" y="14069"/>
                    <a:pt x="6296" y="14069"/>
                    <a:pt x="6296" y="14069"/>
                  </a:cubicBezTo>
                  <a:cubicBezTo>
                    <a:pt x="6304" y="14018"/>
                    <a:pt x="6304" y="14018"/>
                    <a:pt x="6304" y="14018"/>
                  </a:cubicBezTo>
                  <a:cubicBezTo>
                    <a:pt x="6462" y="14042"/>
                    <a:pt x="6462" y="14042"/>
                    <a:pt x="6462" y="14042"/>
                  </a:cubicBezTo>
                  <a:cubicBezTo>
                    <a:pt x="6449" y="14124"/>
                    <a:pt x="6449" y="14124"/>
                    <a:pt x="6449" y="14124"/>
                  </a:cubicBezTo>
                  <a:cubicBezTo>
                    <a:pt x="6377" y="14113"/>
                    <a:pt x="6377" y="14113"/>
                    <a:pt x="6377" y="14113"/>
                  </a:cubicBezTo>
                  <a:cubicBezTo>
                    <a:pt x="6368" y="14170"/>
                    <a:pt x="6368" y="14170"/>
                    <a:pt x="6368" y="14170"/>
                  </a:cubicBezTo>
                  <a:lnTo>
                    <a:pt x="6273" y="14158"/>
                  </a:lnTo>
                  <a:close/>
                  <a:moveTo>
                    <a:pt x="6288" y="13632"/>
                  </a:moveTo>
                  <a:cubicBezTo>
                    <a:pt x="6292" y="13574"/>
                    <a:pt x="6292" y="13574"/>
                    <a:pt x="6292" y="13574"/>
                  </a:cubicBezTo>
                  <a:cubicBezTo>
                    <a:pt x="6364" y="13579"/>
                    <a:pt x="6364" y="13579"/>
                    <a:pt x="6364" y="13579"/>
                  </a:cubicBezTo>
                  <a:cubicBezTo>
                    <a:pt x="6372" y="13470"/>
                    <a:pt x="6372" y="13470"/>
                    <a:pt x="6372" y="13470"/>
                  </a:cubicBezTo>
                  <a:cubicBezTo>
                    <a:pt x="6187" y="13457"/>
                    <a:pt x="6187" y="13457"/>
                    <a:pt x="6187" y="13457"/>
                  </a:cubicBezTo>
                  <a:cubicBezTo>
                    <a:pt x="6183" y="13510"/>
                    <a:pt x="6183" y="13510"/>
                    <a:pt x="6183" y="13510"/>
                  </a:cubicBezTo>
                  <a:cubicBezTo>
                    <a:pt x="6173" y="13509"/>
                    <a:pt x="6173" y="13509"/>
                    <a:pt x="6173" y="13509"/>
                  </a:cubicBezTo>
                  <a:cubicBezTo>
                    <a:pt x="6165" y="13626"/>
                    <a:pt x="6165" y="13626"/>
                    <a:pt x="6165" y="13626"/>
                  </a:cubicBezTo>
                  <a:cubicBezTo>
                    <a:pt x="6281" y="13631"/>
                    <a:pt x="6281" y="13631"/>
                    <a:pt x="6281" y="13631"/>
                  </a:cubicBezTo>
                  <a:lnTo>
                    <a:pt x="6288" y="13632"/>
                  </a:lnTo>
                  <a:close/>
                  <a:moveTo>
                    <a:pt x="6275" y="13618"/>
                  </a:moveTo>
                  <a:cubicBezTo>
                    <a:pt x="6179" y="13614"/>
                    <a:pt x="6179" y="13614"/>
                    <a:pt x="6179" y="13614"/>
                  </a:cubicBezTo>
                  <a:cubicBezTo>
                    <a:pt x="6185" y="13523"/>
                    <a:pt x="6185" y="13523"/>
                    <a:pt x="6185" y="13523"/>
                  </a:cubicBezTo>
                  <a:cubicBezTo>
                    <a:pt x="6196" y="13524"/>
                    <a:pt x="6196" y="13524"/>
                    <a:pt x="6196" y="13524"/>
                  </a:cubicBezTo>
                  <a:cubicBezTo>
                    <a:pt x="6199" y="13471"/>
                    <a:pt x="6199" y="13471"/>
                    <a:pt x="6199" y="13471"/>
                  </a:cubicBezTo>
                  <a:cubicBezTo>
                    <a:pt x="6358" y="13482"/>
                    <a:pt x="6358" y="13482"/>
                    <a:pt x="6358" y="13482"/>
                  </a:cubicBezTo>
                  <a:cubicBezTo>
                    <a:pt x="6352" y="13565"/>
                    <a:pt x="6352" y="13565"/>
                    <a:pt x="6352" y="13565"/>
                  </a:cubicBezTo>
                  <a:cubicBezTo>
                    <a:pt x="6279" y="13560"/>
                    <a:pt x="6279" y="13560"/>
                    <a:pt x="6279" y="13560"/>
                  </a:cubicBezTo>
                  <a:lnTo>
                    <a:pt x="6275" y="13618"/>
                  </a:lnTo>
                  <a:close/>
                  <a:moveTo>
                    <a:pt x="5301" y="10389"/>
                  </a:moveTo>
                  <a:cubicBezTo>
                    <a:pt x="5121" y="10433"/>
                    <a:pt x="5121" y="10433"/>
                    <a:pt x="5121" y="10433"/>
                  </a:cubicBezTo>
                  <a:cubicBezTo>
                    <a:pt x="5133" y="10483"/>
                    <a:pt x="5133" y="10483"/>
                    <a:pt x="5133" y="10483"/>
                  </a:cubicBezTo>
                  <a:cubicBezTo>
                    <a:pt x="5123" y="10486"/>
                    <a:pt x="5123" y="10486"/>
                    <a:pt x="5123" y="10486"/>
                  </a:cubicBezTo>
                  <a:cubicBezTo>
                    <a:pt x="5150" y="10600"/>
                    <a:pt x="5150" y="10600"/>
                    <a:pt x="5150" y="10600"/>
                  </a:cubicBezTo>
                  <a:cubicBezTo>
                    <a:pt x="5263" y="10570"/>
                    <a:pt x="5263" y="10570"/>
                    <a:pt x="5263" y="10570"/>
                  </a:cubicBezTo>
                  <a:cubicBezTo>
                    <a:pt x="5269" y="10569"/>
                    <a:pt x="5269" y="10569"/>
                    <a:pt x="5269" y="10569"/>
                  </a:cubicBezTo>
                  <a:cubicBezTo>
                    <a:pt x="5256" y="10513"/>
                    <a:pt x="5256" y="10513"/>
                    <a:pt x="5256" y="10513"/>
                  </a:cubicBezTo>
                  <a:cubicBezTo>
                    <a:pt x="5327" y="10496"/>
                    <a:pt x="5327" y="10496"/>
                    <a:pt x="5327" y="10496"/>
                  </a:cubicBezTo>
                  <a:lnTo>
                    <a:pt x="5301" y="10389"/>
                  </a:lnTo>
                  <a:close/>
                  <a:moveTo>
                    <a:pt x="5253" y="10559"/>
                  </a:moveTo>
                  <a:cubicBezTo>
                    <a:pt x="5160" y="10584"/>
                    <a:pt x="5160" y="10584"/>
                    <a:pt x="5160" y="10584"/>
                  </a:cubicBezTo>
                  <a:cubicBezTo>
                    <a:pt x="5139" y="10495"/>
                    <a:pt x="5139" y="10495"/>
                    <a:pt x="5139" y="10495"/>
                  </a:cubicBezTo>
                  <a:cubicBezTo>
                    <a:pt x="5149" y="10493"/>
                    <a:pt x="5149" y="10493"/>
                    <a:pt x="5149" y="10493"/>
                  </a:cubicBezTo>
                  <a:cubicBezTo>
                    <a:pt x="5136" y="10442"/>
                    <a:pt x="5136" y="10442"/>
                    <a:pt x="5136" y="10442"/>
                  </a:cubicBezTo>
                  <a:cubicBezTo>
                    <a:pt x="5291" y="10405"/>
                    <a:pt x="5291" y="10405"/>
                    <a:pt x="5291" y="10405"/>
                  </a:cubicBezTo>
                  <a:cubicBezTo>
                    <a:pt x="5311" y="10486"/>
                    <a:pt x="5311" y="10486"/>
                    <a:pt x="5311" y="10486"/>
                  </a:cubicBezTo>
                  <a:cubicBezTo>
                    <a:pt x="5240" y="10503"/>
                    <a:pt x="5240" y="10503"/>
                    <a:pt x="5240" y="10503"/>
                  </a:cubicBezTo>
                  <a:lnTo>
                    <a:pt x="5253" y="10559"/>
                  </a:lnTo>
                  <a:close/>
                  <a:moveTo>
                    <a:pt x="5607" y="11992"/>
                  </a:moveTo>
                  <a:cubicBezTo>
                    <a:pt x="5596" y="11990"/>
                    <a:pt x="5596" y="11990"/>
                    <a:pt x="5596" y="11990"/>
                  </a:cubicBezTo>
                  <a:cubicBezTo>
                    <a:pt x="5577" y="12106"/>
                    <a:pt x="5577" y="12106"/>
                    <a:pt x="5577" y="12106"/>
                  </a:cubicBezTo>
                  <a:cubicBezTo>
                    <a:pt x="5693" y="12122"/>
                    <a:pt x="5693" y="12122"/>
                    <a:pt x="5693" y="12122"/>
                  </a:cubicBezTo>
                  <a:cubicBezTo>
                    <a:pt x="5699" y="12123"/>
                    <a:pt x="5699" y="12123"/>
                    <a:pt x="5699" y="12123"/>
                  </a:cubicBezTo>
                  <a:cubicBezTo>
                    <a:pt x="5708" y="12066"/>
                    <a:pt x="5708" y="12066"/>
                    <a:pt x="5708" y="12066"/>
                  </a:cubicBezTo>
                  <a:cubicBezTo>
                    <a:pt x="5780" y="12078"/>
                    <a:pt x="5780" y="12078"/>
                    <a:pt x="5780" y="12078"/>
                  </a:cubicBezTo>
                  <a:cubicBezTo>
                    <a:pt x="5798" y="11970"/>
                    <a:pt x="5798" y="11970"/>
                    <a:pt x="5798" y="11970"/>
                  </a:cubicBezTo>
                  <a:cubicBezTo>
                    <a:pt x="5615" y="11940"/>
                    <a:pt x="5615" y="11940"/>
                    <a:pt x="5615" y="11940"/>
                  </a:cubicBezTo>
                  <a:lnTo>
                    <a:pt x="5607" y="11992"/>
                  </a:lnTo>
                  <a:close/>
                  <a:moveTo>
                    <a:pt x="5626" y="11955"/>
                  </a:moveTo>
                  <a:cubicBezTo>
                    <a:pt x="5783" y="11980"/>
                    <a:pt x="5783" y="11980"/>
                    <a:pt x="5783" y="11980"/>
                  </a:cubicBezTo>
                  <a:cubicBezTo>
                    <a:pt x="5770" y="12063"/>
                    <a:pt x="5770" y="12063"/>
                    <a:pt x="5770" y="12063"/>
                  </a:cubicBezTo>
                  <a:cubicBezTo>
                    <a:pt x="5697" y="12051"/>
                    <a:pt x="5697" y="12051"/>
                    <a:pt x="5697" y="12051"/>
                  </a:cubicBezTo>
                  <a:cubicBezTo>
                    <a:pt x="5688" y="12108"/>
                    <a:pt x="5688" y="12108"/>
                    <a:pt x="5688" y="12108"/>
                  </a:cubicBezTo>
                  <a:cubicBezTo>
                    <a:pt x="5593" y="12095"/>
                    <a:pt x="5593" y="12095"/>
                    <a:pt x="5593" y="12095"/>
                  </a:cubicBezTo>
                  <a:cubicBezTo>
                    <a:pt x="5607" y="12005"/>
                    <a:pt x="5607" y="12005"/>
                    <a:pt x="5607" y="12005"/>
                  </a:cubicBezTo>
                  <a:cubicBezTo>
                    <a:pt x="5617" y="12007"/>
                    <a:pt x="5617" y="12007"/>
                    <a:pt x="5617" y="12007"/>
                  </a:cubicBezTo>
                  <a:lnTo>
                    <a:pt x="5626" y="11955"/>
                  </a:lnTo>
                  <a:close/>
                  <a:moveTo>
                    <a:pt x="5576" y="12213"/>
                  </a:moveTo>
                  <a:cubicBezTo>
                    <a:pt x="5566" y="12211"/>
                    <a:pt x="5566" y="12211"/>
                    <a:pt x="5566" y="12211"/>
                  </a:cubicBezTo>
                  <a:cubicBezTo>
                    <a:pt x="5547" y="12327"/>
                    <a:pt x="5547" y="12327"/>
                    <a:pt x="5547" y="12327"/>
                  </a:cubicBezTo>
                  <a:cubicBezTo>
                    <a:pt x="5662" y="12343"/>
                    <a:pt x="5662" y="12343"/>
                    <a:pt x="5662" y="12343"/>
                  </a:cubicBezTo>
                  <a:cubicBezTo>
                    <a:pt x="5668" y="12344"/>
                    <a:pt x="5668" y="12344"/>
                    <a:pt x="5668" y="12344"/>
                  </a:cubicBezTo>
                  <a:cubicBezTo>
                    <a:pt x="5678" y="12288"/>
                    <a:pt x="5678" y="12288"/>
                    <a:pt x="5678" y="12288"/>
                  </a:cubicBezTo>
                  <a:cubicBezTo>
                    <a:pt x="5750" y="12299"/>
                    <a:pt x="5750" y="12299"/>
                    <a:pt x="5750" y="12299"/>
                  </a:cubicBezTo>
                  <a:cubicBezTo>
                    <a:pt x="5767" y="12191"/>
                    <a:pt x="5767" y="12191"/>
                    <a:pt x="5767" y="12191"/>
                  </a:cubicBezTo>
                  <a:cubicBezTo>
                    <a:pt x="5584" y="12161"/>
                    <a:pt x="5584" y="12161"/>
                    <a:pt x="5584" y="12161"/>
                  </a:cubicBezTo>
                  <a:lnTo>
                    <a:pt x="5576" y="12213"/>
                  </a:lnTo>
                  <a:close/>
                  <a:moveTo>
                    <a:pt x="5595" y="12176"/>
                  </a:moveTo>
                  <a:cubicBezTo>
                    <a:pt x="5752" y="12202"/>
                    <a:pt x="5752" y="12202"/>
                    <a:pt x="5752" y="12202"/>
                  </a:cubicBezTo>
                  <a:cubicBezTo>
                    <a:pt x="5739" y="12284"/>
                    <a:pt x="5739" y="12284"/>
                    <a:pt x="5739" y="12284"/>
                  </a:cubicBezTo>
                  <a:cubicBezTo>
                    <a:pt x="5667" y="12273"/>
                    <a:pt x="5667" y="12273"/>
                    <a:pt x="5667" y="12273"/>
                  </a:cubicBezTo>
                  <a:cubicBezTo>
                    <a:pt x="5657" y="12329"/>
                    <a:pt x="5657" y="12329"/>
                    <a:pt x="5657" y="12329"/>
                  </a:cubicBezTo>
                  <a:cubicBezTo>
                    <a:pt x="5562" y="12316"/>
                    <a:pt x="5562" y="12316"/>
                    <a:pt x="5562" y="12316"/>
                  </a:cubicBezTo>
                  <a:cubicBezTo>
                    <a:pt x="5576" y="12226"/>
                    <a:pt x="5576" y="12226"/>
                    <a:pt x="5576" y="12226"/>
                  </a:cubicBezTo>
                  <a:cubicBezTo>
                    <a:pt x="5587" y="12228"/>
                    <a:pt x="5587" y="12228"/>
                    <a:pt x="5587" y="12228"/>
                  </a:cubicBezTo>
                  <a:lnTo>
                    <a:pt x="5595" y="12176"/>
                  </a:lnTo>
                  <a:close/>
                  <a:moveTo>
                    <a:pt x="6909" y="13971"/>
                  </a:moveTo>
                  <a:cubicBezTo>
                    <a:pt x="6901" y="14022"/>
                    <a:pt x="6901" y="14022"/>
                    <a:pt x="6901" y="14022"/>
                  </a:cubicBezTo>
                  <a:cubicBezTo>
                    <a:pt x="6891" y="14021"/>
                    <a:pt x="6891" y="14021"/>
                    <a:pt x="6891" y="14021"/>
                  </a:cubicBezTo>
                  <a:cubicBezTo>
                    <a:pt x="6874" y="14137"/>
                    <a:pt x="6874" y="14137"/>
                    <a:pt x="6874" y="14137"/>
                  </a:cubicBezTo>
                  <a:cubicBezTo>
                    <a:pt x="6989" y="14152"/>
                    <a:pt x="6989" y="14152"/>
                    <a:pt x="6989" y="14152"/>
                  </a:cubicBezTo>
                  <a:cubicBezTo>
                    <a:pt x="6995" y="14153"/>
                    <a:pt x="6995" y="14153"/>
                    <a:pt x="6995" y="14153"/>
                  </a:cubicBezTo>
                  <a:cubicBezTo>
                    <a:pt x="7004" y="14096"/>
                    <a:pt x="7004" y="14096"/>
                    <a:pt x="7004" y="14096"/>
                  </a:cubicBezTo>
                  <a:cubicBezTo>
                    <a:pt x="7076" y="14107"/>
                    <a:pt x="7076" y="14107"/>
                    <a:pt x="7076" y="14107"/>
                  </a:cubicBezTo>
                  <a:cubicBezTo>
                    <a:pt x="7093" y="13998"/>
                    <a:pt x="7093" y="13998"/>
                    <a:pt x="7093" y="13998"/>
                  </a:cubicBezTo>
                  <a:lnTo>
                    <a:pt x="6909" y="13971"/>
                  </a:lnTo>
                  <a:close/>
                  <a:moveTo>
                    <a:pt x="7065" y="14092"/>
                  </a:moveTo>
                  <a:cubicBezTo>
                    <a:pt x="6993" y="14081"/>
                    <a:pt x="6993" y="14081"/>
                    <a:pt x="6993" y="14081"/>
                  </a:cubicBezTo>
                  <a:cubicBezTo>
                    <a:pt x="6984" y="14138"/>
                    <a:pt x="6984" y="14138"/>
                    <a:pt x="6984" y="14138"/>
                  </a:cubicBezTo>
                  <a:cubicBezTo>
                    <a:pt x="6889" y="14126"/>
                    <a:pt x="6889" y="14126"/>
                    <a:pt x="6889" y="14126"/>
                  </a:cubicBezTo>
                  <a:cubicBezTo>
                    <a:pt x="6902" y="14036"/>
                    <a:pt x="6902" y="14036"/>
                    <a:pt x="6902" y="14036"/>
                  </a:cubicBezTo>
                  <a:cubicBezTo>
                    <a:pt x="6913" y="14037"/>
                    <a:pt x="6913" y="14037"/>
                    <a:pt x="6913" y="14037"/>
                  </a:cubicBezTo>
                  <a:cubicBezTo>
                    <a:pt x="6920" y="13986"/>
                    <a:pt x="6920" y="13986"/>
                    <a:pt x="6920" y="13986"/>
                  </a:cubicBezTo>
                  <a:cubicBezTo>
                    <a:pt x="7078" y="14009"/>
                    <a:pt x="7078" y="14009"/>
                    <a:pt x="7078" y="14009"/>
                  </a:cubicBezTo>
                  <a:lnTo>
                    <a:pt x="7065" y="14092"/>
                  </a:lnTo>
                  <a:close/>
                  <a:moveTo>
                    <a:pt x="7208" y="13898"/>
                  </a:moveTo>
                  <a:cubicBezTo>
                    <a:pt x="7197" y="13897"/>
                    <a:pt x="7197" y="13897"/>
                    <a:pt x="7197" y="13897"/>
                  </a:cubicBezTo>
                  <a:cubicBezTo>
                    <a:pt x="7180" y="14013"/>
                    <a:pt x="7180" y="14013"/>
                    <a:pt x="7180" y="14013"/>
                  </a:cubicBezTo>
                  <a:cubicBezTo>
                    <a:pt x="7295" y="14028"/>
                    <a:pt x="7295" y="14028"/>
                    <a:pt x="7295" y="14028"/>
                  </a:cubicBezTo>
                  <a:cubicBezTo>
                    <a:pt x="7302" y="14029"/>
                    <a:pt x="7302" y="14029"/>
                    <a:pt x="7302" y="14029"/>
                  </a:cubicBezTo>
                  <a:cubicBezTo>
                    <a:pt x="7310" y="13972"/>
                    <a:pt x="7310" y="13972"/>
                    <a:pt x="7310" y="13972"/>
                  </a:cubicBezTo>
                  <a:cubicBezTo>
                    <a:pt x="7382" y="13983"/>
                    <a:pt x="7382" y="13983"/>
                    <a:pt x="7382" y="13983"/>
                  </a:cubicBezTo>
                  <a:cubicBezTo>
                    <a:pt x="7399" y="13874"/>
                    <a:pt x="7399" y="13874"/>
                    <a:pt x="7399" y="13874"/>
                  </a:cubicBezTo>
                  <a:cubicBezTo>
                    <a:pt x="7215" y="13847"/>
                    <a:pt x="7215" y="13847"/>
                    <a:pt x="7215" y="13847"/>
                  </a:cubicBezTo>
                  <a:lnTo>
                    <a:pt x="7208" y="13898"/>
                  </a:lnTo>
                  <a:close/>
                  <a:moveTo>
                    <a:pt x="7226" y="13862"/>
                  </a:moveTo>
                  <a:cubicBezTo>
                    <a:pt x="7384" y="13885"/>
                    <a:pt x="7384" y="13885"/>
                    <a:pt x="7384" y="13885"/>
                  </a:cubicBezTo>
                  <a:cubicBezTo>
                    <a:pt x="7371" y="13968"/>
                    <a:pt x="7371" y="13968"/>
                    <a:pt x="7371" y="13968"/>
                  </a:cubicBezTo>
                  <a:cubicBezTo>
                    <a:pt x="7299" y="13957"/>
                    <a:pt x="7299" y="13957"/>
                    <a:pt x="7299" y="13957"/>
                  </a:cubicBezTo>
                  <a:cubicBezTo>
                    <a:pt x="7290" y="14014"/>
                    <a:pt x="7290" y="14014"/>
                    <a:pt x="7290" y="14014"/>
                  </a:cubicBezTo>
                  <a:cubicBezTo>
                    <a:pt x="7195" y="14002"/>
                    <a:pt x="7195" y="14002"/>
                    <a:pt x="7195" y="14002"/>
                  </a:cubicBezTo>
                  <a:cubicBezTo>
                    <a:pt x="7208" y="13912"/>
                    <a:pt x="7208" y="13912"/>
                    <a:pt x="7208" y="13912"/>
                  </a:cubicBezTo>
                  <a:cubicBezTo>
                    <a:pt x="7219" y="13913"/>
                    <a:pt x="7219" y="13913"/>
                    <a:pt x="7219" y="13913"/>
                  </a:cubicBezTo>
                  <a:lnTo>
                    <a:pt x="7226" y="13862"/>
                  </a:lnTo>
                  <a:close/>
                  <a:moveTo>
                    <a:pt x="7527" y="13884"/>
                  </a:moveTo>
                  <a:cubicBezTo>
                    <a:pt x="7516" y="13883"/>
                    <a:pt x="7516" y="13883"/>
                    <a:pt x="7516" y="13883"/>
                  </a:cubicBezTo>
                  <a:cubicBezTo>
                    <a:pt x="7499" y="13999"/>
                    <a:pt x="7499" y="13999"/>
                    <a:pt x="7499" y="13999"/>
                  </a:cubicBezTo>
                  <a:cubicBezTo>
                    <a:pt x="7614" y="14014"/>
                    <a:pt x="7614" y="14014"/>
                    <a:pt x="7614" y="14014"/>
                  </a:cubicBezTo>
                  <a:cubicBezTo>
                    <a:pt x="7621" y="14014"/>
                    <a:pt x="7621" y="14014"/>
                    <a:pt x="7621" y="14014"/>
                  </a:cubicBezTo>
                  <a:cubicBezTo>
                    <a:pt x="7629" y="13958"/>
                    <a:pt x="7629" y="13958"/>
                    <a:pt x="7629" y="13958"/>
                  </a:cubicBezTo>
                  <a:cubicBezTo>
                    <a:pt x="7701" y="13969"/>
                    <a:pt x="7701" y="13969"/>
                    <a:pt x="7701" y="13969"/>
                  </a:cubicBezTo>
                  <a:cubicBezTo>
                    <a:pt x="7718" y="13860"/>
                    <a:pt x="7718" y="13860"/>
                    <a:pt x="7718" y="13860"/>
                  </a:cubicBezTo>
                  <a:cubicBezTo>
                    <a:pt x="7534" y="13832"/>
                    <a:pt x="7534" y="13832"/>
                    <a:pt x="7534" y="13832"/>
                  </a:cubicBezTo>
                  <a:lnTo>
                    <a:pt x="7527" y="13884"/>
                  </a:lnTo>
                  <a:close/>
                  <a:moveTo>
                    <a:pt x="7545" y="13847"/>
                  </a:moveTo>
                  <a:cubicBezTo>
                    <a:pt x="7703" y="13871"/>
                    <a:pt x="7703" y="13871"/>
                    <a:pt x="7703" y="13871"/>
                  </a:cubicBezTo>
                  <a:cubicBezTo>
                    <a:pt x="7690" y="13954"/>
                    <a:pt x="7690" y="13954"/>
                    <a:pt x="7690" y="13954"/>
                  </a:cubicBezTo>
                  <a:cubicBezTo>
                    <a:pt x="7618" y="13943"/>
                    <a:pt x="7618" y="13943"/>
                    <a:pt x="7618" y="13943"/>
                  </a:cubicBezTo>
                  <a:cubicBezTo>
                    <a:pt x="7609" y="14000"/>
                    <a:pt x="7609" y="14000"/>
                    <a:pt x="7609" y="14000"/>
                  </a:cubicBezTo>
                  <a:cubicBezTo>
                    <a:pt x="7514" y="13988"/>
                    <a:pt x="7514" y="13988"/>
                    <a:pt x="7514" y="13988"/>
                  </a:cubicBezTo>
                  <a:cubicBezTo>
                    <a:pt x="7527" y="13897"/>
                    <a:pt x="7527" y="13897"/>
                    <a:pt x="7527" y="13897"/>
                  </a:cubicBezTo>
                  <a:cubicBezTo>
                    <a:pt x="7538" y="13899"/>
                    <a:pt x="7538" y="13899"/>
                    <a:pt x="7538" y="13899"/>
                  </a:cubicBezTo>
                  <a:lnTo>
                    <a:pt x="7545" y="13847"/>
                  </a:lnTo>
                  <a:close/>
                  <a:moveTo>
                    <a:pt x="5857" y="15387"/>
                  </a:moveTo>
                  <a:cubicBezTo>
                    <a:pt x="5914" y="15387"/>
                    <a:pt x="5914" y="15387"/>
                    <a:pt x="5914" y="15387"/>
                  </a:cubicBezTo>
                  <a:cubicBezTo>
                    <a:pt x="5915" y="15460"/>
                    <a:pt x="5915" y="15460"/>
                    <a:pt x="5915" y="15460"/>
                  </a:cubicBezTo>
                  <a:cubicBezTo>
                    <a:pt x="6025" y="15459"/>
                    <a:pt x="6025" y="15459"/>
                    <a:pt x="6025" y="15459"/>
                  </a:cubicBezTo>
                  <a:cubicBezTo>
                    <a:pt x="6023" y="15274"/>
                    <a:pt x="6023" y="15274"/>
                    <a:pt x="6023" y="15274"/>
                  </a:cubicBezTo>
                  <a:cubicBezTo>
                    <a:pt x="5971" y="15274"/>
                    <a:pt x="5971" y="15274"/>
                    <a:pt x="5971" y="15274"/>
                  </a:cubicBezTo>
                  <a:cubicBezTo>
                    <a:pt x="5971" y="15264"/>
                    <a:pt x="5971" y="15264"/>
                    <a:pt x="5971" y="15264"/>
                  </a:cubicBezTo>
                  <a:cubicBezTo>
                    <a:pt x="5853" y="15265"/>
                    <a:pt x="5853" y="15265"/>
                    <a:pt x="5853" y="15265"/>
                  </a:cubicBezTo>
                  <a:cubicBezTo>
                    <a:pt x="5857" y="15381"/>
                    <a:pt x="5857" y="15381"/>
                    <a:pt x="5857" y="15381"/>
                  </a:cubicBezTo>
                  <a:lnTo>
                    <a:pt x="5857" y="15387"/>
                  </a:lnTo>
                  <a:close/>
                  <a:moveTo>
                    <a:pt x="5958" y="15277"/>
                  </a:moveTo>
                  <a:cubicBezTo>
                    <a:pt x="5958" y="15288"/>
                    <a:pt x="5958" y="15288"/>
                    <a:pt x="5958" y="15288"/>
                  </a:cubicBezTo>
                  <a:cubicBezTo>
                    <a:pt x="6010" y="15287"/>
                    <a:pt x="6010" y="15287"/>
                    <a:pt x="6010" y="15287"/>
                  </a:cubicBezTo>
                  <a:cubicBezTo>
                    <a:pt x="6011" y="15446"/>
                    <a:pt x="6011" y="15446"/>
                    <a:pt x="6011" y="15446"/>
                  </a:cubicBezTo>
                  <a:cubicBezTo>
                    <a:pt x="5928" y="15447"/>
                    <a:pt x="5928" y="15447"/>
                    <a:pt x="5928" y="15447"/>
                  </a:cubicBezTo>
                  <a:cubicBezTo>
                    <a:pt x="5927" y="15374"/>
                    <a:pt x="5927" y="15374"/>
                    <a:pt x="5927" y="15374"/>
                  </a:cubicBezTo>
                  <a:cubicBezTo>
                    <a:pt x="5870" y="15374"/>
                    <a:pt x="5870" y="15374"/>
                    <a:pt x="5870" y="15374"/>
                  </a:cubicBezTo>
                  <a:cubicBezTo>
                    <a:pt x="5867" y="15278"/>
                    <a:pt x="5867" y="15278"/>
                    <a:pt x="5867" y="15278"/>
                  </a:cubicBezTo>
                  <a:lnTo>
                    <a:pt x="5958" y="15277"/>
                  </a:lnTo>
                  <a:close/>
                  <a:moveTo>
                    <a:pt x="4170" y="17291"/>
                  </a:moveTo>
                  <a:cubicBezTo>
                    <a:pt x="4160" y="17291"/>
                    <a:pt x="4160" y="17291"/>
                    <a:pt x="4160" y="17291"/>
                  </a:cubicBezTo>
                  <a:cubicBezTo>
                    <a:pt x="4156" y="17409"/>
                    <a:pt x="4156" y="17409"/>
                    <a:pt x="4156" y="17409"/>
                  </a:cubicBezTo>
                  <a:cubicBezTo>
                    <a:pt x="4273" y="17409"/>
                    <a:pt x="4273" y="17409"/>
                    <a:pt x="4273" y="17409"/>
                  </a:cubicBezTo>
                  <a:cubicBezTo>
                    <a:pt x="4279" y="17410"/>
                    <a:pt x="4279" y="17410"/>
                    <a:pt x="4279" y="17410"/>
                  </a:cubicBezTo>
                  <a:cubicBezTo>
                    <a:pt x="4281" y="17352"/>
                    <a:pt x="4281" y="17352"/>
                    <a:pt x="4281" y="17352"/>
                  </a:cubicBezTo>
                  <a:cubicBezTo>
                    <a:pt x="4354" y="17355"/>
                    <a:pt x="4354" y="17355"/>
                    <a:pt x="4354" y="17355"/>
                  </a:cubicBezTo>
                  <a:cubicBezTo>
                    <a:pt x="4357" y="17245"/>
                    <a:pt x="4357" y="17245"/>
                    <a:pt x="4357" y="17245"/>
                  </a:cubicBezTo>
                  <a:cubicBezTo>
                    <a:pt x="4172" y="17239"/>
                    <a:pt x="4172" y="17239"/>
                    <a:pt x="4172" y="17239"/>
                  </a:cubicBezTo>
                  <a:lnTo>
                    <a:pt x="4170" y="17291"/>
                  </a:lnTo>
                  <a:close/>
                  <a:moveTo>
                    <a:pt x="4183" y="17305"/>
                  </a:moveTo>
                  <a:cubicBezTo>
                    <a:pt x="4185" y="17253"/>
                    <a:pt x="4185" y="17253"/>
                    <a:pt x="4185" y="17253"/>
                  </a:cubicBezTo>
                  <a:cubicBezTo>
                    <a:pt x="4344" y="17258"/>
                    <a:pt x="4344" y="17258"/>
                    <a:pt x="4344" y="17258"/>
                  </a:cubicBezTo>
                  <a:cubicBezTo>
                    <a:pt x="4341" y="17341"/>
                    <a:pt x="4341" y="17341"/>
                    <a:pt x="4341" y="17341"/>
                  </a:cubicBezTo>
                  <a:cubicBezTo>
                    <a:pt x="4268" y="17339"/>
                    <a:pt x="4268" y="17339"/>
                    <a:pt x="4268" y="17339"/>
                  </a:cubicBezTo>
                  <a:cubicBezTo>
                    <a:pt x="4266" y="17396"/>
                    <a:pt x="4266" y="17396"/>
                    <a:pt x="4266" y="17396"/>
                  </a:cubicBezTo>
                  <a:cubicBezTo>
                    <a:pt x="4170" y="17396"/>
                    <a:pt x="4170" y="17396"/>
                    <a:pt x="4170" y="17396"/>
                  </a:cubicBezTo>
                  <a:cubicBezTo>
                    <a:pt x="4173" y="17304"/>
                    <a:pt x="4173" y="17304"/>
                    <a:pt x="4173" y="17304"/>
                  </a:cubicBezTo>
                  <a:lnTo>
                    <a:pt x="4183" y="17305"/>
                  </a:lnTo>
                  <a:close/>
                  <a:moveTo>
                    <a:pt x="5002" y="17916"/>
                  </a:moveTo>
                  <a:cubicBezTo>
                    <a:pt x="5003" y="18000"/>
                    <a:pt x="5003" y="18000"/>
                    <a:pt x="5003" y="18000"/>
                  </a:cubicBezTo>
                  <a:cubicBezTo>
                    <a:pt x="4989" y="18000"/>
                    <a:pt x="4989" y="18000"/>
                    <a:pt x="4989" y="18000"/>
                  </a:cubicBezTo>
                  <a:cubicBezTo>
                    <a:pt x="4989" y="17929"/>
                    <a:pt x="4989" y="17929"/>
                    <a:pt x="4989" y="17929"/>
                  </a:cubicBezTo>
                  <a:cubicBezTo>
                    <a:pt x="4937" y="17929"/>
                    <a:pt x="4937" y="17929"/>
                    <a:pt x="4937" y="17929"/>
                  </a:cubicBezTo>
                  <a:cubicBezTo>
                    <a:pt x="4937" y="17919"/>
                    <a:pt x="4937" y="17919"/>
                    <a:pt x="4937" y="17919"/>
                  </a:cubicBezTo>
                  <a:cubicBezTo>
                    <a:pt x="4846" y="17919"/>
                    <a:pt x="4846" y="17919"/>
                    <a:pt x="4846" y="17919"/>
                  </a:cubicBezTo>
                  <a:cubicBezTo>
                    <a:pt x="4848" y="18000"/>
                    <a:pt x="4848" y="18000"/>
                    <a:pt x="4848" y="18000"/>
                  </a:cubicBezTo>
                  <a:cubicBezTo>
                    <a:pt x="4835" y="18000"/>
                    <a:pt x="4835" y="18000"/>
                    <a:pt x="4835" y="18000"/>
                  </a:cubicBezTo>
                  <a:cubicBezTo>
                    <a:pt x="4832" y="17906"/>
                    <a:pt x="4832" y="17906"/>
                    <a:pt x="4832" y="17906"/>
                  </a:cubicBezTo>
                  <a:cubicBezTo>
                    <a:pt x="4950" y="17906"/>
                    <a:pt x="4950" y="17906"/>
                    <a:pt x="4950" y="17906"/>
                  </a:cubicBezTo>
                  <a:cubicBezTo>
                    <a:pt x="4950" y="17916"/>
                    <a:pt x="4950" y="17916"/>
                    <a:pt x="4950" y="17916"/>
                  </a:cubicBezTo>
                  <a:lnTo>
                    <a:pt x="5002" y="17916"/>
                  </a:lnTo>
                  <a:close/>
                  <a:moveTo>
                    <a:pt x="5145" y="5937"/>
                  </a:moveTo>
                  <a:cubicBezTo>
                    <a:pt x="5253" y="5958"/>
                    <a:pt x="5253" y="5958"/>
                    <a:pt x="5253" y="5958"/>
                  </a:cubicBezTo>
                  <a:cubicBezTo>
                    <a:pt x="5289" y="5776"/>
                    <a:pt x="5289" y="5776"/>
                    <a:pt x="5289" y="5776"/>
                  </a:cubicBezTo>
                  <a:cubicBezTo>
                    <a:pt x="5238" y="5766"/>
                    <a:pt x="5238" y="5766"/>
                    <a:pt x="5238" y="5766"/>
                  </a:cubicBezTo>
                  <a:cubicBezTo>
                    <a:pt x="5240" y="5756"/>
                    <a:pt x="5240" y="5756"/>
                    <a:pt x="5240" y="5756"/>
                  </a:cubicBezTo>
                  <a:cubicBezTo>
                    <a:pt x="5124" y="5733"/>
                    <a:pt x="5124" y="5733"/>
                    <a:pt x="5124" y="5733"/>
                  </a:cubicBezTo>
                  <a:cubicBezTo>
                    <a:pt x="5105" y="5847"/>
                    <a:pt x="5105" y="5847"/>
                    <a:pt x="5105" y="5847"/>
                  </a:cubicBezTo>
                  <a:cubicBezTo>
                    <a:pt x="5103" y="5854"/>
                    <a:pt x="5103" y="5854"/>
                    <a:pt x="5103" y="5854"/>
                  </a:cubicBezTo>
                  <a:cubicBezTo>
                    <a:pt x="5160" y="5865"/>
                    <a:pt x="5160" y="5865"/>
                    <a:pt x="5160" y="5865"/>
                  </a:cubicBezTo>
                  <a:lnTo>
                    <a:pt x="5145" y="5937"/>
                  </a:lnTo>
                  <a:close/>
                  <a:moveTo>
                    <a:pt x="5119" y="5843"/>
                  </a:moveTo>
                  <a:cubicBezTo>
                    <a:pt x="5135" y="5748"/>
                    <a:pt x="5135" y="5748"/>
                    <a:pt x="5135" y="5748"/>
                  </a:cubicBezTo>
                  <a:cubicBezTo>
                    <a:pt x="5224" y="5766"/>
                    <a:pt x="5224" y="5766"/>
                    <a:pt x="5224" y="5766"/>
                  </a:cubicBezTo>
                  <a:cubicBezTo>
                    <a:pt x="5222" y="5776"/>
                    <a:pt x="5222" y="5776"/>
                    <a:pt x="5222" y="5776"/>
                  </a:cubicBezTo>
                  <a:cubicBezTo>
                    <a:pt x="5274" y="5786"/>
                    <a:pt x="5274" y="5786"/>
                    <a:pt x="5274" y="5786"/>
                  </a:cubicBezTo>
                  <a:cubicBezTo>
                    <a:pt x="5243" y="5942"/>
                    <a:pt x="5243" y="5942"/>
                    <a:pt x="5243" y="5942"/>
                  </a:cubicBezTo>
                  <a:cubicBezTo>
                    <a:pt x="5161" y="5926"/>
                    <a:pt x="5161" y="5926"/>
                    <a:pt x="5161" y="5926"/>
                  </a:cubicBezTo>
                  <a:cubicBezTo>
                    <a:pt x="5175" y="5855"/>
                    <a:pt x="5175" y="5855"/>
                    <a:pt x="5175" y="5855"/>
                  </a:cubicBezTo>
                  <a:lnTo>
                    <a:pt x="5119" y="5843"/>
                  </a:lnTo>
                  <a:close/>
                  <a:moveTo>
                    <a:pt x="2592" y="4265"/>
                  </a:moveTo>
                  <a:cubicBezTo>
                    <a:pt x="2524" y="4360"/>
                    <a:pt x="2524" y="4360"/>
                    <a:pt x="2524" y="4360"/>
                  </a:cubicBezTo>
                  <a:cubicBezTo>
                    <a:pt x="2520" y="4365"/>
                    <a:pt x="2520" y="4365"/>
                    <a:pt x="2520" y="4365"/>
                  </a:cubicBezTo>
                  <a:cubicBezTo>
                    <a:pt x="2566" y="4400"/>
                    <a:pt x="2566" y="4400"/>
                    <a:pt x="2566" y="4400"/>
                  </a:cubicBezTo>
                  <a:cubicBezTo>
                    <a:pt x="2521" y="4458"/>
                    <a:pt x="2521" y="4458"/>
                    <a:pt x="2521" y="4458"/>
                  </a:cubicBezTo>
                  <a:cubicBezTo>
                    <a:pt x="2608" y="4524"/>
                    <a:pt x="2608" y="4524"/>
                    <a:pt x="2608" y="4524"/>
                  </a:cubicBezTo>
                  <a:cubicBezTo>
                    <a:pt x="2721" y="4377"/>
                    <a:pt x="2721" y="4377"/>
                    <a:pt x="2721" y="4377"/>
                  </a:cubicBezTo>
                  <a:cubicBezTo>
                    <a:pt x="2680" y="4345"/>
                    <a:pt x="2680" y="4345"/>
                    <a:pt x="2680" y="4345"/>
                  </a:cubicBezTo>
                  <a:cubicBezTo>
                    <a:pt x="2686" y="4337"/>
                    <a:pt x="2686" y="4337"/>
                    <a:pt x="2686" y="4337"/>
                  </a:cubicBezTo>
                  <a:lnTo>
                    <a:pt x="2592" y="4265"/>
                  </a:lnTo>
                  <a:close/>
                  <a:moveTo>
                    <a:pt x="2703" y="4379"/>
                  </a:moveTo>
                  <a:cubicBezTo>
                    <a:pt x="2606" y="4506"/>
                    <a:pt x="2606" y="4506"/>
                    <a:pt x="2606" y="4506"/>
                  </a:cubicBezTo>
                  <a:cubicBezTo>
                    <a:pt x="2539" y="4455"/>
                    <a:pt x="2539" y="4455"/>
                    <a:pt x="2539" y="4455"/>
                  </a:cubicBezTo>
                  <a:cubicBezTo>
                    <a:pt x="2584" y="4397"/>
                    <a:pt x="2584" y="4397"/>
                    <a:pt x="2584" y="4397"/>
                  </a:cubicBezTo>
                  <a:cubicBezTo>
                    <a:pt x="2538" y="4362"/>
                    <a:pt x="2538" y="4362"/>
                    <a:pt x="2538" y="4362"/>
                  </a:cubicBezTo>
                  <a:cubicBezTo>
                    <a:pt x="2595" y="4284"/>
                    <a:pt x="2595" y="4284"/>
                    <a:pt x="2595" y="4284"/>
                  </a:cubicBezTo>
                  <a:cubicBezTo>
                    <a:pt x="2667" y="4339"/>
                    <a:pt x="2667" y="4339"/>
                    <a:pt x="2667" y="4339"/>
                  </a:cubicBezTo>
                  <a:cubicBezTo>
                    <a:pt x="2661" y="4348"/>
                    <a:pt x="2661" y="4348"/>
                    <a:pt x="2661" y="4348"/>
                  </a:cubicBezTo>
                  <a:lnTo>
                    <a:pt x="2703" y="4379"/>
                  </a:lnTo>
                  <a:close/>
                  <a:moveTo>
                    <a:pt x="3546" y="5168"/>
                  </a:moveTo>
                  <a:cubicBezTo>
                    <a:pt x="3453" y="5096"/>
                    <a:pt x="3453" y="5096"/>
                    <a:pt x="3453" y="5096"/>
                  </a:cubicBezTo>
                  <a:cubicBezTo>
                    <a:pt x="3384" y="5189"/>
                    <a:pt x="3384" y="5189"/>
                    <a:pt x="3384" y="5189"/>
                  </a:cubicBezTo>
                  <a:cubicBezTo>
                    <a:pt x="3380" y="5194"/>
                    <a:pt x="3380" y="5194"/>
                    <a:pt x="3380" y="5194"/>
                  </a:cubicBezTo>
                  <a:cubicBezTo>
                    <a:pt x="3425" y="5230"/>
                    <a:pt x="3425" y="5230"/>
                    <a:pt x="3425" y="5230"/>
                  </a:cubicBezTo>
                  <a:cubicBezTo>
                    <a:pt x="3380" y="5287"/>
                    <a:pt x="3380" y="5287"/>
                    <a:pt x="3380" y="5287"/>
                  </a:cubicBezTo>
                  <a:cubicBezTo>
                    <a:pt x="3467" y="5355"/>
                    <a:pt x="3467" y="5355"/>
                    <a:pt x="3467" y="5355"/>
                  </a:cubicBezTo>
                  <a:cubicBezTo>
                    <a:pt x="3581" y="5208"/>
                    <a:pt x="3581" y="5208"/>
                    <a:pt x="3581" y="5208"/>
                  </a:cubicBezTo>
                  <a:cubicBezTo>
                    <a:pt x="3539" y="5176"/>
                    <a:pt x="3539" y="5176"/>
                    <a:pt x="3539" y="5176"/>
                  </a:cubicBezTo>
                  <a:lnTo>
                    <a:pt x="3546" y="5168"/>
                  </a:lnTo>
                  <a:close/>
                  <a:moveTo>
                    <a:pt x="3562" y="5210"/>
                  </a:moveTo>
                  <a:cubicBezTo>
                    <a:pt x="3465" y="5336"/>
                    <a:pt x="3465" y="5336"/>
                    <a:pt x="3465" y="5336"/>
                  </a:cubicBezTo>
                  <a:cubicBezTo>
                    <a:pt x="3399" y="5285"/>
                    <a:pt x="3399" y="5285"/>
                    <a:pt x="3399" y="5285"/>
                  </a:cubicBezTo>
                  <a:cubicBezTo>
                    <a:pt x="3443" y="5227"/>
                    <a:pt x="3443" y="5227"/>
                    <a:pt x="3443" y="5227"/>
                  </a:cubicBezTo>
                  <a:cubicBezTo>
                    <a:pt x="3398" y="5192"/>
                    <a:pt x="3398" y="5192"/>
                    <a:pt x="3398" y="5192"/>
                  </a:cubicBezTo>
                  <a:cubicBezTo>
                    <a:pt x="3455" y="5114"/>
                    <a:pt x="3455" y="5114"/>
                    <a:pt x="3455" y="5114"/>
                  </a:cubicBezTo>
                  <a:cubicBezTo>
                    <a:pt x="3527" y="5170"/>
                    <a:pt x="3527" y="5170"/>
                    <a:pt x="3527" y="5170"/>
                  </a:cubicBezTo>
                  <a:cubicBezTo>
                    <a:pt x="3521" y="5178"/>
                    <a:pt x="3521" y="5178"/>
                    <a:pt x="3521" y="5178"/>
                  </a:cubicBezTo>
                  <a:lnTo>
                    <a:pt x="3562" y="5210"/>
                  </a:lnTo>
                  <a:close/>
                  <a:moveTo>
                    <a:pt x="12110" y="11947"/>
                  </a:moveTo>
                  <a:cubicBezTo>
                    <a:pt x="12213" y="11892"/>
                    <a:pt x="12213" y="11892"/>
                    <a:pt x="12213" y="11892"/>
                  </a:cubicBezTo>
                  <a:cubicBezTo>
                    <a:pt x="12219" y="11889"/>
                    <a:pt x="12219" y="11889"/>
                    <a:pt x="12219" y="11889"/>
                  </a:cubicBezTo>
                  <a:cubicBezTo>
                    <a:pt x="12193" y="11838"/>
                    <a:pt x="12193" y="11838"/>
                    <a:pt x="12193" y="11838"/>
                  </a:cubicBezTo>
                  <a:cubicBezTo>
                    <a:pt x="12258" y="11805"/>
                    <a:pt x="12258" y="11805"/>
                    <a:pt x="12258" y="11805"/>
                  </a:cubicBezTo>
                  <a:cubicBezTo>
                    <a:pt x="12208" y="11707"/>
                    <a:pt x="12208" y="11707"/>
                    <a:pt x="12208" y="11707"/>
                  </a:cubicBezTo>
                  <a:cubicBezTo>
                    <a:pt x="12043" y="11791"/>
                    <a:pt x="12043" y="11791"/>
                    <a:pt x="12043" y="11791"/>
                  </a:cubicBezTo>
                  <a:cubicBezTo>
                    <a:pt x="12066" y="11837"/>
                    <a:pt x="12066" y="11837"/>
                    <a:pt x="12066" y="11837"/>
                  </a:cubicBezTo>
                  <a:cubicBezTo>
                    <a:pt x="12057" y="11842"/>
                    <a:pt x="12057" y="11842"/>
                    <a:pt x="12057" y="11842"/>
                  </a:cubicBezTo>
                  <a:lnTo>
                    <a:pt x="12110" y="11947"/>
                  </a:lnTo>
                  <a:close/>
                  <a:moveTo>
                    <a:pt x="12060" y="11797"/>
                  </a:moveTo>
                  <a:cubicBezTo>
                    <a:pt x="12202" y="11724"/>
                    <a:pt x="12202" y="11724"/>
                    <a:pt x="12202" y="11724"/>
                  </a:cubicBezTo>
                  <a:cubicBezTo>
                    <a:pt x="12240" y="11799"/>
                    <a:pt x="12240" y="11799"/>
                    <a:pt x="12240" y="11799"/>
                  </a:cubicBezTo>
                  <a:cubicBezTo>
                    <a:pt x="12175" y="11832"/>
                    <a:pt x="12175" y="11832"/>
                    <a:pt x="12175" y="11832"/>
                  </a:cubicBezTo>
                  <a:cubicBezTo>
                    <a:pt x="12201" y="11883"/>
                    <a:pt x="12201" y="11883"/>
                    <a:pt x="12201" y="11883"/>
                  </a:cubicBezTo>
                  <a:cubicBezTo>
                    <a:pt x="12116" y="11929"/>
                    <a:pt x="12116" y="11929"/>
                    <a:pt x="12116" y="11929"/>
                  </a:cubicBezTo>
                  <a:cubicBezTo>
                    <a:pt x="12075" y="11848"/>
                    <a:pt x="12075" y="11848"/>
                    <a:pt x="12075" y="11848"/>
                  </a:cubicBezTo>
                  <a:cubicBezTo>
                    <a:pt x="12084" y="11843"/>
                    <a:pt x="12084" y="11843"/>
                    <a:pt x="12084" y="11843"/>
                  </a:cubicBezTo>
                  <a:lnTo>
                    <a:pt x="12060" y="11797"/>
                  </a:lnTo>
                  <a:close/>
                  <a:moveTo>
                    <a:pt x="11714" y="11956"/>
                  </a:moveTo>
                  <a:cubicBezTo>
                    <a:pt x="11826" y="11992"/>
                    <a:pt x="11826" y="11992"/>
                    <a:pt x="11826" y="11992"/>
                  </a:cubicBezTo>
                  <a:cubicBezTo>
                    <a:pt x="11859" y="11880"/>
                    <a:pt x="11859" y="11880"/>
                    <a:pt x="11859" y="11880"/>
                  </a:cubicBezTo>
                  <a:cubicBezTo>
                    <a:pt x="11861" y="11874"/>
                    <a:pt x="11861" y="11874"/>
                    <a:pt x="11861" y="11874"/>
                  </a:cubicBezTo>
                  <a:cubicBezTo>
                    <a:pt x="11806" y="11857"/>
                    <a:pt x="11806" y="11857"/>
                    <a:pt x="11806" y="11857"/>
                  </a:cubicBezTo>
                  <a:cubicBezTo>
                    <a:pt x="11829" y="11787"/>
                    <a:pt x="11829" y="11787"/>
                    <a:pt x="11829" y="11787"/>
                  </a:cubicBezTo>
                  <a:cubicBezTo>
                    <a:pt x="11725" y="11753"/>
                    <a:pt x="11725" y="11753"/>
                    <a:pt x="11725" y="11753"/>
                  </a:cubicBezTo>
                  <a:cubicBezTo>
                    <a:pt x="11667" y="11930"/>
                    <a:pt x="11667" y="11930"/>
                    <a:pt x="11667" y="11930"/>
                  </a:cubicBezTo>
                  <a:cubicBezTo>
                    <a:pt x="11717" y="11946"/>
                    <a:pt x="11717" y="11946"/>
                    <a:pt x="11717" y="11946"/>
                  </a:cubicBezTo>
                  <a:lnTo>
                    <a:pt x="11714" y="11956"/>
                  </a:lnTo>
                  <a:close/>
                  <a:moveTo>
                    <a:pt x="11684" y="11921"/>
                  </a:moveTo>
                  <a:cubicBezTo>
                    <a:pt x="11733" y="11770"/>
                    <a:pt x="11733" y="11770"/>
                    <a:pt x="11733" y="11770"/>
                  </a:cubicBezTo>
                  <a:cubicBezTo>
                    <a:pt x="11812" y="11795"/>
                    <a:pt x="11812" y="11795"/>
                    <a:pt x="11812" y="11795"/>
                  </a:cubicBezTo>
                  <a:cubicBezTo>
                    <a:pt x="11790" y="11865"/>
                    <a:pt x="11790" y="11865"/>
                    <a:pt x="11790" y="11865"/>
                  </a:cubicBezTo>
                  <a:cubicBezTo>
                    <a:pt x="11845" y="11883"/>
                    <a:pt x="11845" y="11883"/>
                    <a:pt x="11845" y="11883"/>
                  </a:cubicBezTo>
                  <a:cubicBezTo>
                    <a:pt x="11817" y="11975"/>
                    <a:pt x="11817" y="11975"/>
                    <a:pt x="11817" y="11975"/>
                  </a:cubicBezTo>
                  <a:cubicBezTo>
                    <a:pt x="11730" y="11947"/>
                    <a:pt x="11730" y="11947"/>
                    <a:pt x="11730" y="11947"/>
                  </a:cubicBezTo>
                  <a:cubicBezTo>
                    <a:pt x="11734" y="11937"/>
                    <a:pt x="11734" y="11937"/>
                    <a:pt x="11734" y="11937"/>
                  </a:cubicBezTo>
                  <a:lnTo>
                    <a:pt x="11684" y="11921"/>
                  </a:lnTo>
                  <a:close/>
                  <a:moveTo>
                    <a:pt x="11404" y="12068"/>
                  </a:moveTo>
                  <a:cubicBezTo>
                    <a:pt x="11516" y="12104"/>
                    <a:pt x="11516" y="12104"/>
                    <a:pt x="11516" y="12104"/>
                  </a:cubicBezTo>
                  <a:cubicBezTo>
                    <a:pt x="11549" y="11992"/>
                    <a:pt x="11549" y="11992"/>
                    <a:pt x="11549" y="11992"/>
                  </a:cubicBezTo>
                  <a:cubicBezTo>
                    <a:pt x="11551" y="11986"/>
                    <a:pt x="11551" y="11986"/>
                    <a:pt x="11551" y="11986"/>
                  </a:cubicBezTo>
                  <a:cubicBezTo>
                    <a:pt x="11497" y="11968"/>
                    <a:pt x="11497" y="11968"/>
                    <a:pt x="11497" y="11968"/>
                  </a:cubicBezTo>
                  <a:cubicBezTo>
                    <a:pt x="11519" y="11899"/>
                    <a:pt x="11519" y="11899"/>
                    <a:pt x="11519" y="11899"/>
                  </a:cubicBezTo>
                  <a:cubicBezTo>
                    <a:pt x="11415" y="11865"/>
                    <a:pt x="11415" y="11865"/>
                    <a:pt x="11415" y="11865"/>
                  </a:cubicBezTo>
                  <a:cubicBezTo>
                    <a:pt x="11358" y="12042"/>
                    <a:pt x="11358" y="12042"/>
                    <a:pt x="11358" y="12042"/>
                  </a:cubicBezTo>
                  <a:cubicBezTo>
                    <a:pt x="11407" y="12058"/>
                    <a:pt x="11407" y="12058"/>
                    <a:pt x="11407" y="12058"/>
                  </a:cubicBezTo>
                  <a:lnTo>
                    <a:pt x="11404" y="12068"/>
                  </a:lnTo>
                  <a:close/>
                  <a:moveTo>
                    <a:pt x="11374" y="12033"/>
                  </a:moveTo>
                  <a:cubicBezTo>
                    <a:pt x="11423" y="11882"/>
                    <a:pt x="11423" y="11882"/>
                    <a:pt x="11423" y="11882"/>
                  </a:cubicBezTo>
                  <a:cubicBezTo>
                    <a:pt x="11503" y="11907"/>
                    <a:pt x="11503" y="11907"/>
                    <a:pt x="11503" y="11907"/>
                  </a:cubicBezTo>
                  <a:cubicBezTo>
                    <a:pt x="11480" y="11977"/>
                    <a:pt x="11480" y="11977"/>
                    <a:pt x="11480" y="11977"/>
                  </a:cubicBezTo>
                  <a:cubicBezTo>
                    <a:pt x="11535" y="11995"/>
                    <a:pt x="11535" y="11995"/>
                    <a:pt x="11535" y="11995"/>
                  </a:cubicBezTo>
                  <a:cubicBezTo>
                    <a:pt x="11507" y="12087"/>
                    <a:pt x="11507" y="12087"/>
                    <a:pt x="11507" y="12087"/>
                  </a:cubicBezTo>
                  <a:cubicBezTo>
                    <a:pt x="11421" y="12059"/>
                    <a:pt x="11421" y="12059"/>
                    <a:pt x="11421" y="12059"/>
                  </a:cubicBezTo>
                  <a:cubicBezTo>
                    <a:pt x="11424" y="12049"/>
                    <a:pt x="11424" y="12049"/>
                    <a:pt x="11424" y="12049"/>
                  </a:cubicBezTo>
                  <a:lnTo>
                    <a:pt x="11374" y="12033"/>
                  </a:lnTo>
                  <a:close/>
                  <a:moveTo>
                    <a:pt x="11169" y="12071"/>
                  </a:moveTo>
                  <a:cubicBezTo>
                    <a:pt x="11191" y="12002"/>
                    <a:pt x="11191" y="12002"/>
                    <a:pt x="11191" y="12002"/>
                  </a:cubicBezTo>
                  <a:cubicBezTo>
                    <a:pt x="11087" y="11968"/>
                    <a:pt x="11087" y="11968"/>
                    <a:pt x="11087" y="11968"/>
                  </a:cubicBezTo>
                  <a:cubicBezTo>
                    <a:pt x="11030" y="12144"/>
                    <a:pt x="11030" y="12144"/>
                    <a:pt x="11030" y="12144"/>
                  </a:cubicBezTo>
                  <a:cubicBezTo>
                    <a:pt x="11079" y="12160"/>
                    <a:pt x="11079" y="12160"/>
                    <a:pt x="11079" y="12160"/>
                  </a:cubicBezTo>
                  <a:cubicBezTo>
                    <a:pt x="11076" y="12170"/>
                    <a:pt x="11076" y="12170"/>
                    <a:pt x="11076" y="12170"/>
                  </a:cubicBezTo>
                  <a:cubicBezTo>
                    <a:pt x="11188" y="12207"/>
                    <a:pt x="11188" y="12207"/>
                    <a:pt x="11188" y="12207"/>
                  </a:cubicBezTo>
                  <a:cubicBezTo>
                    <a:pt x="11221" y="12095"/>
                    <a:pt x="11221" y="12095"/>
                    <a:pt x="11221" y="12095"/>
                  </a:cubicBezTo>
                  <a:cubicBezTo>
                    <a:pt x="11223" y="12089"/>
                    <a:pt x="11223" y="12089"/>
                    <a:pt x="11223" y="12089"/>
                  </a:cubicBezTo>
                  <a:lnTo>
                    <a:pt x="11169" y="12071"/>
                  </a:lnTo>
                  <a:close/>
                  <a:moveTo>
                    <a:pt x="11179" y="12190"/>
                  </a:moveTo>
                  <a:cubicBezTo>
                    <a:pt x="11093" y="12162"/>
                    <a:pt x="11093" y="12162"/>
                    <a:pt x="11093" y="12162"/>
                  </a:cubicBezTo>
                  <a:cubicBezTo>
                    <a:pt x="11096" y="12152"/>
                    <a:pt x="11096" y="12152"/>
                    <a:pt x="11096" y="12152"/>
                  </a:cubicBezTo>
                  <a:cubicBezTo>
                    <a:pt x="11046" y="12136"/>
                    <a:pt x="11046" y="12136"/>
                    <a:pt x="11046" y="12136"/>
                  </a:cubicBezTo>
                  <a:cubicBezTo>
                    <a:pt x="11095" y="11984"/>
                    <a:pt x="11095" y="11984"/>
                    <a:pt x="11095" y="11984"/>
                  </a:cubicBezTo>
                  <a:cubicBezTo>
                    <a:pt x="11175" y="12010"/>
                    <a:pt x="11175" y="12010"/>
                    <a:pt x="11175" y="12010"/>
                  </a:cubicBezTo>
                  <a:cubicBezTo>
                    <a:pt x="11152" y="12080"/>
                    <a:pt x="11152" y="12080"/>
                    <a:pt x="11152" y="12080"/>
                  </a:cubicBezTo>
                  <a:cubicBezTo>
                    <a:pt x="11207" y="12097"/>
                    <a:pt x="11207" y="12097"/>
                    <a:pt x="11207" y="12097"/>
                  </a:cubicBezTo>
                  <a:lnTo>
                    <a:pt x="11179" y="12190"/>
                  </a:lnTo>
                  <a:close/>
                  <a:moveTo>
                    <a:pt x="10803" y="16178"/>
                  </a:moveTo>
                  <a:cubicBezTo>
                    <a:pt x="10858" y="16282"/>
                    <a:pt x="10858" y="16282"/>
                    <a:pt x="10858" y="16282"/>
                  </a:cubicBezTo>
                  <a:cubicBezTo>
                    <a:pt x="10960" y="16225"/>
                    <a:pt x="10960" y="16225"/>
                    <a:pt x="10960" y="16225"/>
                  </a:cubicBezTo>
                  <a:cubicBezTo>
                    <a:pt x="10965" y="16222"/>
                    <a:pt x="10965" y="16222"/>
                    <a:pt x="10965" y="16222"/>
                  </a:cubicBezTo>
                  <a:cubicBezTo>
                    <a:pt x="10938" y="16172"/>
                    <a:pt x="10938" y="16172"/>
                    <a:pt x="10938" y="16172"/>
                  </a:cubicBezTo>
                  <a:cubicBezTo>
                    <a:pt x="11003" y="16137"/>
                    <a:pt x="11003" y="16137"/>
                    <a:pt x="11003" y="16137"/>
                  </a:cubicBezTo>
                  <a:cubicBezTo>
                    <a:pt x="10952" y="16040"/>
                    <a:pt x="10952" y="16040"/>
                    <a:pt x="10952" y="16040"/>
                  </a:cubicBezTo>
                  <a:cubicBezTo>
                    <a:pt x="10788" y="16127"/>
                    <a:pt x="10788" y="16127"/>
                    <a:pt x="10788" y="16127"/>
                  </a:cubicBezTo>
                  <a:cubicBezTo>
                    <a:pt x="10812" y="16173"/>
                    <a:pt x="10812" y="16173"/>
                    <a:pt x="10812" y="16173"/>
                  </a:cubicBezTo>
                  <a:lnTo>
                    <a:pt x="10803" y="16178"/>
                  </a:lnTo>
                  <a:close/>
                  <a:moveTo>
                    <a:pt x="10806" y="16133"/>
                  </a:moveTo>
                  <a:cubicBezTo>
                    <a:pt x="10946" y="16058"/>
                    <a:pt x="10946" y="16058"/>
                    <a:pt x="10946" y="16058"/>
                  </a:cubicBezTo>
                  <a:cubicBezTo>
                    <a:pt x="10985" y="16132"/>
                    <a:pt x="10985" y="16132"/>
                    <a:pt x="10985" y="16132"/>
                  </a:cubicBezTo>
                  <a:cubicBezTo>
                    <a:pt x="10921" y="16166"/>
                    <a:pt x="10921" y="16166"/>
                    <a:pt x="10921" y="16166"/>
                  </a:cubicBezTo>
                  <a:cubicBezTo>
                    <a:pt x="10948" y="16217"/>
                    <a:pt x="10948" y="16217"/>
                    <a:pt x="10948" y="16217"/>
                  </a:cubicBezTo>
                  <a:cubicBezTo>
                    <a:pt x="10863" y="16264"/>
                    <a:pt x="10863" y="16264"/>
                    <a:pt x="10863" y="16264"/>
                  </a:cubicBezTo>
                  <a:cubicBezTo>
                    <a:pt x="10821" y="16184"/>
                    <a:pt x="10821" y="16184"/>
                    <a:pt x="10821" y="16184"/>
                  </a:cubicBezTo>
                  <a:cubicBezTo>
                    <a:pt x="10830" y="16179"/>
                    <a:pt x="10830" y="16179"/>
                    <a:pt x="10830" y="16179"/>
                  </a:cubicBezTo>
                  <a:lnTo>
                    <a:pt x="10806" y="16133"/>
                  </a:lnTo>
                  <a:close/>
                  <a:moveTo>
                    <a:pt x="10546" y="16058"/>
                  </a:moveTo>
                  <a:cubicBezTo>
                    <a:pt x="10519" y="16007"/>
                    <a:pt x="10519" y="16007"/>
                    <a:pt x="10519" y="16007"/>
                  </a:cubicBezTo>
                  <a:cubicBezTo>
                    <a:pt x="10583" y="15973"/>
                    <a:pt x="10583" y="15973"/>
                    <a:pt x="10583" y="15973"/>
                  </a:cubicBezTo>
                  <a:cubicBezTo>
                    <a:pt x="10532" y="15876"/>
                    <a:pt x="10532" y="15876"/>
                    <a:pt x="10532" y="15876"/>
                  </a:cubicBezTo>
                  <a:cubicBezTo>
                    <a:pt x="10368" y="15963"/>
                    <a:pt x="10368" y="15963"/>
                    <a:pt x="10368" y="15963"/>
                  </a:cubicBezTo>
                  <a:cubicBezTo>
                    <a:pt x="10393" y="16009"/>
                    <a:pt x="10393" y="16009"/>
                    <a:pt x="10393" y="16009"/>
                  </a:cubicBezTo>
                  <a:cubicBezTo>
                    <a:pt x="10383" y="16014"/>
                    <a:pt x="10383" y="16014"/>
                    <a:pt x="10383" y="16014"/>
                  </a:cubicBezTo>
                  <a:cubicBezTo>
                    <a:pt x="10438" y="16118"/>
                    <a:pt x="10438" y="16118"/>
                    <a:pt x="10438" y="16118"/>
                  </a:cubicBezTo>
                  <a:cubicBezTo>
                    <a:pt x="10540" y="16061"/>
                    <a:pt x="10540" y="16061"/>
                    <a:pt x="10540" y="16061"/>
                  </a:cubicBezTo>
                  <a:lnTo>
                    <a:pt x="10546" y="16058"/>
                  </a:lnTo>
                  <a:close/>
                  <a:moveTo>
                    <a:pt x="10444" y="16100"/>
                  </a:moveTo>
                  <a:cubicBezTo>
                    <a:pt x="10401" y="16019"/>
                    <a:pt x="10401" y="16019"/>
                    <a:pt x="10401" y="16019"/>
                  </a:cubicBezTo>
                  <a:cubicBezTo>
                    <a:pt x="10410" y="16015"/>
                    <a:pt x="10410" y="16015"/>
                    <a:pt x="10410" y="16015"/>
                  </a:cubicBezTo>
                  <a:cubicBezTo>
                    <a:pt x="10386" y="15968"/>
                    <a:pt x="10386" y="15968"/>
                    <a:pt x="10386" y="15968"/>
                  </a:cubicBezTo>
                  <a:cubicBezTo>
                    <a:pt x="10526" y="15894"/>
                    <a:pt x="10526" y="15894"/>
                    <a:pt x="10526" y="15894"/>
                  </a:cubicBezTo>
                  <a:cubicBezTo>
                    <a:pt x="10566" y="15968"/>
                    <a:pt x="10566" y="15968"/>
                    <a:pt x="10566" y="15968"/>
                  </a:cubicBezTo>
                  <a:cubicBezTo>
                    <a:pt x="10501" y="16002"/>
                    <a:pt x="10501" y="16002"/>
                    <a:pt x="10501" y="16002"/>
                  </a:cubicBezTo>
                  <a:cubicBezTo>
                    <a:pt x="10528" y="16053"/>
                    <a:pt x="10528" y="16053"/>
                    <a:pt x="10528" y="16053"/>
                  </a:cubicBezTo>
                  <a:lnTo>
                    <a:pt x="10444" y="16100"/>
                  </a:lnTo>
                  <a:close/>
                  <a:moveTo>
                    <a:pt x="2437" y="12615"/>
                  </a:moveTo>
                  <a:cubicBezTo>
                    <a:pt x="2487" y="12624"/>
                    <a:pt x="2487" y="12624"/>
                    <a:pt x="2487" y="12624"/>
                  </a:cubicBezTo>
                  <a:cubicBezTo>
                    <a:pt x="2493" y="12625"/>
                    <a:pt x="2493" y="12625"/>
                    <a:pt x="2493" y="12625"/>
                  </a:cubicBezTo>
                  <a:cubicBezTo>
                    <a:pt x="2518" y="12505"/>
                    <a:pt x="2518" y="12505"/>
                    <a:pt x="2518" y="12505"/>
                  </a:cubicBezTo>
                  <a:cubicBezTo>
                    <a:pt x="2402" y="12484"/>
                    <a:pt x="2402" y="12484"/>
                    <a:pt x="2402" y="12484"/>
                  </a:cubicBezTo>
                  <a:cubicBezTo>
                    <a:pt x="2401" y="12490"/>
                    <a:pt x="2401" y="12490"/>
                    <a:pt x="2401" y="12490"/>
                  </a:cubicBezTo>
                  <a:cubicBezTo>
                    <a:pt x="2400" y="12494"/>
                    <a:pt x="2400" y="12494"/>
                    <a:pt x="2400" y="12494"/>
                  </a:cubicBezTo>
                  <a:cubicBezTo>
                    <a:pt x="2349" y="12485"/>
                    <a:pt x="2349" y="12485"/>
                    <a:pt x="2349" y="12485"/>
                  </a:cubicBezTo>
                  <a:cubicBezTo>
                    <a:pt x="2316" y="12667"/>
                    <a:pt x="2316" y="12667"/>
                    <a:pt x="2316" y="12667"/>
                  </a:cubicBezTo>
                  <a:cubicBezTo>
                    <a:pt x="2423" y="12687"/>
                    <a:pt x="2423" y="12687"/>
                    <a:pt x="2423" y="12687"/>
                  </a:cubicBezTo>
                  <a:lnTo>
                    <a:pt x="2437" y="12615"/>
                  </a:lnTo>
                  <a:close/>
                  <a:moveTo>
                    <a:pt x="2331" y="12657"/>
                  </a:moveTo>
                  <a:cubicBezTo>
                    <a:pt x="2359" y="12500"/>
                    <a:pt x="2359" y="12500"/>
                    <a:pt x="2359" y="12500"/>
                  </a:cubicBezTo>
                  <a:cubicBezTo>
                    <a:pt x="2411" y="12509"/>
                    <a:pt x="2411" y="12509"/>
                    <a:pt x="2411" y="12509"/>
                  </a:cubicBezTo>
                  <a:cubicBezTo>
                    <a:pt x="2412" y="12503"/>
                    <a:pt x="2412" y="12503"/>
                    <a:pt x="2412" y="12503"/>
                  </a:cubicBezTo>
                  <a:cubicBezTo>
                    <a:pt x="2412" y="12499"/>
                    <a:pt x="2412" y="12499"/>
                    <a:pt x="2412" y="12499"/>
                  </a:cubicBezTo>
                  <a:cubicBezTo>
                    <a:pt x="2502" y="12515"/>
                    <a:pt x="2502" y="12515"/>
                    <a:pt x="2502" y="12515"/>
                  </a:cubicBezTo>
                  <a:cubicBezTo>
                    <a:pt x="2483" y="12610"/>
                    <a:pt x="2483" y="12610"/>
                    <a:pt x="2483" y="12610"/>
                  </a:cubicBezTo>
                  <a:cubicBezTo>
                    <a:pt x="2426" y="12600"/>
                    <a:pt x="2426" y="12600"/>
                    <a:pt x="2426" y="12600"/>
                  </a:cubicBezTo>
                  <a:cubicBezTo>
                    <a:pt x="2413" y="12672"/>
                    <a:pt x="2413" y="12672"/>
                    <a:pt x="2413" y="12672"/>
                  </a:cubicBezTo>
                  <a:lnTo>
                    <a:pt x="2331" y="12657"/>
                  </a:lnTo>
                  <a:close/>
                  <a:moveTo>
                    <a:pt x="4126" y="10175"/>
                  </a:moveTo>
                  <a:cubicBezTo>
                    <a:pt x="4280" y="10109"/>
                    <a:pt x="4280" y="10109"/>
                    <a:pt x="4280" y="10109"/>
                  </a:cubicBezTo>
                  <a:cubicBezTo>
                    <a:pt x="4241" y="10018"/>
                    <a:pt x="4241" y="10018"/>
                    <a:pt x="4241" y="10018"/>
                  </a:cubicBezTo>
                  <a:cubicBezTo>
                    <a:pt x="4337" y="9978"/>
                    <a:pt x="4337" y="9978"/>
                    <a:pt x="4337" y="9978"/>
                  </a:cubicBezTo>
                  <a:cubicBezTo>
                    <a:pt x="4276" y="9821"/>
                    <a:pt x="4276" y="9821"/>
                    <a:pt x="4276" y="9821"/>
                  </a:cubicBezTo>
                  <a:cubicBezTo>
                    <a:pt x="4113" y="9889"/>
                    <a:pt x="4113" y="9889"/>
                    <a:pt x="4113" y="9889"/>
                  </a:cubicBezTo>
                  <a:cubicBezTo>
                    <a:pt x="4147" y="9984"/>
                    <a:pt x="4147" y="9984"/>
                    <a:pt x="4147" y="9984"/>
                  </a:cubicBezTo>
                  <a:cubicBezTo>
                    <a:pt x="4061" y="10021"/>
                    <a:pt x="4061" y="10021"/>
                    <a:pt x="4061" y="10021"/>
                  </a:cubicBezTo>
                  <a:lnTo>
                    <a:pt x="4126" y="10175"/>
                  </a:lnTo>
                  <a:close/>
                  <a:moveTo>
                    <a:pt x="4129" y="9897"/>
                  </a:moveTo>
                  <a:cubicBezTo>
                    <a:pt x="4269" y="9838"/>
                    <a:pt x="4269" y="9838"/>
                    <a:pt x="4269" y="9838"/>
                  </a:cubicBezTo>
                  <a:cubicBezTo>
                    <a:pt x="4320" y="9971"/>
                    <a:pt x="4320" y="9971"/>
                    <a:pt x="4320" y="9971"/>
                  </a:cubicBezTo>
                  <a:cubicBezTo>
                    <a:pt x="4230" y="10009"/>
                    <a:pt x="4230" y="10009"/>
                    <a:pt x="4230" y="10009"/>
                  </a:cubicBezTo>
                  <a:cubicBezTo>
                    <a:pt x="4224" y="10011"/>
                    <a:pt x="4224" y="10011"/>
                    <a:pt x="4224" y="10011"/>
                  </a:cubicBezTo>
                  <a:cubicBezTo>
                    <a:pt x="4263" y="10102"/>
                    <a:pt x="4263" y="10102"/>
                    <a:pt x="4263" y="10102"/>
                  </a:cubicBezTo>
                  <a:cubicBezTo>
                    <a:pt x="4133" y="10158"/>
                    <a:pt x="4133" y="10158"/>
                    <a:pt x="4133" y="10158"/>
                  </a:cubicBezTo>
                  <a:cubicBezTo>
                    <a:pt x="4078" y="10028"/>
                    <a:pt x="4078" y="10028"/>
                    <a:pt x="4078" y="10028"/>
                  </a:cubicBezTo>
                  <a:cubicBezTo>
                    <a:pt x="4164" y="9991"/>
                    <a:pt x="4164" y="9991"/>
                    <a:pt x="4164" y="9991"/>
                  </a:cubicBezTo>
                  <a:lnTo>
                    <a:pt x="4129" y="9897"/>
                  </a:lnTo>
                  <a:close/>
                  <a:moveTo>
                    <a:pt x="10002" y="16242"/>
                  </a:moveTo>
                  <a:cubicBezTo>
                    <a:pt x="9922" y="16242"/>
                    <a:pt x="9922" y="16242"/>
                    <a:pt x="9922" y="16242"/>
                  </a:cubicBezTo>
                  <a:cubicBezTo>
                    <a:pt x="9922" y="16425"/>
                    <a:pt x="9922" y="16425"/>
                    <a:pt x="9922" y="16425"/>
                  </a:cubicBezTo>
                  <a:cubicBezTo>
                    <a:pt x="10050" y="16425"/>
                    <a:pt x="10050" y="16425"/>
                    <a:pt x="10050" y="16425"/>
                  </a:cubicBezTo>
                  <a:cubicBezTo>
                    <a:pt x="10050" y="16323"/>
                    <a:pt x="10050" y="16323"/>
                    <a:pt x="10050" y="16323"/>
                  </a:cubicBezTo>
                  <a:cubicBezTo>
                    <a:pt x="10136" y="16323"/>
                    <a:pt x="10136" y="16323"/>
                    <a:pt x="10136" y="16323"/>
                  </a:cubicBezTo>
                  <a:cubicBezTo>
                    <a:pt x="10136" y="16154"/>
                    <a:pt x="10136" y="16154"/>
                    <a:pt x="10136" y="16154"/>
                  </a:cubicBezTo>
                  <a:cubicBezTo>
                    <a:pt x="10002" y="16154"/>
                    <a:pt x="10002" y="16154"/>
                    <a:pt x="10002" y="16154"/>
                  </a:cubicBezTo>
                  <a:lnTo>
                    <a:pt x="10002" y="16242"/>
                  </a:lnTo>
                  <a:close/>
                  <a:moveTo>
                    <a:pt x="10014" y="16166"/>
                  </a:moveTo>
                  <a:cubicBezTo>
                    <a:pt x="10124" y="16166"/>
                    <a:pt x="10124" y="16166"/>
                    <a:pt x="10124" y="16166"/>
                  </a:cubicBezTo>
                  <a:cubicBezTo>
                    <a:pt x="10124" y="16311"/>
                    <a:pt x="10124" y="16311"/>
                    <a:pt x="10124" y="16311"/>
                  </a:cubicBezTo>
                  <a:cubicBezTo>
                    <a:pt x="10044" y="16311"/>
                    <a:pt x="10044" y="16311"/>
                    <a:pt x="10044" y="16311"/>
                  </a:cubicBezTo>
                  <a:cubicBezTo>
                    <a:pt x="10038" y="16311"/>
                    <a:pt x="10038" y="16311"/>
                    <a:pt x="10038" y="16311"/>
                  </a:cubicBezTo>
                  <a:cubicBezTo>
                    <a:pt x="10038" y="16413"/>
                    <a:pt x="10038" y="16413"/>
                    <a:pt x="10038" y="16413"/>
                  </a:cubicBezTo>
                  <a:cubicBezTo>
                    <a:pt x="9934" y="16413"/>
                    <a:pt x="9934" y="16413"/>
                    <a:pt x="9934" y="16413"/>
                  </a:cubicBezTo>
                  <a:cubicBezTo>
                    <a:pt x="9934" y="16254"/>
                    <a:pt x="9934" y="16254"/>
                    <a:pt x="9934" y="16254"/>
                  </a:cubicBezTo>
                  <a:cubicBezTo>
                    <a:pt x="10014" y="16254"/>
                    <a:pt x="10014" y="16254"/>
                    <a:pt x="10014" y="16254"/>
                  </a:cubicBezTo>
                  <a:lnTo>
                    <a:pt x="10014" y="16166"/>
                  </a:lnTo>
                  <a:close/>
                  <a:moveTo>
                    <a:pt x="9861" y="15615"/>
                  </a:moveTo>
                  <a:cubicBezTo>
                    <a:pt x="9989" y="15615"/>
                    <a:pt x="9989" y="15615"/>
                    <a:pt x="9989" y="15615"/>
                  </a:cubicBezTo>
                  <a:cubicBezTo>
                    <a:pt x="9989" y="15433"/>
                    <a:pt x="9989" y="15433"/>
                    <a:pt x="9989" y="15433"/>
                  </a:cubicBezTo>
                  <a:cubicBezTo>
                    <a:pt x="9909" y="15433"/>
                    <a:pt x="9909" y="15433"/>
                    <a:pt x="9909" y="15433"/>
                  </a:cubicBezTo>
                  <a:cubicBezTo>
                    <a:pt x="9909" y="15345"/>
                    <a:pt x="9909" y="15345"/>
                    <a:pt x="9909" y="15345"/>
                  </a:cubicBezTo>
                  <a:cubicBezTo>
                    <a:pt x="9775" y="15345"/>
                    <a:pt x="9775" y="15345"/>
                    <a:pt x="9775" y="15345"/>
                  </a:cubicBezTo>
                  <a:cubicBezTo>
                    <a:pt x="9775" y="15514"/>
                    <a:pt x="9775" y="15514"/>
                    <a:pt x="9775" y="15514"/>
                  </a:cubicBezTo>
                  <a:cubicBezTo>
                    <a:pt x="9861" y="15514"/>
                    <a:pt x="9861" y="15514"/>
                    <a:pt x="9861" y="15514"/>
                  </a:cubicBezTo>
                  <a:lnTo>
                    <a:pt x="9861" y="15615"/>
                  </a:lnTo>
                  <a:close/>
                  <a:moveTo>
                    <a:pt x="9787" y="15502"/>
                  </a:moveTo>
                  <a:cubicBezTo>
                    <a:pt x="9787" y="15357"/>
                    <a:pt x="9787" y="15357"/>
                    <a:pt x="9787" y="15357"/>
                  </a:cubicBezTo>
                  <a:cubicBezTo>
                    <a:pt x="9897" y="15357"/>
                    <a:pt x="9897" y="15357"/>
                    <a:pt x="9897" y="15357"/>
                  </a:cubicBezTo>
                  <a:cubicBezTo>
                    <a:pt x="9897" y="15445"/>
                    <a:pt x="9897" y="15445"/>
                    <a:pt x="9897" y="15445"/>
                  </a:cubicBezTo>
                  <a:cubicBezTo>
                    <a:pt x="9977" y="15445"/>
                    <a:pt x="9977" y="15445"/>
                    <a:pt x="9977" y="15445"/>
                  </a:cubicBezTo>
                  <a:cubicBezTo>
                    <a:pt x="9977" y="15603"/>
                    <a:pt x="9977" y="15603"/>
                    <a:pt x="9977" y="15603"/>
                  </a:cubicBezTo>
                  <a:cubicBezTo>
                    <a:pt x="9873" y="15603"/>
                    <a:pt x="9873" y="15603"/>
                    <a:pt x="9873" y="15603"/>
                  </a:cubicBezTo>
                  <a:cubicBezTo>
                    <a:pt x="9873" y="15508"/>
                    <a:pt x="9873" y="15508"/>
                    <a:pt x="9873" y="15508"/>
                  </a:cubicBezTo>
                  <a:cubicBezTo>
                    <a:pt x="9873" y="15502"/>
                    <a:pt x="9873" y="15502"/>
                    <a:pt x="9873" y="15502"/>
                  </a:cubicBezTo>
                  <a:lnTo>
                    <a:pt x="9787" y="15502"/>
                  </a:lnTo>
                  <a:close/>
                  <a:moveTo>
                    <a:pt x="5688" y="15835"/>
                  </a:moveTo>
                  <a:cubicBezTo>
                    <a:pt x="5689" y="15932"/>
                    <a:pt x="5689" y="15932"/>
                    <a:pt x="5689" y="15932"/>
                  </a:cubicBezTo>
                  <a:cubicBezTo>
                    <a:pt x="5812" y="15932"/>
                    <a:pt x="5812" y="15932"/>
                    <a:pt x="5812" y="15932"/>
                  </a:cubicBezTo>
                  <a:cubicBezTo>
                    <a:pt x="5814" y="15750"/>
                    <a:pt x="5814" y="15750"/>
                    <a:pt x="5814" y="15750"/>
                  </a:cubicBezTo>
                  <a:cubicBezTo>
                    <a:pt x="5730" y="15749"/>
                    <a:pt x="5730" y="15749"/>
                    <a:pt x="5730" y="15749"/>
                  </a:cubicBezTo>
                  <a:cubicBezTo>
                    <a:pt x="5733" y="15665"/>
                    <a:pt x="5733" y="15665"/>
                    <a:pt x="5733" y="15665"/>
                  </a:cubicBezTo>
                  <a:cubicBezTo>
                    <a:pt x="5603" y="15664"/>
                    <a:pt x="5603" y="15664"/>
                    <a:pt x="5603" y="15664"/>
                  </a:cubicBezTo>
                  <a:cubicBezTo>
                    <a:pt x="5604" y="15834"/>
                    <a:pt x="5604" y="15834"/>
                    <a:pt x="5604" y="15834"/>
                  </a:cubicBezTo>
                  <a:lnTo>
                    <a:pt x="5688" y="15835"/>
                  </a:lnTo>
                  <a:close/>
                  <a:moveTo>
                    <a:pt x="5720" y="15678"/>
                  </a:moveTo>
                  <a:cubicBezTo>
                    <a:pt x="5717" y="15762"/>
                    <a:pt x="5717" y="15762"/>
                    <a:pt x="5717" y="15762"/>
                  </a:cubicBezTo>
                  <a:cubicBezTo>
                    <a:pt x="5801" y="15763"/>
                    <a:pt x="5801" y="15763"/>
                    <a:pt x="5801" y="15763"/>
                  </a:cubicBezTo>
                  <a:cubicBezTo>
                    <a:pt x="5799" y="15919"/>
                    <a:pt x="5799" y="15919"/>
                    <a:pt x="5799" y="15919"/>
                  </a:cubicBezTo>
                  <a:cubicBezTo>
                    <a:pt x="5702" y="15919"/>
                    <a:pt x="5702" y="15919"/>
                    <a:pt x="5702" y="15919"/>
                  </a:cubicBezTo>
                  <a:cubicBezTo>
                    <a:pt x="5701" y="15829"/>
                    <a:pt x="5701" y="15829"/>
                    <a:pt x="5701" y="15829"/>
                  </a:cubicBezTo>
                  <a:cubicBezTo>
                    <a:pt x="5701" y="15822"/>
                    <a:pt x="5701" y="15822"/>
                    <a:pt x="5701" y="15822"/>
                  </a:cubicBezTo>
                  <a:cubicBezTo>
                    <a:pt x="5617" y="15821"/>
                    <a:pt x="5617" y="15821"/>
                    <a:pt x="5617" y="15821"/>
                  </a:cubicBezTo>
                  <a:cubicBezTo>
                    <a:pt x="5616" y="15677"/>
                    <a:pt x="5616" y="15677"/>
                    <a:pt x="5616" y="15677"/>
                  </a:cubicBezTo>
                  <a:lnTo>
                    <a:pt x="5720" y="15678"/>
                  </a:lnTo>
                  <a:close/>
                  <a:moveTo>
                    <a:pt x="4557" y="5236"/>
                  </a:moveTo>
                  <a:cubicBezTo>
                    <a:pt x="4552" y="5240"/>
                    <a:pt x="4552" y="5240"/>
                    <a:pt x="4552" y="5240"/>
                  </a:cubicBezTo>
                  <a:cubicBezTo>
                    <a:pt x="4629" y="5310"/>
                    <a:pt x="4629" y="5310"/>
                    <a:pt x="4629" y="5310"/>
                  </a:cubicBezTo>
                  <a:cubicBezTo>
                    <a:pt x="4728" y="5199"/>
                    <a:pt x="4728" y="5199"/>
                    <a:pt x="4728" y="5199"/>
                  </a:cubicBezTo>
                  <a:cubicBezTo>
                    <a:pt x="4652" y="5130"/>
                    <a:pt x="4652" y="5130"/>
                    <a:pt x="4652" y="5130"/>
                  </a:cubicBezTo>
                  <a:lnTo>
                    <a:pt x="4557" y="5236"/>
                  </a:lnTo>
                  <a:close/>
                  <a:moveTo>
                    <a:pt x="4710" y="5200"/>
                  </a:moveTo>
                  <a:cubicBezTo>
                    <a:pt x="4628" y="5291"/>
                    <a:pt x="4628" y="5291"/>
                    <a:pt x="4628" y="5291"/>
                  </a:cubicBezTo>
                  <a:cubicBezTo>
                    <a:pt x="4571" y="5239"/>
                    <a:pt x="4571" y="5239"/>
                    <a:pt x="4571" y="5239"/>
                  </a:cubicBezTo>
                  <a:cubicBezTo>
                    <a:pt x="4653" y="5149"/>
                    <a:pt x="4653" y="5149"/>
                    <a:pt x="4653" y="5149"/>
                  </a:cubicBezTo>
                  <a:lnTo>
                    <a:pt x="4710" y="5200"/>
                  </a:lnTo>
                  <a:close/>
                  <a:moveTo>
                    <a:pt x="4377" y="5114"/>
                  </a:moveTo>
                  <a:cubicBezTo>
                    <a:pt x="4373" y="5119"/>
                    <a:pt x="4373" y="5119"/>
                    <a:pt x="4373" y="5119"/>
                  </a:cubicBezTo>
                  <a:cubicBezTo>
                    <a:pt x="4449" y="5188"/>
                    <a:pt x="4449" y="5188"/>
                    <a:pt x="4449" y="5188"/>
                  </a:cubicBezTo>
                  <a:cubicBezTo>
                    <a:pt x="4548" y="5077"/>
                    <a:pt x="4548" y="5077"/>
                    <a:pt x="4548" y="5077"/>
                  </a:cubicBezTo>
                  <a:cubicBezTo>
                    <a:pt x="4472" y="5008"/>
                    <a:pt x="4472" y="5008"/>
                    <a:pt x="4472" y="5008"/>
                  </a:cubicBezTo>
                  <a:lnTo>
                    <a:pt x="4377" y="5114"/>
                  </a:lnTo>
                  <a:close/>
                  <a:moveTo>
                    <a:pt x="4530" y="5078"/>
                  </a:moveTo>
                  <a:cubicBezTo>
                    <a:pt x="4448" y="5169"/>
                    <a:pt x="4448" y="5169"/>
                    <a:pt x="4448" y="5169"/>
                  </a:cubicBezTo>
                  <a:cubicBezTo>
                    <a:pt x="4391" y="5118"/>
                    <a:pt x="4391" y="5118"/>
                    <a:pt x="4391" y="5118"/>
                  </a:cubicBezTo>
                  <a:cubicBezTo>
                    <a:pt x="4473" y="5027"/>
                    <a:pt x="4473" y="5027"/>
                    <a:pt x="4473" y="5027"/>
                  </a:cubicBezTo>
                  <a:lnTo>
                    <a:pt x="4530" y="5078"/>
                  </a:lnTo>
                  <a:close/>
                  <a:moveTo>
                    <a:pt x="141" y="7050"/>
                  </a:moveTo>
                  <a:cubicBezTo>
                    <a:pt x="46" y="7009"/>
                    <a:pt x="46" y="7009"/>
                    <a:pt x="46" y="7009"/>
                  </a:cubicBezTo>
                  <a:cubicBezTo>
                    <a:pt x="4" y="7106"/>
                    <a:pt x="4" y="7106"/>
                    <a:pt x="4" y="7106"/>
                  </a:cubicBezTo>
                  <a:cubicBezTo>
                    <a:pt x="4" y="7152"/>
                    <a:pt x="4" y="7152"/>
                    <a:pt x="4" y="7152"/>
                  </a:cubicBezTo>
                  <a:cubicBezTo>
                    <a:pt x="82" y="7186"/>
                    <a:pt x="82" y="7186"/>
                    <a:pt x="82" y="7186"/>
                  </a:cubicBezTo>
                  <a:lnTo>
                    <a:pt x="141" y="7050"/>
                  </a:lnTo>
                  <a:close/>
                  <a:moveTo>
                    <a:pt x="4" y="7138"/>
                  </a:moveTo>
                  <a:cubicBezTo>
                    <a:pt x="53" y="7026"/>
                    <a:pt x="53" y="7026"/>
                    <a:pt x="53" y="7026"/>
                  </a:cubicBezTo>
                  <a:cubicBezTo>
                    <a:pt x="124" y="7057"/>
                    <a:pt x="124" y="7057"/>
                    <a:pt x="124" y="7057"/>
                  </a:cubicBezTo>
                  <a:cubicBezTo>
                    <a:pt x="75" y="7169"/>
                    <a:pt x="75" y="7169"/>
                    <a:pt x="75" y="7169"/>
                  </a:cubicBezTo>
                  <a:lnTo>
                    <a:pt x="4" y="7138"/>
                  </a:lnTo>
                  <a:close/>
                  <a:moveTo>
                    <a:pt x="3791" y="4981"/>
                  </a:moveTo>
                  <a:cubicBezTo>
                    <a:pt x="3790" y="4988"/>
                    <a:pt x="3790" y="4988"/>
                    <a:pt x="3790" y="4988"/>
                  </a:cubicBezTo>
                  <a:cubicBezTo>
                    <a:pt x="3921" y="5015"/>
                    <a:pt x="3921" y="5015"/>
                    <a:pt x="3921" y="5015"/>
                  </a:cubicBezTo>
                  <a:cubicBezTo>
                    <a:pt x="3950" y="4879"/>
                    <a:pt x="3950" y="4879"/>
                    <a:pt x="3950" y="4879"/>
                  </a:cubicBezTo>
                  <a:cubicBezTo>
                    <a:pt x="3819" y="4851"/>
                    <a:pt x="3819" y="4851"/>
                    <a:pt x="3819" y="4851"/>
                  </a:cubicBezTo>
                  <a:lnTo>
                    <a:pt x="3791" y="4981"/>
                  </a:lnTo>
                  <a:close/>
                  <a:moveTo>
                    <a:pt x="3934" y="4889"/>
                  </a:moveTo>
                  <a:cubicBezTo>
                    <a:pt x="3911" y="5000"/>
                    <a:pt x="3911" y="5000"/>
                    <a:pt x="3911" y="5000"/>
                  </a:cubicBezTo>
                  <a:cubicBezTo>
                    <a:pt x="3806" y="4978"/>
                    <a:pt x="3806" y="4978"/>
                    <a:pt x="3806" y="4978"/>
                  </a:cubicBezTo>
                  <a:cubicBezTo>
                    <a:pt x="3829" y="4867"/>
                    <a:pt x="3829" y="4867"/>
                    <a:pt x="3829" y="4867"/>
                  </a:cubicBezTo>
                  <a:lnTo>
                    <a:pt x="3934" y="4889"/>
                  </a:lnTo>
                  <a:close/>
                  <a:moveTo>
                    <a:pt x="4259" y="4200"/>
                  </a:moveTo>
                  <a:cubicBezTo>
                    <a:pt x="4159" y="4197"/>
                    <a:pt x="4159" y="4197"/>
                    <a:pt x="4159" y="4197"/>
                  </a:cubicBezTo>
                  <a:cubicBezTo>
                    <a:pt x="4155" y="4330"/>
                    <a:pt x="4155" y="4330"/>
                    <a:pt x="4155" y="4330"/>
                  </a:cubicBezTo>
                  <a:cubicBezTo>
                    <a:pt x="4155" y="4337"/>
                    <a:pt x="4155" y="4337"/>
                    <a:pt x="4155" y="4337"/>
                  </a:cubicBezTo>
                  <a:cubicBezTo>
                    <a:pt x="4256" y="4339"/>
                    <a:pt x="4256" y="4339"/>
                    <a:pt x="4256" y="4339"/>
                  </a:cubicBezTo>
                  <a:lnTo>
                    <a:pt x="4259" y="4200"/>
                  </a:lnTo>
                  <a:close/>
                  <a:moveTo>
                    <a:pt x="4243" y="4326"/>
                  </a:moveTo>
                  <a:cubicBezTo>
                    <a:pt x="4169" y="4324"/>
                    <a:pt x="4169" y="4324"/>
                    <a:pt x="4169" y="4324"/>
                  </a:cubicBezTo>
                  <a:cubicBezTo>
                    <a:pt x="4171" y="4211"/>
                    <a:pt x="4171" y="4211"/>
                    <a:pt x="4171" y="4211"/>
                  </a:cubicBezTo>
                  <a:cubicBezTo>
                    <a:pt x="4246" y="4213"/>
                    <a:pt x="4246" y="4213"/>
                    <a:pt x="4246" y="4213"/>
                  </a:cubicBezTo>
                  <a:lnTo>
                    <a:pt x="4243" y="4326"/>
                  </a:lnTo>
                  <a:close/>
                  <a:moveTo>
                    <a:pt x="3977" y="4326"/>
                  </a:moveTo>
                  <a:cubicBezTo>
                    <a:pt x="3977" y="4333"/>
                    <a:pt x="3977" y="4333"/>
                    <a:pt x="3977" y="4333"/>
                  </a:cubicBezTo>
                  <a:cubicBezTo>
                    <a:pt x="4078" y="4335"/>
                    <a:pt x="4078" y="4335"/>
                    <a:pt x="4078" y="4335"/>
                  </a:cubicBezTo>
                  <a:cubicBezTo>
                    <a:pt x="4081" y="4196"/>
                    <a:pt x="4081" y="4196"/>
                    <a:pt x="4081" y="4196"/>
                  </a:cubicBezTo>
                  <a:cubicBezTo>
                    <a:pt x="3980" y="4194"/>
                    <a:pt x="3980" y="4194"/>
                    <a:pt x="3980" y="4194"/>
                  </a:cubicBezTo>
                  <a:lnTo>
                    <a:pt x="3977" y="4326"/>
                  </a:lnTo>
                  <a:close/>
                  <a:moveTo>
                    <a:pt x="3993" y="4207"/>
                  </a:moveTo>
                  <a:cubicBezTo>
                    <a:pt x="4067" y="4209"/>
                    <a:pt x="4067" y="4209"/>
                    <a:pt x="4067" y="4209"/>
                  </a:cubicBezTo>
                  <a:cubicBezTo>
                    <a:pt x="4065" y="4322"/>
                    <a:pt x="4065" y="4322"/>
                    <a:pt x="4065" y="4322"/>
                  </a:cubicBezTo>
                  <a:cubicBezTo>
                    <a:pt x="3990" y="4320"/>
                    <a:pt x="3990" y="4320"/>
                    <a:pt x="3990" y="4320"/>
                  </a:cubicBezTo>
                  <a:lnTo>
                    <a:pt x="3993" y="4207"/>
                  </a:lnTo>
                  <a:close/>
                  <a:moveTo>
                    <a:pt x="11662" y="17103"/>
                  </a:moveTo>
                  <a:cubicBezTo>
                    <a:pt x="11656" y="17107"/>
                    <a:pt x="11656" y="17107"/>
                    <a:pt x="11656" y="17107"/>
                  </a:cubicBezTo>
                  <a:cubicBezTo>
                    <a:pt x="11722" y="17197"/>
                    <a:pt x="11722" y="17197"/>
                    <a:pt x="11722" y="17197"/>
                  </a:cubicBezTo>
                  <a:cubicBezTo>
                    <a:pt x="11847" y="17106"/>
                    <a:pt x="11847" y="17106"/>
                    <a:pt x="11847" y="17106"/>
                  </a:cubicBezTo>
                  <a:cubicBezTo>
                    <a:pt x="11782" y="17016"/>
                    <a:pt x="11782" y="17016"/>
                    <a:pt x="11782" y="17016"/>
                  </a:cubicBezTo>
                  <a:lnTo>
                    <a:pt x="11662" y="17103"/>
                  </a:lnTo>
                  <a:close/>
                  <a:moveTo>
                    <a:pt x="11725" y="17179"/>
                  </a:moveTo>
                  <a:cubicBezTo>
                    <a:pt x="11675" y="17110"/>
                    <a:pt x="11675" y="17110"/>
                    <a:pt x="11675" y="17110"/>
                  </a:cubicBezTo>
                  <a:cubicBezTo>
                    <a:pt x="11779" y="17034"/>
                    <a:pt x="11779" y="17034"/>
                    <a:pt x="11779" y="17034"/>
                  </a:cubicBezTo>
                  <a:cubicBezTo>
                    <a:pt x="11829" y="17103"/>
                    <a:pt x="11829" y="17103"/>
                    <a:pt x="11829" y="17103"/>
                  </a:cubicBezTo>
                  <a:lnTo>
                    <a:pt x="11725" y="17179"/>
                  </a:lnTo>
                  <a:close/>
                  <a:moveTo>
                    <a:pt x="11426" y="16804"/>
                  </a:moveTo>
                  <a:cubicBezTo>
                    <a:pt x="11422" y="16809"/>
                    <a:pt x="11422" y="16809"/>
                    <a:pt x="11422" y="16809"/>
                  </a:cubicBezTo>
                  <a:cubicBezTo>
                    <a:pt x="11505" y="16882"/>
                    <a:pt x="11505" y="16882"/>
                    <a:pt x="11505" y="16882"/>
                  </a:cubicBezTo>
                  <a:cubicBezTo>
                    <a:pt x="11608" y="16766"/>
                    <a:pt x="11608" y="16766"/>
                    <a:pt x="11608" y="16766"/>
                  </a:cubicBezTo>
                  <a:cubicBezTo>
                    <a:pt x="11524" y="16693"/>
                    <a:pt x="11524" y="16693"/>
                    <a:pt x="11524" y="16693"/>
                  </a:cubicBezTo>
                  <a:lnTo>
                    <a:pt x="11426" y="16804"/>
                  </a:lnTo>
                  <a:close/>
                  <a:moveTo>
                    <a:pt x="11589" y="16767"/>
                  </a:moveTo>
                  <a:cubicBezTo>
                    <a:pt x="11504" y="16864"/>
                    <a:pt x="11504" y="16864"/>
                    <a:pt x="11504" y="16864"/>
                  </a:cubicBezTo>
                  <a:cubicBezTo>
                    <a:pt x="11440" y="16808"/>
                    <a:pt x="11440" y="16808"/>
                    <a:pt x="11440" y="16808"/>
                  </a:cubicBezTo>
                  <a:cubicBezTo>
                    <a:pt x="11525" y="16711"/>
                    <a:pt x="11525" y="16711"/>
                    <a:pt x="11525" y="16711"/>
                  </a:cubicBezTo>
                  <a:lnTo>
                    <a:pt x="11589" y="16767"/>
                  </a:lnTo>
                  <a:close/>
                  <a:moveTo>
                    <a:pt x="10799" y="16716"/>
                  </a:moveTo>
                  <a:cubicBezTo>
                    <a:pt x="10794" y="16720"/>
                    <a:pt x="10794" y="16720"/>
                    <a:pt x="10794" y="16720"/>
                  </a:cubicBezTo>
                  <a:cubicBezTo>
                    <a:pt x="10860" y="16809"/>
                    <a:pt x="10860" y="16809"/>
                    <a:pt x="10860" y="16809"/>
                  </a:cubicBezTo>
                  <a:cubicBezTo>
                    <a:pt x="10984" y="16716"/>
                    <a:pt x="10984" y="16716"/>
                    <a:pt x="10984" y="16716"/>
                  </a:cubicBezTo>
                  <a:cubicBezTo>
                    <a:pt x="10918" y="16627"/>
                    <a:pt x="10918" y="16627"/>
                    <a:pt x="10918" y="16627"/>
                  </a:cubicBezTo>
                  <a:lnTo>
                    <a:pt x="10799" y="16716"/>
                  </a:lnTo>
                  <a:close/>
                  <a:moveTo>
                    <a:pt x="10863" y="16791"/>
                  </a:moveTo>
                  <a:cubicBezTo>
                    <a:pt x="10812" y="16723"/>
                    <a:pt x="10812" y="16723"/>
                    <a:pt x="10812" y="16723"/>
                  </a:cubicBezTo>
                  <a:cubicBezTo>
                    <a:pt x="10915" y="16645"/>
                    <a:pt x="10915" y="16645"/>
                    <a:pt x="10915" y="16645"/>
                  </a:cubicBezTo>
                  <a:cubicBezTo>
                    <a:pt x="10966" y="16713"/>
                    <a:pt x="10966" y="16713"/>
                    <a:pt x="10966" y="16713"/>
                  </a:cubicBezTo>
                  <a:lnTo>
                    <a:pt x="10863" y="16791"/>
                  </a:lnTo>
                  <a:close/>
                  <a:moveTo>
                    <a:pt x="10403" y="16593"/>
                  </a:moveTo>
                  <a:cubicBezTo>
                    <a:pt x="10396" y="16593"/>
                    <a:pt x="10396" y="16593"/>
                    <a:pt x="10396" y="16593"/>
                  </a:cubicBezTo>
                  <a:cubicBezTo>
                    <a:pt x="10397" y="16704"/>
                    <a:pt x="10397" y="16704"/>
                    <a:pt x="10397" y="16704"/>
                  </a:cubicBezTo>
                  <a:cubicBezTo>
                    <a:pt x="10552" y="16704"/>
                    <a:pt x="10552" y="16704"/>
                    <a:pt x="10552" y="16704"/>
                  </a:cubicBezTo>
                  <a:cubicBezTo>
                    <a:pt x="10551" y="16592"/>
                    <a:pt x="10551" y="16592"/>
                    <a:pt x="10551" y="16592"/>
                  </a:cubicBezTo>
                  <a:lnTo>
                    <a:pt x="10403" y="16593"/>
                  </a:lnTo>
                  <a:close/>
                  <a:moveTo>
                    <a:pt x="10410" y="16691"/>
                  </a:moveTo>
                  <a:cubicBezTo>
                    <a:pt x="10409" y="16606"/>
                    <a:pt x="10409" y="16606"/>
                    <a:pt x="10409" y="16606"/>
                  </a:cubicBezTo>
                  <a:cubicBezTo>
                    <a:pt x="10538" y="16606"/>
                    <a:pt x="10538" y="16606"/>
                    <a:pt x="10538" y="16606"/>
                  </a:cubicBezTo>
                  <a:cubicBezTo>
                    <a:pt x="10539" y="16690"/>
                    <a:pt x="10539" y="16690"/>
                    <a:pt x="10539" y="16690"/>
                  </a:cubicBezTo>
                  <a:lnTo>
                    <a:pt x="10410" y="16691"/>
                  </a:lnTo>
                  <a:close/>
                  <a:moveTo>
                    <a:pt x="4" y="12476"/>
                  </a:moveTo>
                  <a:cubicBezTo>
                    <a:pt x="83" y="12461"/>
                    <a:pt x="83" y="12461"/>
                    <a:pt x="83" y="12461"/>
                  </a:cubicBezTo>
                  <a:cubicBezTo>
                    <a:pt x="73" y="12407"/>
                    <a:pt x="73" y="12407"/>
                    <a:pt x="73" y="12407"/>
                  </a:cubicBezTo>
                  <a:cubicBezTo>
                    <a:pt x="86" y="12405"/>
                    <a:pt x="86" y="12405"/>
                    <a:pt x="86" y="12405"/>
                  </a:cubicBezTo>
                  <a:cubicBezTo>
                    <a:pt x="72" y="12333"/>
                    <a:pt x="72" y="12333"/>
                    <a:pt x="72" y="12333"/>
                  </a:cubicBezTo>
                  <a:cubicBezTo>
                    <a:pt x="4" y="12346"/>
                    <a:pt x="4" y="12346"/>
                    <a:pt x="4" y="12346"/>
                  </a:cubicBezTo>
                  <a:cubicBezTo>
                    <a:pt x="4" y="12332"/>
                    <a:pt x="4" y="12332"/>
                    <a:pt x="4" y="12332"/>
                  </a:cubicBezTo>
                  <a:cubicBezTo>
                    <a:pt x="83" y="12318"/>
                    <a:pt x="83" y="12318"/>
                    <a:pt x="83" y="12318"/>
                  </a:cubicBezTo>
                  <a:cubicBezTo>
                    <a:pt x="84" y="12324"/>
                    <a:pt x="84" y="12324"/>
                    <a:pt x="84" y="12324"/>
                  </a:cubicBezTo>
                  <a:cubicBezTo>
                    <a:pt x="101" y="12415"/>
                    <a:pt x="101" y="12415"/>
                    <a:pt x="101" y="12415"/>
                  </a:cubicBezTo>
                  <a:cubicBezTo>
                    <a:pt x="88" y="12417"/>
                    <a:pt x="88" y="12417"/>
                    <a:pt x="88" y="12417"/>
                  </a:cubicBezTo>
                  <a:cubicBezTo>
                    <a:pt x="98" y="12471"/>
                    <a:pt x="98" y="12471"/>
                    <a:pt x="98" y="12471"/>
                  </a:cubicBezTo>
                  <a:cubicBezTo>
                    <a:pt x="4" y="12489"/>
                    <a:pt x="4" y="12489"/>
                    <a:pt x="4" y="12489"/>
                  </a:cubicBezTo>
                  <a:lnTo>
                    <a:pt x="4" y="12476"/>
                  </a:lnTo>
                  <a:close/>
                  <a:moveTo>
                    <a:pt x="9278" y="15560"/>
                  </a:moveTo>
                  <a:cubicBezTo>
                    <a:pt x="9199" y="15586"/>
                    <a:pt x="9199" y="15586"/>
                    <a:pt x="9199" y="15586"/>
                  </a:cubicBezTo>
                  <a:cubicBezTo>
                    <a:pt x="9194" y="15571"/>
                    <a:pt x="9194" y="15571"/>
                    <a:pt x="9194" y="15571"/>
                  </a:cubicBezTo>
                  <a:cubicBezTo>
                    <a:pt x="9368" y="15515"/>
                    <a:pt x="9368" y="15515"/>
                    <a:pt x="9368" y="15515"/>
                  </a:cubicBezTo>
                  <a:cubicBezTo>
                    <a:pt x="9345" y="15443"/>
                    <a:pt x="9345" y="15443"/>
                    <a:pt x="9345" y="15443"/>
                  </a:cubicBezTo>
                  <a:cubicBezTo>
                    <a:pt x="9280" y="15464"/>
                    <a:pt x="9280" y="15464"/>
                    <a:pt x="9280" y="15464"/>
                  </a:cubicBezTo>
                  <a:cubicBezTo>
                    <a:pt x="9257" y="15392"/>
                    <a:pt x="9257" y="15392"/>
                    <a:pt x="9257" y="15392"/>
                  </a:cubicBezTo>
                  <a:cubicBezTo>
                    <a:pt x="9120" y="15436"/>
                    <a:pt x="9120" y="15436"/>
                    <a:pt x="9120" y="15436"/>
                  </a:cubicBezTo>
                  <a:cubicBezTo>
                    <a:pt x="9148" y="15523"/>
                    <a:pt x="9148" y="15523"/>
                    <a:pt x="9148" y="15523"/>
                  </a:cubicBezTo>
                  <a:cubicBezTo>
                    <a:pt x="9055" y="15553"/>
                    <a:pt x="9055" y="15553"/>
                    <a:pt x="9055" y="15553"/>
                  </a:cubicBezTo>
                  <a:cubicBezTo>
                    <a:pt x="9049" y="15555"/>
                    <a:pt x="9049" y="15555"/>
                    <a:pt x="9049" y="15555"/>
                  </a:cubicBezTo>
                  <a:cubicBezTo>
                    <a:pt x="9079" y="15649"/>
                    <a:pt x="9079" y="15649"/>
                    <a:pt x="9079" y="15649"/>
                  </a:cubicBezTo>
                  <a:cubicBezTo>
                    <a:pt x="9085" y="15647"/>
                    <a:pt x="9085" y="15647"/>
                    <a:pt x="9085" y="15647"/>
                  </a:cubicBezTo>
                  <a:cubicBezTo>
                    <a:pt x="9092" y="15646"/>
                    <a:pt x="9092" y="15646"/>
                    <a:pt x="9092" y="15646"/>
                  </a:cubicBezTo>
                  <a:cubicBezTo>
                    <a:pt x="9108" y="15698"/>
                    <a:pt x="9108" y="15698"/>
                    <a:pt x="9108" y="15698"/>
                  </a:cubicBezTo>
                  <a:cubicBezTo>
                    <a:pt x="9302" y="15635"/>
                    <a:pt x="9302" y="15635"/>
                    <a:pt x="9302" y="15635"/>
                  </a:cubicBezTo>
                  <a:lnTo>
                    <a:pt x="9278" y="15560"/>
                  </a:lnTo>
                  <a:close/>
                  <a:moveTo>
                    <a:pt x="9100" y="15629"/>
                  </a:moveTo>
                  <a:cubicBezTo>
                    <a:pt x="9094" y="15631"/>
                    <a:pt x="9094" y="15631"/>
                    <a:pt x="9094" y="15631"/>
                  </a:cubicBezTo>
                  <a:cubicBezTo>
                    <a:pt x="9088" y="15633"/>
                    <a:pt x="9088" y="15633"/>
                    <a:pt x="9088" y="15633"/>
                  </a:cubicBezTo>
                  <a:cubicBezTo>
                    <a:pt x="9065" y="15563"/>
                    <a:pt x="9065" y="15563"/>
                    <a:pt x="9065" y="15563"/>
                  </a:cubicBezTo>
                  <a:cubicBezTo>
                    <a:pt x="9165" y="15531"/>
                    <a:pt x="9165" y="15531"/>
                    <a:pt x="9165" y="15531"/>
                  </a:cubicBezTo>
                  <a:cubicBezTo>
                    <a:pt x="9136" y="15444"/>
                    <a:pt x="9136" y="15444"/>
                    <a:pt x="9136" y="15444"/>
                  </a:cubicBezTo>
                  <a:cubicBezTo>
                    <a:pt x="9248" y="15408"/>
                    <a:pt x="9248" y="15408"/>
                    <a:pt x="9248" y="15408"/>
                  </a:cubicBezTo>
                  <a:cubicBezTo>
                    <a:pt x="9271" y="15480"/>
                    <a:pt x="9271" y="15480"/>
                    <a:pt x="9271" y="15480"/>
                  </a:cubicBezTo>
                  <a:cubicBezTo>
                    <a:pt x="9336" y="15460"/>
                    <a:pt x="9336" y="15460"/>
                    <a:pt x="9336" y="15460"/>
                  </a:cubicBezTo>
                  <a:cubicBezTo>
                    <a:pt x="9351" y="15507"/>
                    <a:pt x="9351" y="15507"/>
                    <a:pt x="9351" y="15507"/>
                  </a:cubicBezTo>
                  <a:cubicBezTo>
                    <a:pt x="9177" y="15563"/>
                    <a:pt x="9177" y="15563"/>
                    <a:pt x="9177" y="15563"/>
                  </a:cubicBezTo>
                  <a:cubicBezTo>
                    <a:pt x="9190" y="15603"/>
                    <a:pt x="9190" y="15603"/>
                    <a:pt x="9190" y="15603"/>
                  </a:cubicBezTo>
                  <a:cubicBezTo>
                    <a:pt x="9270" y="15577"/>
                    <a:pt x="9270" y="15577"/>
                    <a:pt x="9270" y="15577"/>
                  </a:cubicBezTo>
                  <a:cubicBezTo>
                    <a:pt x="9286" y="15627"/>
                    <a:pt x="9286" y="15627"/>
                    <a:pt x="9286" y="15627"/>
                  </a:cubicBezTo>
                  <a:cubicBezTo>
                    <a:pt x="9117" y="15681"/>
                    <a:pt x="9117" y="15681"/>
                    <a:pt x="9117" y="15681"/>
                  </a:cubicBezTo>
                  <a:lnTo>
                    <a:pt x="9100" y="15629"/>
                  </a:lnTo>
                  <a:close/>
                  <a:moveTo>
                    <a:pt x="3685" y="17502"/>
                  </a:moveTo>
                  <a:cubicBezTo>
                    <a:pt x="3684" y="17495"/>
                    <a:pt x="3684" y="17495"/>
                    <a:pt x="3684" y="17495"/>
                  </a:cubicBezTo>
                  <a:cubicBezTo>
                    <a:pt x="3577" y="17513"/>
                    <a:pt x="3577" y="17513"/>
                    <a:pt x="3577" y="17513"/>
                  </a:cubicBezTo>
                  <a:cubicBezTo>
                    <a:pt x="3562" y="17423"/>
                    <a:pt x="3562" y="17423"/>
                    <a:pt x="3562" y="17423"/>
                  </a:cubicBezTo>
                  <a:cubicBezTo>
                    <a:pt x="3415" y="17448"/>
                    <a:pt x="3415" y="17448"/>
                    <a:pt x="3415" y="17448"/>
                  </a:cubicBezTo>
                  <a:cubicBezTo>
                    <a:pt x="3428" y="17523"/>
                    <a:pt x="3428" y="17523"/>
                    <a:pt x="3428" y="17523"/>
                  </a:cubicBezTo>
                  <a:cubicBezTo>
                    <a:pt x="3359" y="17535"/>
                    <a:pt x="3359" y="17535"/>
                    <a:pt x="3359" y="17535"/>
                  </a:cubicBezTo>
                  <a:cubicBezTo>
                    <a:pt x="3371" y="17610"/>
                    <a:pt x="3371" y="17610"/>
                    <a:pt x="3371" y="17610"/>
                  </a:cubicBezTo>
                  <a:cubicBezTo>
                    <a:pt x="3558" y="17578"/>
                    <a:pt x="3558" y="17578"/>
                    <a:pt x="3558" y="17578"/>
                  </a:cubicBezTo>
                  <a:cubicBezTo>
                    <a:pt x="3561" y="17593"/>
                    <a:pt x="3561" y="17593"/>
                    <a:pt x="3561" y="17593"/>
                  </a:cubicBezTo>
                  <a:cubicBezTo>
                    <a:pt x="3475" y="17608"/>
                    <a:pt x="3475" y="17608"/>
                    <a:pt x="3475" y="17608"/>
                  </a:cubicBezTo>
                  <a:cubicBezTo>
                    <a:pt x="3489" y="17685"/>
                    <a:pt x="3489" y="17685"/>
                    <a:pt x="3489" y="17685"/>
                  </a:cubicBezTo>
                  <a:cubicBezTo>
                    <a:pt x="3697" y="17649"/>
                    <a:pt x="3697" y="17649"/>
                    <a:pt x="3697" y="17649"/>
                  </a:cubicBezTo>
                  <a:cubicBezTo>
                    <a:pt x="3688" y="17595"/>
                    <a:pt x="3688" y="17595"/>
                    <a:pt x="3688" y="17595"/>
                  </a:cubicBezTo>
                  <a:cubicBezTo>
                    <a:pt x="3701" y="17593"/>
                    <a:pt x="3701" y="17593"/>
                    <a:pt x="3701" y="17593"/>
                  </a:cubicBezTo>
                  <a:lnTo>
                    <a:pt x="3685" y="17502"/>
                  </a:lnTo>
                  <a:close/>
                  <a:moveTo>
                    <a:pt x="3681" y="17638"/>
                  </a:moveTo>
                  <a:cubicBezTo>
                    <a:pt x="3500" y="17670"/>
                    <a:pt x="3500" y="17670"/>
                    <a:pt x="3500" y="17670"/>
                  </a:cubicBezTo>
                  <a:cubicBezTo>
                    <a:pt x="3491" y="17619"/>
                    <a:pt x="3491" y="17619"/>
                    <a:pt x="3491" y="17619"/>
                  </a:cubicBezTo>
                  <a:cubicBezTo>
                    <a:pt x="3576" y="17604"/>
                    <a:pt x="3576" y="17604"/>
                    <a:pt x="3576" y="17604"/>
                  </a:cubicBezTo>
                  <a:cubicBezTo>
                    <a:pt x="3569" y="17562"/>
                    <a:pt x="3569" y="17562"/>
                    <a:pt x="3569" y="17562"/>
                  </a:cubicBezTo>
                  <a:cubicBezTo>
                    <a:pt x="3382" y="17595"/>
                    <a:pt x="3382" y="17595"/>
                    <a:pt x="3382" y="17595"/>
                  </a:cubicBezTo>
                  <a:cubicBezTo>
                    <a:pt x="3374" y="17546"/>
                    <a:pt x="3374" y="17546"/>
                    <a:pt x="3374" y="17546"/>
                  </a:cubicBezTo>
                  <a:cubicBezTo>
                    <a:pt x="3443" y="17534"/>
                    <a:pt x="3443" y="17534"/>
                    <a:pt x="3443" y="17534"/>
                  </a:cubicBezTo>
                  <a:cubicBezTo>
                    <a:pt x="3430" y="17459"/>
                    <a:pt x="3430" y="17459"/>
                    <a:pt x="3430" y="17459"/>
                  </a:cubicBezTo>
                  <a:cubicBezTo>
                    <a:pt x="3551" y="17439"/>
                    <a:pt x="3551" y="17439"/>
                    <a:pt x="3551" y="17439"/>
                  </a:cubicBezTo>
                  <a:cubicBezTo>
                    <a:pt x="3566" y="17529"/>
                    <a:pt x="3566" y="17529"/>
                    <a:pt x="3566" y="17529"/>
                  </a:cubicBezTo>
                  <a:cubicBezTo>
                    <a:pt x="3673" y="17510"/>
                    <a:pt x="3673" y="17510"/>
                    <a:pt x="3673" y="17510"/>
                  </a:cubicBezTo>
                  <a:cubicBezTo>
                    <a:pt x="3685" y="17582"/>
                    <a:pt x="3685" y="17582"/>
                    <a:pt x="3685" y="17582"/>
                  </a:cubicBezTo>
                  <a:cubicBezTo>
                    <a:pt x="3672" y="17584"/>
                    <a:pt x="3672" y="17584"/>
                    <a:pt x="3672" y="17584"/>
                  </a:cubicBezTo>
                  <a:lnTo>
                    <a:pt x="3681" y="17638"/>
                  </a:lnTo>
                  <a:close/>
                  <a:moveTo>
                    <a:pt x="2760" y="12652"/>
                  </a:moveTo>
                  <a:cubicBezTo>
                    <a:pt x="2774" y="12657"/>
                    <a:pt x="2774" y="12657"/>
                    <a:pt x="2774" y="12657"/>
                  </a:cubicBezTo>
                  <a:cubicBezTo>
                    <a:pt x="2707" y="12835"/>
                    <a:pt x="2707" y="12835"/>
                    <a:pt x="2707" y="12835"/>
                  </a:cubicBezTo>
                  <a:cubicBezTo>
                    <a:pt x="2778" y="12862"/>
                    <a:pt x="2778" y="12862"/>
                    <a:pt x="2778" y="12862"/>
                  </a:cubicBezTo>
                  <a:cubicBezTo>
                    <a:pt x="2803" y="12796"/>
                    <a:pt x="2803" y="12796"/>
                    <a:pt x="2803" y="12796"/>
                  </a:cubicBezTo>
                  <a:cubicBezTo>
                    <a:pt x="2874" y="12823"/>
                    <a:pt x="2874" y="12823"/>
                    <a:pt x="2874" y="12823"/>
                  </a:cubicBezTo>
                  <a:cubicBezTo>
                    <a:pt x="2927" y="12683"/>
                    <a:pt x="2927" y="12683"/>
                    <a:pt x="2927" y="12683"/>
                  </a:cubicBezTo>
                  <a:cubicBezTo>
                    <a:pt x="2841" y="12651"/>
                    <a:pt x="2841" y="12651"/>
                    <a:pt x="2841" y="12651"/>
                  </a:cubicBezTo>
                  <a:cubicBezTo>
                    <a:pt x="2877" y="12556"/>
                    <a:pt x="2877" y="12556"/>
                    <a:pt x="2877" y="12556"/>
                  </a:cubicBezTo>
                  <a:cubicBezTo>
                    <a:pt x="2880" y="12550"/>
                    <a:pt x="2880" y="12550"/>
                    <a:pt x="2880" y="12550"/>
                  </a:cubicBezTo>
                  <a:cubicBezTo>
                    <a:pt x="2787" y="12515"/>
                    <a:pt x="2787" y="12515"/>
                    <a:pt x="2787" y="12515"/>
                  </a:cubicBezTo>
                  <a:cubicBezTo>
                    <a:pt x="2784" y="12521"/>
                    <a:pt x="2784" y="12521"/>
                    <a:pt x="2784" y="12521"/>
                  </a:cubicBezTo>
                  <a:cubicBezTo>
                    <a:pt x="2782" y="12527"/>
                    <a:pt x="2782" y="12527"/>
                    <a:pt x="2782" y="12527"/>
                  </a:cubicBezTo>
                  <a:cubicBezTo>
                    <a:pt x="2731" y="12508"/>
                    <a:pt x="2731" y="12508"/>
                    <a:pt x="2731" y="12508"/>
                  </a:cubicBezTo>
                  <a:cubicBezTo>
                    <a:pt x="2656" y="12705"/>
                    <a:pt x="2656" y="12705"/>
                    <a:pt x="2656" y="12705"/>
                  </a:cubicBezTo>
                  <a:cubicBezTo>
                    <a:pt x="2729" y="12733"/>
                    <a:pt x="2729" y="12733"/>
                    <a:pt x="2729" y="12733"/>
                  </a:cubicBezTo>
                  <a:lnTo>
                    <a:pt x="2760" y="12652"/>
                  </a:lnTo>
                  <a:close/>
                  <a:moveTo>
                    <a:pt x="2673" y="12697"/>
                  </a:moveTo>
                  <a:cubicBezTo>
                    <a:pt x="2738" y="12525"/>
                    <a:pt x="2738" y="12525"/>
                    <a:pt x="2738" y="12525"/>
                  </a:cubicBezTo>
                  <a:cubicBezTo>
                    <a:pt x="2790" y="12544"/>
                    <a:pt x="2790" y="12544"/>
                    <a:pt x="2790" y="12544"/>
                  </a:cubicBezTo>
                  <a:cubicBezTo>
                    <a:pt x="2792" y="12538"/>
                    <a:pt x="2792" y="12538"/>
                    <a:pt x="2792" y="12538"/>
                  </a:cubicBezTo>
                  <a:cubicBezTo>
                    <a:pt x="2794" y="12532"/>
                    <a:pt x="2794" y="12532"/>
                    <a:pt x="2794" y="12532"/>
                  </a:cubicBezTo>
                  <a:cubicBezTo>
                    <a:pt x="2863" y="12558"/>
                    <a:pt x="2863" y="12558"/>
                    <a:pt x="2863" y="12558"/>
                  </a:cubicBezTo>
                  <a:cubicBezTo>
                    <a:pt x="2824" y="12659"/>
                    <a:pt x="2824" y="12659"/>
                    <a:pt x="2824" y="12659"/>
                  </a:cubicBezTo>
                  <a:cubicBezTo>
                    <a:pt x="2910" y="12691"/>
                    <a:pt x="2910" y="12691"/>
                    <a:pt x="2910" y="12691"/>
                  </a:cubicBezTo>
                  <a:cubicBezTo>
                    <a:pt x="2866" y="12805"/>
                    <a:pt x="2866" y="12805"/>
                    <a:pt x="2866" y="12805"/>
                  </a:cubicBezTo>
                  <a:cubicBezTo>
                    <a:pt x="2796" y="12779"/>
                    <a:pt x="2796" y="12779"/>
                    <a:pt x="2796" y="12779"/>
                  </a:cubicBezTo>
                  <a:cubicBezTo>
                    <a:pt x="2771" y="12844"/>
                    <a:pt x="2771" y="12844"/>
                    <a:pt x="2771" y="12844"/>
                  </a:cubicBezTo>
                  <a:cubicBezTo>
                    <a:pt x="2725" y="12827"/>
                    <a:pt x="2725" y="12827"/>
                    <a:pt x="2725" y="12827"/>
                  </a:cubicBezTo>
                  <a:cubicBezTo>
                    <a:pt x="2792" y="12650"/>
                    <a:pt x="2792" y="12650"/>
                    <a:pt x="2792" y="12650"/>
                  </a:cubicBezTo>
                  <a:cubicBezTo>
                    <a:pt x="2752" y="12635"/>
                    <a:pt x="2752" y="12635"/>
                    <a:pt x="2752" y="12635"/>
                  </a:cubicBezTo>
                  <a:cubicBezTo>
                    <a:pt x="2722" y="12716"/>
                    <a:pt x="2722" y="12716"/>
                    <a:pt x="2722" y="12716"/>
                  </a:cubicBezTo>
                  <a:lnTo>
                    <a:pt x="2673" y="12697"/>
                  </a:lnTo>
                  <a:close/>
                  <a:moveTo>
                    <a:pt x="8133" y="17724"/>
                  </a:moveTo>
                  <a:cubicBezTo>
                    <a:pt x="8131" y="17695"/>
                    <a:pt x="8131" y="17695"/>
                    <a:pt x="8131" y="17695"/>
                  </a:cubicBezTo>
                  <a:cubicBezTo>
                    <a:pt x="8030" y="17699"/>
                    <a:pt x="8030" y="17699"/>
                    <a:pt x="8030" y="17699"/>
                  </a:cubicBezTo>
                  <a:cubicBezTo>
                    <a:pt x="8030" y="17705"/>
                    <a:pt x="8030" y="17705"/>
                    <a:pt x="8030" y="17705"/>
                  </a:cubicBezTo>
                  <a:cubicBezTo>
                    <a:pt x="8031" y="17724"/>
                    <a:pt x="8031" y="17724"/>
                    <a:pt x="8031" y="17724"/>
                  </a:cubicBezTo>
                  <a:cubicBezTo>
                    <a:pt x="7956" y="17725"/>
                    <a:pt x="7956" y="17725"/>
                    <a:pt x="7956" y="17725"/>
                  </a:cubicBezTo>
                  <a:cubicBezTo>
                    <a:pt x="7959" y="17790"/>
                    <a:pt x="7959" y="17790"/>
                    <a:pt x="7959" y="17790"/>
                  </a:cubicBezTo>
                  <a:cubicBezTo>
                    <a:pt x="7926" y="17793"/>
                    <a:pt x="7926" y="17793"/>
                    <a:pt x="7926" y="17793"/>
                  </a:cubicBezTo>
                  <a:cubicBezTo>
                    <a:pt x="7928" y="17860"/>
                    <a:pt x="7928" y="17860"/>
                    <a:pt x="7928" y="17860"/>
                  </a:cubicBezTo>
                  <a:cubicBezTo>
                    <a:pt x="7934" y="17861"/>
                    <a:pt x="7934" y="17861"/>
                    <a:pt x="7934" y="17861"/>
                  </a:cubicBezTo>
                  <a:cubicBezTo>
                    <a:pt x="7954" y="17862"/>
                    <a:pt x="7954" y="17862"/>
                    <a:pt x="7954" y="17862"/>
                  </a:cubicBezTo>
                  <a:cubicBezTo>
                    <a:pt x="7956" y="17918"/>
                    <a:pt x="7956" y="17918"/>
                    <a:pt x="7956" y="17918"/>
                  </a:cubicBezTo>
                  <a:cubicBezTo>
                    <a:pt x="8091" y="17917"/>
                    <a:pt x="8091" y="17917"/>
                    <a:pt x="8091" y="17917"/>
                  </a:cubicBezTo>
                  <a:cubicBezTo>
                    <a:pt x="8096" y="17959"/>
                    <a:pt x="8096" y="17959"/>
                    <a:pt x="8096" y="17959"/>
                  </a:cubicBezTo>
                  <a:cubicBezTo>
                    <a:pt x="8179" y="17961"/>
                    <a:pt x="8179" y="17961"/>
                    <a:pt x="8179" y="17961"/>
                  </a:cubicBezTo>
                  <a:cubicBezTo>
                    <a:pt x="8179" y="17918"/>
                    <a:pt x="8179" y="17918"/>
                    <a:pt x="8179" y="17918"/>
                  </a:cubicBezTo>
                  <a:cubicBezTo>
                    <a:pt x="8262" y="17916"/>
                    <a:pt x="8262" y="17916"/>
                    <a:pt x="8262" y="17916"/>
                  </a:cubicBezTo>
                  <a:cubicBezTo>
                    <a:pt x="8269" y="17915"/>
                    <a:pt x="8269" y="17915"/>
                    <a:pt x="8269" y="17915"/>
                  </a:cubicBezTo>
                  <a:cubicBezTo>
                    <a:pt x="8268" y="17724"/>
                    <a:pt x="8268" y="17724"/>
                    <a:pt x="8268" y="17724"/>
                  </a:cubicBezTo>
                  <a:lnTo>
                    <a:pt x="8133" y="17724"/>
                  </a:lnTo>
                  <a:close/>
                  <a:moveTo>
                    <a:pt x="8166" y="17905"/>
                  </a:moveTo>
                  <a:cubicBezTo>
                    <a:pt x="8166" y="17947"/>
                    <a:pt x="8166" y="17947"/>
                    <a:pt x="8166" y="17947"/>
                  </a:cubicBezTo>
                  <a:cubicBezTo>
                    <a:pt x="8108" y="17946"/>
                    <a:pt x="8108" y="17946"/>
                    <a:pt x="8108" y="17946"/>
                  </a:cubicBezTo>
                  <a:cubicBezTo>
                    <a:pt x="8103" y="17903"/>
                    <a:pt x="8103" y="17903"/>
                    <a:pt x="8103" y="17903"/>
                  </a:cubicBezTo>
                  <a:cubicBezTo>
                    <a:pt x="7969" y="17904"/>
                    <a:pt x="7969" y="17904"/>
                    <a:pt x="7969" y="17904"/>
                  </a:cubicBezTo>
                  <a:cubicBezTo>
                    <a:pt x="7966" y="17849"/>
                    <a:pt x="7966" y="17849"/>
                    <a:pt x="7966" y="17849"/>
                  </a:cubicBezTo>
                  <a:cubicBezTo>
                    <a:pt x="7960" y="17849"/>
                    <a:pt x="7960" y="17849"/>
                    <a:pt x="7960" y="17849"/>
                  </a:cubicBezTo>
                  <a:cubicBezTo>
                    <a:pt x="7941" y="17848"/>
                    <a:pt x="7941" y="17848"/>
                    <a:pt x="7941" y="17848"/>
                  </a:cubicBezTo>
                  <a:cubicBezTo>
                    <a:pt x="7940" y="17805"/>
                    <a:pt x="7940" y="17805"/>
                    <a:pt x="7940" y="17805"/>
                  </a:cubicBezTo>
                  <a:cubicBezTo>
                    <a:pt x="7973" y="17802"/>
                    <a:pt x="7973" y="17802"/>
                    <a:pt x="7973" y="17802"/>
                  </a:cubicBezTo>
                  <a:cubicBezTo>
                    <a:pt x="7970" y="17738"/>
                    <a:pt x="7970" y="17738"/>
                    <a:pt x="7970" y="17738"/>
                  </a:cubicBezTo>
                  <a:cubicBezTo>
                    <a:pt x="8045" y="17737"/>
                    <a:pt x="8045" y="17737"/>
                    <a:pt x="8045" y="17737"/>
                  </a:cubicBezTo>
                  <a:cubicBezTo>
                    <a:pt x="8045" y="17730"/>
                    <a:pt x="8045" y="17730"/>
                    <a:pt x="8045" y="17730"/>
                  </a:cubicBezTo>
                  <a:cubicBezTo>
                    <a:pt x="8044" y="17711"/>
                    <a:pt x="8044" y="17711"/>
                    <a:pt x="8044" y="17711"/>
                  </a:cubicBezTo>
                  <a:cubicBezTo>
                    <a:pt x="8119" y="17708"/>
                    <a:pt x="8119" y="17708"/>
                    <a:pt x="8119" y="17708"/>
                  </a:cubicBezTo>
                  <a:cubicBezTo>
                    <a:pt x="8121" y="17737"/>
                    <a:pt x="8121" y="17737"/>
                    <a:pt x="8121" y="17737"/>
                  </a:cubicBezTo>
                  <a:cubicBezTo>
                    <a:pt x="8255" y="17737"/>
                    <a:pt x="8255" y="17737"/>
                    <a:pt x="8255" y="17737"/>
                  </a:cubicBezTo>
                  <a:cubicBezTo>
                    <a:pt x="8256" y="17903"/>
                    <a:pt x="8256" y="17903"/>
                    <a:pt x="8256" y="17903"/>
                  </a:cubicBezTo>
                  <a:lnTo>
                    <a:pt x="8166" y="17905"/>
                  </a:lnTo>
                  <a:close/>
                  <a:moveTo>
                    <a:pt x="8366" y="17800"/>
                  </a:moveTo>
                  <a:cubicBezTo>
                    <a:pt x="8454" y="17801"/>
                    <a:pt x="8454" y="17801"/>
                    <a:pt x="8454" y="17801"/>
                  </a:cubicBezTo>
                  <a:cubicBezTo>
                    <a:pt x="8461" y="17801"/>
                    <a:pt x="8461" y="17801"/>
                    <a:pt x="8461" y="17801"/>
                  </a:cubicBezTo>
                  <a:cubicBezTo>
                    <a:pt x="8461" y="17706"/>
                    <a:pt x="8461" y="17706"/>
                    <a:pt x="8461" y="17706"/>
                  </a:cubicBezTo>
                  <a:cubicBezTo>
                    <a:pt x="8366" y="17705"/>
                    <a:pt x="8366" y="17705"/>
                    <a:pt x="8366" y="17705"/>
                  </a:cubicBezTo>
                  <a:lnTo>
                    <a:pt x="8366" y="17800"/>
                  </a:lnTo>
                  <a:close/>
                  <a:moveTo>
                    <a:pt x="8379" y="17719"/>
                  </a:moveTo>
                  <a:cubicBezTo>
                    <a:pt x="8448" y="17719"/>
                    <a:pt x="8448" y="17719"/>
                    <a:pt x="8448" y="17719"/>
                  </a:cubicBezTo>
                  <a:cubicBezTo>
                    <a:pt x="8448" y="17788"/>
                    <a:pt x="8448" y="17788"/>
                    <a:pt x="8448" y="17788"/>
                  </a:cubicBezTo>
                  <a:cubicBezTo>
                    <a:pt x="8379" y="17787"/>
                    <a:pt x="8379" y="17787"/>
                    <a:pt x="8379" y="17787"/>
                  </a:cubicBezTo>
                  <a:lnTo>
                    <a:pt x="8379" y="17719"/>
                  </a:lnTo>
                  <a:close/>
                  <a:moveTo>
                    <a:pt x="12657" y="9117"/>
                  </a:moveTo>
                  <a:cubicBezTo>
                    <a:pt x="12555" y="9120"/>
                    <a:pt x="12555" y="9120"/>
                    <a:pt x="12555" y="9120"/>
                  </a:cubicBezTo>
                  <a:cubicBezTo>
                    <a:pt x="12556" y="9127"/>
                    <a:pt x="12556" y="9127"/>
                    <a:pt x="12556" y="9127"/>
                  </a:cubicBezTo>
                  <a:cubicBezTo>
                    <a:pt x="12557" y="9145"/>
                    <a:pt x="12557" y="9145"/>
                    <a:pt x="12557" y="9145"/>
                  </a:cubicBezTo>
                  <a:cubicBezTo>
                    <a:pt x="12481" y="9145"/>
                    <a:pt x="12481" y="9145"/>
                    <a:pt x="12481" y="9145"/>
                  </a:cubicBezTo>
                  <a:cubicBezTo>
                    <a:pt x="12483" y="9211"/>
                    <a:pt x="12483" y="9211"/>
                    <a:pt x="12483" y="9211"/>
                  </a:cubicBezTo>
                  <a:cubicBezTo>
                    <a:pt x="12451" y="9213"/>
                    <a:pt x="12451" y="9213"/>
                    <a:pt x="12451" y="9213"/>
                  </a:cubicBezTo>
                  <a:cubicBezTo>
                    <a:pt x="12452" y="9280"/>
                    <a:pt x="12452" y="9280"/>
                    <a:pt x="12452" y="9280"/>
                  </a:cubicBezTo>
                  <a:cubicBezTo>
                    <a:pt x="12458" y="9281"/>
                    <a:pt x="12458" y="9281"/>
                    <a:pt x="12458" y="9281"/>
                  </a:cubicBezTo>
                  <a:cubicBezTo>
                    <a:pt x="12477" y="9282"/>
                    <a:pt x="12477" y="9282"/>
                    <a:pt x="12477" y="9282"/>
                  </a:cubicBezTo>
                  <a:cubicBezTo>
                    <a:pt x="12479" y="9338"/>
                    <a:pt x="12479" y="9338"/>
                    <a:pt x="12479" y="9338"/>
                  </a:cubicBezTo>
                  <a:cubicBezTo>
                    <a:pt x="12614" y="9339"/>
                    <a:pt x="12614" y="9339"/>
                    <a:pt x="12614" y="9339"/>
                  </a:cubicBezTo>
                  <a:cubicBezTo>
                    <a:pt x="12618" y="9382"/>
                    <a:pt x="12618" y="9382"/>
                    <a:pt x="12618" y="9382"/>
                  </a:cubicBezTo>
                  <a:cubicBezTo>
                    <a:pt x="12701" y="9384"/>
                    <a:pt x="12701" y="9384"/>
                    <a:pt x="12701" y="9384"/>
                  </a:cubicBezTo>
                  <a:cubicBezTo>
                    <a:pt x="12702" y="9341"/>
                    <a:pt x="12702" y="9341"/>
                    <a:pt x="12702" y="9341"/>
                  </a:cubicBezTo>
                  <a:cubicBezTo>
                    <a:pt x="12785" y="9340"/>
                    <a:pt x="12785" y="9340"/>
                    <a:pt x="12785" y="9340"/>
                  </a:cubicBezTo>
                  <a:cubicBezTo>
                    <a:pt x="12792" y="9340"/>
                    <a:pt x="12792" y="9340"/>
                    <a:pt x="12792" y="9340"/>
                  </a:cubicBezTo>
                  <a:cubicBezTo>
                    <a:pt x="12793" y="9148"/>
                    <a:pt x="12793" y="9148"/>
                    <a:pt x="12793" y="9148"/>
                  </a:cubicBezTo>
                  <a:cubicBezTo>
                    <a:pt x="12658" y="9146"/>
                    <a:pt x="12658" y="9146"/>
                    <a:pt x="12658" y="9146"/>
                  </a:cubicBezTo>
                  <a:lnTo>
                    <a:pt x="12657" y="9117"/>
                  </a:lnTo>
                  <a:close/>
                  <a:moveTo>
                    <a:pt x="12779" y="9327"/>
                  </a:moveTo>
                  <a:cubicBezTo>
                    <a:pt x="12689" y="9328"/>
                    <a:pt x="12689" y="9328"/>
                    <a:pt x="12689" y="9328"/>
                  </a:cubicBezTo>
                  <a:cubicBezTo>
                    <a:pt x="12688" y="9370"/>
                    <a:pt x="12688" y="9370"/>
                    <a:pt x="12688" y="9370"/>
                  </a:cubicBezTo>
                  <a:cubicBezTo>
                    <a:pt x="12630" y="9369"/>
                    <a:pt x="12630" y="9369"/>
                    <a:pt x="12630" y="9369"/>
                  </a:cubicBezTo>
                  <a:cubicBezTo>
                    <a:pt x="12625" y="9326"/>
                    <a:pt x="12625" y="9326"/>
                    <a:pt x="12625" y="9326"/>
                  </a:cubicBezTo>
                  <a:cubicBezTo>
                    <a:pt x="12492" y="9325"/>
                    <a:pt x="12492" y="9325"/>
                    <a:pt x="12492" y="9325"/>
                  </a:cubicBezTo>
                  <a:cubicBezTo>
                    <a:pt x="12490" y="9269"/>
                    <a:pt x="12490" y="9269"/>
                    <a:pt x="12490" y="9269"/>
                  </a:cubicBezTo>
                  <a:cubicBezTo>
                    <a:pt x="12484" y="9269"/>
                    <a:pt x="12484" y="9269"/>
                    <a:pt x="12484" y="9269"/>
                  </a:cubicBezTo>
                  <a:cubicBezTo>
                    <a:pt x="12464" y="9268"/>
                    <a:pt x="12464" y="9268"/>
                    <a:pt x="12464" y="9268"/>
                  </a:cubicBezTo>
                  <a:cubicBezTo>
                    <a:pt x="12464" y="9225"/>
                    <a:pt x="12464" y="9225"/>
                    <a:pt x="12464" y="9225"/>
                  </a:cubicBezTo>
                  <a:cubicBezTo>
                    <a:pt x="12497" y="9223"/>
                    <a:pt x="12497" y="9223"/>
                    <a:pt x="12497" y="9223"/>
                  </a:cubicBezTo>
                  <a:cubicBezTo>
                    <a:pt x="12495" y="9158"/>
                    <a:pt x="12495" y="9158"/>
                    <a:pt x="12495" y="9158"/>
                  </a:cubicBezTo>
                  <a:cubicBezTo>
                    <a:pt x="12570" y="9158"/>
                    <a:pt x="12570" y="9158"/>
                    <a:pt x="12570" y="9158"/>
                  </a:cubicBezTo>
                  <a:cubicBezTo>
                    <a:pt x="12570" y="9151"/>
                    <a:pt x="12570" y="9151"/>
                    <a:pt x="12570" y="9151"/>
                  </a:cubicBezTo>
                  <a:cubicBezTo>
                    <a:pt x="12569" y="9133"/>
                    <a:pt x="12569" y="9133"/>
                    <a:pt x="12569" y="9133"/>
                  </a:cubicBezTo>
                  <a:cubicBezTo>
                    <a:pt x="12644" y="9131"/>
                    <a:pt x="12644" y="9131"/>
                    <a:pt x="12644" y="9131"/>
                  </a:cubicBezTo>
                  <a:cubicBezTo>
                    <a:pt x="12646" y="9159"/>
                    <a:pt x="12646" y="9159"/>
                    <a:pt x="12646" y="9159"/>
                  </a:cubicBezTo>
                  <a:cubicBezTo>
                    <a:pt x="12780" y="9161"/>
                    <a:pt x="12780" y="9161"/>
                    <a:pt x="12780" y="9161"/>
                  </a:cubicBezTo>
                  <a:lnTo>
                    <a:pt x="12779" y="9327"/>
                  </a:lnTo>
                  <a:close/>
                  <a:moveTo>
                    <a:pt x="3295" y="16916"/>
                  </a:moveTo>
                  <a:cubicBezTo>
                    <a:pt x="3295" y="16916"/>
                    <a:pt x="3295" y="16916"/>
                    <a:pt x="3295" y="16916"/>
                  </a:cubicBezTo>
                  <a:cubicBezTo>
                    <a:pt x="3295" y="16916"/>
                    <a:pt x="3295" y="16916"/>
                    <a:pt x="3295" y="16916"/>
                  </a:cubicBezTo>
                  <a:close/>
                  <a:moveTo>
                    <a:pt x="4727" y="9557"/>
                  </a:moveTo>
                  <a:cubicBezTo>
                    <a:pt x="4811" y="9553"/>
                    <a:pt x="4811" y="9553"/>
                    <a:pt x="4811" y="9553"/>
                  </a:cubicBezTo>
                  <a:cubicBezTo>
                    <a:pt x="4800" y="9293"/>
                    <a:pt x="4800" y="9293"/>
                    <a:pt x="4800" y="9293"/>
                  </a:cubicBezTo>
                  <a:cubicBezTo>
                    <a:pt x="4716" y="9297"/>
                    <a:pt x="4716" y="9297"/>
                    <a:pt x="4716" y="9297"/>
                  </a:cubicBezTo>
                  <a:cubicBezTo>
                    <a:pt x="4727" y="9550"/>
                    <a:pt x="4727" y="9550"/>
                    <a:pt x="4727" y="9550"/>
                  </a:cubicBezTo>
                  <a:lnTo>
                    <a:pt x="4727" y="9557"/>
                  </a:lnTo>
                  <a:close/>
                  <a:moveTo>
                    <a:pt x="4787" y="9307"/>
                  </a:moveTo>
                  <a:cubicBezTo>
                    <a:pt x="4798" y="9540"/>
                    <a:pt x="4798" y="9540"/>
                    <a:pt x="4798" y="9540"/>
                  </a:cubicBezTo>
                  <a:cubicBezTo>
                    <a:pt x="4740" y="9543"/>
                    <a:pt x="4740" y="9543"/>
                    <a:pt x="4740" y="9543"/>
                  </a:cubicBezTo>
                  <a:cubicBezTo>
                    <a:pt x="4729" y="9309"/>
                    <a:pt x="4729" y="9309"/>
                    <a:pt x="4729" y="9309"/>
                  </a:cubicBezTo>
                  <a:lnTo>
                    <a:pt x="4787" y="9307"/>
                  </a:lnTo>
                  <a:close/>
                  <a:moveTo>
                    <a:pt x="4748" y="9853"/>
                  </a:moveTo>
                  <a:cubicBezTo>
                    <a:pt x="4760" y="10106"/>
                    <a:pt x="4760" y="10106"/>
                    <a:pt x="4760" y="10106"/>
                  </a:cubicBezTo>
                  <a:cubicBezTo>
                    <a:pt x="4760" y="10113"/>
                    <a:pt x="4760" y="10113"/>
                    <a:pt x="4760" y="10113"/>
                  </a:cubicBezTo>
                  <a:cubicBezTo>
                    <a:pt x="4844" y="10109"/>
                    <a:pt x="4844" y="10109"/>
                    <a:pt x="4844" y="10109"/>
                  </a:cubicBezTo>
                  <a:cubicBezTo>
                    <a:pt x="4832" y="9849"/>
                    <a:pt x="4832" y="9849"/>
                    <a:pt x="4832" y="9849"/>
                  </a:cubicBezTo>
                  <a:lnTo>
                    <a:pt x="4748" y="9853"/>
                  </a:lnTo>
                  <a:close/>
                  <a:moveTo>
                    <a:pt x="4773" y="10099"/>
                  </a:moveTo>
                  <a:cubicBezTo>
                    <a:pt x="4762" y="9865"/>
                    <a:pt x="4762" y="9865"/>
                    <a:pt x="4762" y="9865"/>
                  </a:cubicBezTo>
                  <a:cubicBezTo>
                    <a:pt x="4820" y="9863"/>
                    <a:pt x="4820" y="9863"/>
                    <a:pt x="4820" y="9863"/>
                  </a:cubicBezTo>
                  <a:cubicBezTo>
                    <a:pt x="4830" y="10096"/>
                    <a:pt x="4830" y="10096"/>
                    <a:pt x="4830" y="10096"/>
                  </a:cubicBezTo>
                  <a:lnTo>
                    <a:pt x="4773" y="10099"/>
                  </a:lnTo>
                  <a:close/>
                  <a:moveTo>
                    <a:pt x="4968" y="10086"/>
                  </a:moveTo>
                  <a:cubicBezTo>
                    <a:pt x="5052" y="10082"/>
                    <a:pt x="5052" y="10082"/>
                    <a:pt x="5052" y="10082"/>
                  </a:cubicBezTo>
                  <a:cubicBezTo>
                    <a:pt x="5041" y="9823"/>
                    <a:pt x="5041" y="9823"/>
                    <a:pt x="5041" y="9823"/>
                  </a:cubicBezTo>
                  <a:cubicBezTo>
                    <a:pt x="4957" y="9827"/>
                    <a:pt x="4957" y="9827"/>
                    <a:pt x="4957" y="9827"/>
                  </a:cubicBezTo>
                  <a:cubicBezTo>
                    <a:pt x="4968" y="10080"/>
                    <a:pt x="4968" y="10080"/>
                    <a:pt x="4968" y="10080"/>
                  </a:cubicBezTo>
                  <a:lnTo>
                    <a:pt x="4968" y="10086"/>
                  </a:lnTo>
                  <a:close/>
                  <a:moveTo>
                    <a:pt x="5028" y="9836"/>
                  </a:moveTo>
                  <a:cubicBezTo>
                    <a:pt x="5039" y="10070"/>
                    <a:pt x="5039" y="10070"/>
                    <a:pt x="5039" y="10070"/>
                  </a:cubicBezTo>
                  <a:cubicBezTo>
                    <a:pt x="4981" y="10073"/>
                    <a:pt x="4981" y="10073"/>
                    <a:pt x="4981" y="10073"/>
                  </a:cubicBezTo>
                  <a:cubicBezTo>
                    <a:pt x="4970" y="9839"/>
                    <a:pt x="4970" y="9839"/>
                    <a:pt x="4970" y="9839"/>
                  </a:cubicBezTo>
                  <a:lnTo>
                    <a:pt x="5028" y="9836"/>
                  </a:lnTo>
                  <a:close/>
                  <a:moveTo>
                    <a:pt x="5226" y="9774"/>
                  </a:moveTo>
                  <a:cubicBezTo>
                    <a:pt x="5237" y="10027"/>
                    <a:pt x="5237" y="10027"/>
                    <a:pt x="5237" y="10027"/>
                  </a:cubicBezTo>
                  <a:cubicBezTo>
                    <a:pt x="5237" y="10034"/>
                    <a:pt x="5237" y="10034"/>
                    <a:pt x="5237" y="10034"/>
                  </a:cubicBezTo>
                  <a:cubicBezTo>
                    <a:pt x="5321" y="10030"/>
                    <a:pt x="5321" y="10030"/>
                    <a:pt x="5321" y="10030"/>
                  </a:cubicBezTo>
                  <a:cubicBezTo>
                    <a:pt x="5310" y="9770"/>
                    <a:pt x="5310" y="9770"/>
                    <a:pt x="5310" y="9770"/>
                  </a:cubicBezTo>
                  <a:lnTo>
                    <a:pt x="5226" y="9774"/>
                  </a:lnTo>
                  <a:close/>
                  <a:moveTo>
                    <a:pt x="5250" y="10020"/>
                  </a:moveTo>
                  <a:cubicBezTo>
                    <a:pt x="5239" y="9787"/>
                    <a:pt x="5239" y="9787"/>
                    <a:pt x="5239" y="9787"/>
                  </a:cubicBezTo>
                  <a:cubicBezTo>
                    <a:pt x="5297" y="9784"/>
                    <a:pt x="5297" y="9784"/>
                    <a:pt x="5297" y="9784"/>
                  </a:cubicBezTo>
                  <a:cubicBezTo>
                    <a:pt x="5308" y="10018"/>
                    <a:pt x="5308" y="10018"/>
                    <a:pt x="5308" y="10018"/>
                  </a:cubicBezTo>
                  <a:lnTo>
                    <a:pt x="5250" y="10020"/>
                  </a:lnTo>
                  <a:close/>
                  <a:moveTo>
                    <a:pt x="47" y="13597"/>
                  </a:moveTo>
                  <a:cubicBezTo>
                    <a:pt x="69" y="13553"/>
                    <a:pt x="69" y="13553"/>
                    <a:pt x="69" y="13553"/>
                  </a:cubicBezTo>
                  <a:cubicBezTo>
                    <a:pt x="4" y="13521"/>
                    <a:pt x="4" y="13521"/>
                    <a:pt x="4" y="13521"/>
                  </a:cubicBezTo>
                  <a:cubicBezTo>
                    <a:pt x="4" y="13506"/>
                    <a:pt x="4" y="13506"/>
                    <a:pt x="4" y="13506"/>
                  </a:cubicBezTo>
                  <a:cubicBezTo>
                    <a:pt x="86" y="13547"/>
                    <a:pt x="86" y="13547"/>
                    <a:pt x="86" y="13547"/>
                  </a:cubicBezTo>
                  <a:cubicBezTo>
                    <a:pt x="52" y="13615"/>
                    <a:pt x="52" y="13615"/>
                    <a:pt x="52" y="13615"/>
                  </a:cubicBezTo>
                  <a:cubicBezTo>
                    <a:pt x="47" y="13612"/>
                    <a:pt x="47" y="13612"/>
                    <a:pt x="47" y="13612"/>
                  </a:cubicBezTo>
                  <a:cubicBezTo>
                    <a:pt x="4" y="13591"/>
                    <a:pt x="4" y="13591"/>
                    <a:pt x="4" y="13591"/>
                  </a:cubicBezTo>
                  <a:cubicBezTo>
                    <a:pt x="4" y="13576"/>
                    <a:pt x="4" y="13576"/>
                    <a:pt x="4" y="13576"/>
                  </a:cubicBezTo>
                  <a:lnTo>
                    <a:pt x="47" y="13597"/>
                  </a:lnTo>
                  <a:close/>
                  <a:moveTo>
                    <a:pt x="2459" y="16158"/>
                  </a:moveTo>
                  <a:cubicBezTo>
                    <a:pt x="2315" y="16144"/>
                    <a:pt x="2315" y="16144"/>
                    <a:pt x="2315" y="16144"/>
                  </a:cubicBezTo>
                  <a:cubicBezTo>
                    <a:pt x="2308" y="16143"/>
                    <a:pt x="2308" y="16143"/>
                    <a:pt x="2308" y="16143"/>
                  </a:cubicBezTo>
                  <a:cubicBezTo>
                    <a:pt x="2301" y="16219"/>
                    <a:pt x="2301" y="16219"/>
                    <a:pt x="2301" y="16219"/>
                  </a:cubicBezTo>
                  <a:cubicBezTo>
                    <a:pt x="2452" y="16233"/>
                    <a:pt x="2452" y="16233"/>
                    <a:pt x="2452" y="16233"/>
                  </a:cubicBezTo>
                  <a:lnTo>
                    <a:pt x="2459" y="16158"/>
                  </a:lnTo>
                  <a:close/>
                  <a:moveTo>
                    <a:pt x="2440" y="16219"/>
                  </a:moveTo>
                  <a:cubicBezTo>
                    <a:pt x="2315" y="16207"/>
                    <a:pt x="2315" y="16207"/>
                    <a:pt x="2315" y="16207"/>
                  </a:cubicBezTo>
                  <a:cubicBezTo>
                    <a:pt x="2320" y="16158"/>
                    <a:pt x="2320" y="16158"/>
                    <a:pt x="2320" y="16158"/>
                  </a:cubicBezTo>
                  <a:cubicBezTo>
                    <a:pt x="2445" y="16170"/>
                    <a:pt x="2445" y="16170"/>
                    <a:pt x="2445" y="16170"/>
                  </a:cubicBezTo>
                  <a:lnTo>
                    <a:pt x="2440" y="16219"/>
                  </a:lnTo>
                  <a:close/>
                  <a:moveTo>
                    <a:pt x="2140" y="15945"/>
                  </a:moveTo>
                  <a:cubicBezTo>
                    <a:pt x="2132" y="16020"/>
                    <a:pt x="2132" y="16020"/>
                    <a:pt x="2132" y="16020"/>
                  </a:cubicBezTo>
                  <a:cubicBezTo>
                    <a:pt x="2283" y="16035"/>
                    <a:pt x="2283" y="16035"/>
                    <a:pt x="2283" y="16035"/>
                  </a:cubicBezTo>
                  <a:cubicBezTo>
                    <a:pt x="2291" y="15959"/>
                    <a:pt x="2291" y="15959"/>
                    <a:pt x="2291" y="15959"/>
                  </a:cubicBezTo>
                  <a:cubicBezTo>
                    <a:pt x="2146" y="15945"/>
                    <a:pt x="2146" y="15945"/>
                    <a:pt x="2146" y="15945"/>
                  </a:cubicBezTo>
                  <a:lnTo>
                    <a:pt x="2140" y="15945"/>
                  </a:lnTo>
                  <a:close/>
                  <a:moveTo>
                    <a:pt x="2152" y="15959"/>
                  </a:moveTo>
                  <a:cubicBezTo>
                    <a:pt x="2276" y="15971"/>
                    <a:pt x="2276" y="15971"/>
                    <a:pt x="2276" y="15971"/>
                  </a:cubicBezTo>
                  <a:cubicBezTo>
                    <a:pt x="2272" y="16020"/>
                    <a:pt x="2272" y="16020"/>
                    <a:pt x="2272" y="16020"/>
                  </a:cubicBezTo>
                  <a:cubicBezTo>
                    <a:pt x="2147" y="16008"/>
                    <a:pt x="2147" y="16008"/>
                    <a:pt x="2147" y="16008"/>
                  </a:cubicBezTo>
                  <a:lnTo>
                    <a:pt x="2152" y="15959"/>
                  </a:lnTo>
                  <a:close/>
                  <a:moveTo>
                    <a:pt x="3112" y="15856"/>
                  </a:moveTo>
                  <a:cubicBezTo>
                    <a:pt x="2968" y="15842"/>
                    <a:pt x="2968" y="15842"/>
                    <a:pt x="2968" y="15842"/>
                  </a:cubicBezTo>
                  <a:cubicBezTo>
                    <a:pt x="2962" y="15842"/>
                    <a:pt x="2962" y="15842"/>
                    <a:pt x="2962" y="15842"/>
                  </a:cubicBezTo>
                  <a:cubicBezTo>
                    <a:pt x="2954" y="15917"/>
                    <a:pt x="2954" y="15917"/>
                    <a:pt x="2954" y="15917"/>
                  </a:cubicBezTo>
                  <a:cubicBezTo>
                    <a:pt x="3105" y="15931"/>
                    <a:pt x="3105" y="15931"/>
                    <a:pt x="3105" y="15931"/>
                  </a:cubicBezTo>
                  <a:lnTo>
                    <a:pt x="3112" y="15856"/>
                  </a:lnTo>
                  <a:close/>
                  <a:moveTo>
                    <a:pt x="3093" y="15917"/>
                  </a:moveTo>
                  <a:cubicBezTo>
                    <a:pt x="2969" y="15905"/>
                    <a:pt x="2969" y="15905"/>
                    <a:pt x="2969" y="15905"/>
                  </a:cubicBezTo>
                  <a:cubicBezTo>
                    <a:pt x="2973" y="15856"/>
                    <a:pt x="2973" y="15856"/>
                    <a:pt x="2973" y="15856"/>
                  </a:cubicBezTo>
                  <a:cubicBezTo>
                    <a:pt x="3098" y="15868"/>
                    <a:pt x="3098" y="15868"/>
                    <a:pt x="3098" y="15868"/>
                  </a:cubicBezTo>
                  <a:lnTo>
                    <a:pt x="3093" y="15917"/>
                  </a:lnTo>
                  <a:close/>
                  <a:moveTo>
                    <a:pt x="4058" y="16034"/>
                  </a:moveTo>
                  <a:cubicBezTo>
                    <a:pt x="3914" y="16020"/>
                    <a:pt x="3914" y="16020"/>
                    <a:pt x="3914" y="16020"/>
                  </a:cubicBezTo>
                  <a:cubicBezTo>
                    <a:pt x="3907" y="16019"/>
                    <a:pt x="3907" y="16019"/>
                    <a:pt x="3907" y="16019"/>
                  </a:cubicBezTo>
                  <a:cubicBezTo>
                    <a:pt x="3900" y="16094"/>
                    <a:pt x="3900" y="16094"/>
                    <a:pt x="3900" y="16094"/>
                  </a:cubicBezTo>
                  <a:cubicBezTo>
                    <a:pt x="4051" y="16109"/>
                    <a:pt x="4051" y="16109"/>
                    <a:pt x="4051" y="16109"/>
                  </a:cubicBezTo>
                  <a:lnTo>
                    <a:pt x="4058" y="16034"/>
                  </a:lnTo>
                  <a:close/>
                  <a:moveTo>
                    <a:pt x="4039" y="16095"/>
                  </a:moveTo>
                  <a:cubicBezTo>
                    <a:pt x="3914" y="16083"/>
                    <a:pt x="3914" y="16083"/>
                    <a:pt x="3914" y="16083"/>
                  </a:cubicBezTo>
                  <a:cubicBezTo>
                    <a:pt x="3919" y="16033"/>
                    <a:pt x="3919" y="16033"/>
                    <a:pt x="3919" y="16033"/>
                  </a:cubicBezTo>
                  <a:cubicBezTo>
                    <a:pt x="4044" y="16045"/>
                    <a:pt x="4044" y="16045"/>
                    <a:pt x="4044" y="16045"/>
                  </a:cubicBezTo>
                  <a:lnTo>
                    <a:pt x="4039" y="16095"/>
                  </a:lnTo>
                  <a:close/>
                  <a:moveTo>
                    <a:pt x="3735" y="16171"/>
                  </a:moveTo>
                  <a:cubicBezTo>
                    <a:pt x="3727" y="16246"/>
                    <a:pt x="3727" y="16246"/>
                    <a:pt x="3727" y="16246"/>
                  </a:cubicBezTo>
                  <a:cubicBezTo>
                    <a:pt x="3878" y="16261"/>
                    <a:pt x="3878" y="16261"/>
                    <a:pt x="3878" y="16261"/>
                  </a:cubicBezTo>
                  <a:cubicBezTo>
                    <a:pt x="3885" y="16185"/>
                    <a:pt x="3885" y="16185"/>
                    <a:pt x="3885" y="16185"/>
                  </a:cubicBezTo>
                  <a:cubicBezTo>
                    <a:pt x="3741" y="16171"/>
                    <a:pt x="3741" y="16171"/>
                    <a:pt x="3741" y="16171"/>
                  </a:cubicBezTo>
                  <a:lnTo>
                    <a:pt x="3735" y="16171"/>
                  </a:lnTo>
                  <a:close/>
                  <a:moveTo>
                    <a:pt x="3746" y="16185"/>
                  </a:moveTo>
                  <a:cubicBezTo>
                    <a:pt x="3871" y="16197"/>
                    <a:pt x="3871" y="16197"/>
                    <a:pt x="3871" y="16197"/>
                  </a:cubicBezTo>
                  <a:cubicBezTo>
                    <a:pt x="3866" y="16246"/>
                    <a:pt x="3866" y="16246"/>
                    <a:pt x="3866" y="16246"/>
                  </a:cubicBezTo>
                  <a:cubicBezTo>
                    <a:pt x="3742" y="16234"/>
                    <a:pt x="3742" y="16234"/>
                    <a:pt x="3742" y="16234"/>
                  </a:cubicBezTo>
                  <a:lnTo>
                    <a:pt x="3746" y="16185"/>
                  </a:lnTo>
                  <a:close/>
                  <a:moveTo>
                    <a:pt x="2732" y="15983"/>
                  </a:moveTo>
                  <a:cubicBezTo>
                    <a:pt x="2725" y="16058"/>
                    <a:pt x="2725" y="16058"/>
                    <a:pt x="2725" y="16058"/>
                  </a:cubicBezTo>
                  <a:cubicBezTo>
                    <a:pt x="2876" y="16073"/>
                    <a:pt x="2876" y="16073"/>
                    <a:pt x="2876" y="16073"/>
                  </a:cubicBezTo>
                  <a:cubicBezTo>
                    <a:pt x="2883" y="15997"/>
                    <a:pt x="2883" y="15997"/>
                    <a:pt x="2883" y="15997"/>
                  </a:cubicBezTo>
                  <a:cubicBezTo>
                    <a:pt x="2739" y="15983"/>
                    <a:pt x="2739" y="15983"/>
                    <a:pt x="2739" y="15983"/>
                  </a:cubicBezTo>
                  <a:lnTo>
                    <a:pt x="2732" y="15983"/>
                  </a:lnTo>
                  <a:close/>
                  <a:moveTo>
                    <a:pt x="2744" y="15997"/>
                  </a:moveTo>
                  <a:cubicBezTo>
                    <a:pt x="2869" y="16009"/>
                    <a:pt x="2869" y="16009"/>
                    <a:pt x="2869" y="16009"/>
                  </a:cubicBezTo>
                  <a:cubicBezTo>
                    <a:pt x="2864" y="16058"/>
                    <a:pt x="2864" y="16058"/>
                    <a:pt x="2864" y="16058"/>
                  </a:cubicBezTo>
                  <a:cubicBezTo>
                    <a:pt x="2739" y="16046"/>
                    <a:pt x="2739" y="16046"/>
                    <a:pt x="2739" y="16046"/>
                  </a:cubicBezTo>
                  <a:lnTo>
                    <a:pt x="2744" y="15997"/>
                  </a:lnTo>
                  <a:close/>
                  <a:moveTo>
                    <a:pt x="6341" y="16008"/>
                  </a:moveTo>
                  <a:cubicBezTo>
                    <a:pt x="6334" y="16008"/>
                    <a:pt x="6334" y="16008"/>
                    <a:pt x="6334" y="16008"/>
                  </a:cubicBezTo>
                  <a:cubicBezTo>
                    <a:pt x="6335" y="16084"/>
                    <a:pt x="6335" y="16084"/>
                    <a:pt x="6335" y="16084"/>
                  </a:cubicBezTo>
                  <a:cubicBezTo>
                    <a:pt x="6486" y="16083"/>
                    <a:pt x="6486" y="16083"/>
                    <a:pt x="6486" y="16083"/>
                  </a:cubicBezTo>
                  <a:cubicBezTo>
                    <a:pt x="6486" y="16007"/>
                    <a:pt x="6486" y="16007"/>
                    <a:pt x="6486" y="16007"/>
                  </a:cubicBezTo>
                  <a:lnTo>
                    <a:pt x="6341" y="16008"/>
                  </a:lnTo>
                  <a:close/>
                  <a:moveTo>
                    <a:pt x="6348" y="16071"/>
                  </a:moveTo>
                  <a:cubicBezTo>
                    <a:pt x="6347" y="16021"/>
                    <a:pt x="6347" y="16021"/>
                    <a:pt x="6347" y="16021"/>
                  </a:cubicBezTo>
                  <a:cubicBezTo>
                    <a:pt x="6472" y="16020"/>
                    <a:pt x="6472" y="16020"/>
                    <a:pt x="6472" y="16020"/>
                  </a:cubicBezTo>
                  <a:cubicBezTo>
                    <a:pt x="6473" y="16070"/>
                    <a:pt x="6473" y="16070"/>
                    <a:pt x="6473" y="16070"/>
                  </a:cubicBezTo>
                  <a:lnTo>
                    <a:pt x="6348" y="16071"/>
                  </a:lnTo>
                  <a:close/>
                  <a:moveTo>
                    <a:pt x="6588" y="15726"/>
                  </a:moveTo>
                  <a:cubicBezTo>
                    <a:pt x="6518" y="15727"/>
                    <a:pt x="6518" y="15727"/>
                    <a:pt x="6518" y="15727"/>
                  </a:cubicBezTo>
                  <a:cubicBezTo>
                    <a:pt x="6519" y="15878"/>
                    <a:pt x="6519" y="15878"/>
                    <a:pt x="6519" y="15878"/>
                  </a:cubicBezTo>
                  <a:cubicBezTo>
                    <a:pt x="6590" y="15878"/>
                    <a:pt x="6590" y="15878"/>
                    <a:pt x="6590" y="15878"/>
                  </a:cubicBezTo>
                  <a:cubicBezTo>
                    <a:pt x="6588" y="15733"/>
                    <a:pt x="6588" y="15733"/>
                    <a:pt x="6588" y="15733"/>
                  </a:cubicBezTo>
                  <a:lnTo>
                    <a:pt x="6588" y="15726"/>
                  </a:lnTo>
                  <a:close/>
                  <a:moveTo>
                    <a:pt x="6532" y="15865"/>
                  </a:moveTo>
                  <a:cubicBezTo>
                    <a:pt x="6531" y="15740"/>
                    <a:pt x="6531" y="15740"/>
                    <a:pt x="6531" y="15740"/>
                  </a:cubicBezTo>
                  <a:cubicBezTo>
                    <a:pt x="6575" y="15740"/>
                    <a:pt x="6575" y="15740"/>
                    <a:pt x="6575" y="15740"/>
                  </a:cubicBezTo>
                  <a:cubicBezTo>
                    <a:pt x="6576" y="15865"/>
                    <a:pt x="6576" y="15865"/>
                    <a:pt x="6576" y="15865"/>
                  </a:cubicBezTo>
                  <a:lnTo>
                    <a:pt x="6532" y="15865"/>
                  </a:lnTo>
                  <a:close/>
                  <a:moveTo>
                    <a:pt x="6295" y="15833"/>
                  </a:moveTo>
                  <a:cubicBezTo>
                    <a:pt x="6294" y="15688"/>
                    <a:pt x="6294" y="15688"/>
                    <a:pt x="6294" y="15688"/>
                  </a:cubicBezTo>
                  <a:cubicBezTo>
                    <a:pt x="6294" y="15681"/>
                    <a:pt x="6294" y="15681"/>
                    <a:pt x="6294" y="15681"/>
                  </a:cubicBezTo>
                  <a:cubicBezTo>
                    <a:pt x="6223" y="15682"/>
                    <a:pt x="6223" y="15682"/>
                    <a:pt x="6223" y="15682"/>
                  </a:cubicBezTo>
                  <a:cubicBezTo>
                    <a:pt x="6224" y="15833"/>
                    <a:pt x="6224" y="15833"/>
                    <a:pt x="6224" y="15833"/>
                  </a:cubicBezTo>
                  <a:lnTo>
                    <a:pt x="6295" y="15833"/>
                  </a:lnTo>
                  <a:close/>
                  <a:moveTo>
                    <a:pt x="6281" y="15694"/>
                  </a:moveTo>
                  <a:cubicBezTo>
                    <a:pt x="6282" y="15820"/>
                    <a:pt x="6282" y="15820"/>
                    <a:pt x="6282" y="15820"/>
                  </a:cubicBezTo>
                  <a:cubicBezTo>
                    <a:pt x="6237" y="15820"/>
                    <a:pt x="6237" y="15820"/>
                    <a:pt x="6237" y="15820"/>
                  </a:cubicBezTo>
                  <a:cubicBezTo>
                    <a:pt x="6237" y="15695"/>
                    <a:pt x="6237" y="15695"/>
                    <a:pt x="6237" y="15695"/>
                  </a:cubicBezTo>
                  <a:lnTo>
                    <a:pt x="6281" y="15694"/>
                  </a:lnTo>
                  <a:close/>
                  <a:moveTo>
                    <a:pt x="5873" y="15076"/>
                  </a:moveTo>
                  <a:cubicBezTo>
                    <a:pt x="5944" y="15076"/>
                    <a:pt x="5944" y="15076"/>
                    <a:pt x="5944" y="15076"/>
                  </a:cubicBezTo>
                  <a:cubicBezTo>
                    <a:pt x="5943" y="14946"/>
                    <a:pt x="5943" y="14946"/>
                    <a:pt x="5943" y="14946"/>
                  </a:cubicBezTo>
                  <a:cubicBezTo>
                    <a:pt x="6002" y="14945"/>
                    <a:pt x="6002" y="14945"/>
                    <a:pt x="6002" y="14945"/>
                  </a:cubicBezTo>
                  <a:cubicBezTo>
                    <a:pt x="6001" y="14800"/>
                    <a:pt x="6001" y="14800"/>
                    <a:pt x="6001" y="14800"/>
                  </a:cubicBezTo>
                  <a:cubicBezTo>
                    <a:pt x="6001" y="14794"/>
                    <a:pt x="6001" y="14794"/>
                    <a:pt x="6001" y="14794"/>
                  </a:cubicBezTo>
                  <a:cubicBezTo>
                    <a:pt x="5930" y="14794"/>
                    <a:pt x="5930" y="14794"/>
                    <a:pt x="5930" y="14794"/>
                  </a:cubicBezTo>
                  <a:cubicBezTo>
                    <a:pt x="5931" y="14924"/>
                    <a:pt x="5931" y="14924"/>
                    <a:pt x="5931" y="14924"/>
                  </a:cubicBezTo>
                  <a:cubicBezTo>
                    <a:pt x="5872" y="14925"/>
                    <a:pt x="5872" y="14925"/>
                    <a:pt x="5872" y="14925"/>
                  </a:cubicBezTo>
                  <a:lnTo>
                    <a:pt x="5873" y="15076"/>
                  </a:lnTo>
                  <a:close/>
                  <a:moveTo>
                    <a:pt x="5988" y="14807"/>
                  </a:moveTo>
                  <a:cubicBezTo>
                    <a:pt x="5989" y="14932"/>
                    <a:pt x="5989" y="14932"/>
                    <a:pt x="5989" y="14932"/>
                  </a:cubicBezTo>
                  <a:cubicBezTo>
                    <a:pt x="5944" y="14933"/>
                    <a:pt x="5944" y="14933"/>
                    <a:pt x="5944" y="14933"/>
                  </a:cubicBezTo>
                  <a:cubicBezTo>
                    <a:pt x="5943" y="14807"/>
                    <a:pt x="5943" y="14807"/>
                    <a:pt x="5943" y="14807"/>
                  </a:cubicBezTo>
                  <a:lnTo>
                    <a:pt x="5988" y="14807"/>
                  </a:lnTo>
                  <a:close/>
                  <a:moveTo>
                    <a:pt x="5930" y="14938"/>
                  </a:moveTo>
                  <a:cubicBezTo>
                    <a:pt x="5931" y="15063"/>
                    <a:pt x="5931" y="15063"/>
                    <a:pt x="5931" y="15063"/>
                  </a:cubicBezTo>
                  <a:cubicBezTo>
                    <a:pt x="5886" y="15063"/>
                    <a:pt x="5886" y="15063"/>
                    <a:pt x="5886" y="15063"/>
                  </a:cubicBezTo>
                  <a:cubicBezTo>
                    <a:pt x="5885" y="14938"/>
                    <a:pt x="5885" y="14938"/>
                    <a:pt x="5885" y="14938"/>
                  </a:cubicBezTo>
                  <a:lnTo>
                    <a:pt x="5930" y="14938"/>
                  </a:lnTo>
                  <a:close/>
                  <a:moveTo>
                    <a:pt x="6723" y="14855"/>
                  </a:moveTo>
                  <a:cubicBezTo>
                    <a:pt x="6721" y="14710"/>
                    <a:pt x="6721" y="14710"/>
                    <a:pt x="6721" y="14710"/>
                  </a:cubicBezTo>
                  <a:cubicBezTo>
                    <a:pt x="6721" y="14704"/>
                    <a:pt x="6721" y="14704"/>
                    <a:pt x="6721" y="14704"/>
                  </a:cubicBezTo>
                  <a:cubicBezTo>
                    <a:pt x="6651" y="14704"/>
                    <a:pt x="6651" y="14704"/>
                    <a:pt x="6651" y="14704"/>
                  </a:cubicBezTo>
                  <a:cubicBezTo>
                    <a:pt x="6652" y="14856"/>
                    <a:pt x="6652" y="14856"/>
                    <a:pt x="6652" y="14856"/>
                  </a:cubicBezTo>
                  <a:lnTo>
                    <a:pt x="6723" y="14855"/>
                  </a:lnTo>
                  <a:close/>
                  <a:moveTo>
                    <a:pt x="6708" y="14717"/>
                  </a:moveTo>
                  <a:cubicBezTo>
                    <a:pt x="6709" y="14842"/>
                    <a:pt x="6709" y="14842"/>
                    <a:pt x="6709" y="14842"/>
                  </a:cubicBezTo>
                  <a:cubicBezTo>
                    <a:pt x="6665" y="14842"/>
                    <a:pt x="6665" y="14842"/>
                    <a:pt x="6665" y="14842"/>
                  </a:cubicBezTo>
                  <a:cubicBezTo>
                    <a:pt x="6664" y="14717"/>
                    <a:pt x="6664" y="14717"/>
                    <a:pt x="6664" y="14717"/>
                  </a:cubicBezTo>
                  <a:lnTo>
                    <a:pt x="6708" y="14717"/>
                  </a:lnTo>
                  <a:close/>
                  <a:moveTo>
                    <a:pt x="7406" y="13649"/>
                  </a:moveTo>
                  <a:cubicBezTo>
                    <a:pt x="7399" y="13649"/>
                    <a:pt x="7399" y="13649"/>
                    <a:pt x="7399" y="13649"/>
                  </a:cubicBezTo>
                  <a:cubicBezTo>
                    <a:pt x="7401" y="13720"/>
                    <a:pt x="7401" y="13720"/>
                    <a:pt x="7401" y="13720"/>
                  </a:cubicBezTo>
                  <a:cubicBezTo>
                    <a:pt x="7552" y="13717"/>
                    <a:pt x="7552" y="13717"/>
                    <a:pt x="7552" y="13717"/>
                  </a:cubicBezTo>
                  <a:cubicBezTo>
                    <a:pt x="7551" y="13646"/>
                    <a:pt x="7551" y="13646"/>
                    <a:pt x="7551" y="13646"/>
                  </a:cubicBezTo>
                  <a:lnTo>
                    <a:pt x="7406" y="13649"/>
                  </a:lnTo>
                  <a:close/>
                  <a:moveTo>
                    <a:pt x="7414" y="13706"/>
                  </a:moveTo>
                  <a:cubicBezTo>
                    <a:pt x="7413" y="13662"/>
                    <a:pt x="7413" y="13662"/>
                    <a:pt x="7413" y="13662"/>
                  </a:cubicBezTo>
                  <a:cubicBezTo>
                    <a:pt x="7538" y="13659"/>
                    <a:pt x="7538" y="13659"/>
                    <a:pt x="7538" y="13659"/>
                  </a:cubicBezTo>
                  <a:cubicBezTo>
                    <a:pt x="7539" y="13704"/>
                    <a:pt x="7539" y="13704"/>
                    <a:pt x="7539" y="13704"/>
                  </a:cubicBezTo>
                  <a:lnTo>
                    <a:pt x="7414" y="13706"/>
                  </a:lnTo>
                  <a:close/>
                  <a:moveTo>
                    <a:pt x="5416" y="11921"/>
                  </a:moveTo>
                  <a:cubicBezTo>
                    <a:pt x="5271" y="11911"/>
                    <a:pt x="5271" y="11911"/>
                    <a:pt x="5271" y="11911"/>
                  </a:cubicBezTo>
                  <a:cubicBezTo>
                    <a:pt x="5265" y="11911"/>
                    <a:pt x="5265" y="11911"/>
                    <a:pt x="5265" y="11911"/>
                  </a:cubicBezTo>
                  <a:cubicBezTo>
                    <a:pt x="5260" y="11981"/>
                    <a:pt x="5260" y="11981"/>
                    <a:pt x="5260" y="11981"/>
                  </a:cubicBezTo>
                  <a:cubicBezTo>
                    <a:pt x="5411" y="11991"/>
                    <a:pt x="5411" y="11991"/>
                    <a:pt x="5411" y="11991"/>
                  </a:cubicBezTo>
                  <a:lnTo>
                    <a:pt x="5416" y="11921"/>
                  </a:lnTo>
                  <a:close/>
                  <a:moveTo>
                    <a:pt x="5399" y="11977"/>
                  </a:moveTo>
                  <a:cubicBezTo>
                    <a:pt x="5274" y="11969"/>
                    <a:pt x="5274" y="11969"/>
                    <a:pt x="5274" y="11969"/>
                  </a:cubicBezTo>
                  <a:cubicBezTo>
                    <a:pt x="5277" y="11925"/>
                    <a:pt x="5277" y="11925"/>
                    <a:pt x="5277" y="11925"/>
                  </a:cubicBezTo>
                  <a:cubicBezTo>
                    <a:pt x="5402" y="11933"/>
                    <a:pt x="5402" y="11933"/>
                    <a:pt x="5402" y="11933"/>
                  </a:cubicBezTo>
                  <a:lnTo>
                    <a:pt x="5399" y="11977"/>
                  </a:lnTo>
                  <a:close/>
                  <a:moveTo>
                    <a:pt x="5184" y="11817"/>
                  </a:moveTo>
                  <a:cubicBezTo>
                    <a:pt x="5183" y="11823"/>
                    <a:pt x="5183" y="11823"/>
                    <a:pt x="5183" y="11823"/>
                  </a:cubicBezTo>
                  <a:cubicBezTo>
                    <a:pt x="5254" y="11828"/>
                    <a:pt x="5254" y="11828"/>
                    <a:pt x="5254" y="11828"/>
                  </a:cubicBezTo>
                  <a:cubicBezTo>
                    <a:pt x="5264" y="11677"/>
                    <a:pt x="5264" y="11677"/>
                    <a:pt x="5264" y="11677"/>
                  </a:cubicBezTo>
                  <a:cubicBezTo>
                    <a:pt x="5194" y="11672"/>
                    <a:pt x="5194" y="11672"/>
                    <a:pt x="5194" y="11672"/>
                  </a:cubicBezTo>
                  <a:lnTo>
                    <a:pt x="5184" y="11817"/>
                  </a:lnTo>
                  <a:close/>
                  <a:moveTo>
                    <a:pt x="5206" y="11686"/>
                  </a:moveTo>
                  <a:cubicBezTo>
                    <a:pt x="5250" y="11689"/>
                    <a:pt x="5250" y="11689"/>
                    <a:pt x="5250" y="11689"/>
                  </a:cubicBezTo>
                  <a:cubicBezTo>
                    <a:pt x="5242" y="11814"/>
                    <a:pt x="5242" y="11814"/>
                    <a:pt x="5242" y="11814"/>
                  </a:cubicBezTo>
                  <a:cubicBezTo>
                    <a:pt x="5197" y="11811"/>
                    <a:pt x="5197" y="11811"/>
                    <a:pt x="5197" y="11811"/>
                  </a:cubicBezTo>
                  <a:lnTo>
                    <a:pt x="5206" y="11686"/>
                  </a:lnTo>
                  <a:close/>
                  <a:moveTo>
                    <a:pt x="5440" y="11687"/>
                  </a:moveTo>
                  <a:cubicBezTo>
                    <a:pt x="5370" y="11682"/>
                    <a:pt x="5370" y="11682"/>
                    <a:pt x="5370" y="11682"/>
                  </a:cubicBezTo>
                  <a:cubicBezTo>
                    <a:pt x="5360" y="11827"/>
                    <a:pt x="5360" y="11827"/>
                    <a:pt x="5360" y="11827"/>
                  </a:cubicBezTo>
                  <a:cubicBezTo>
                    <a:pt x="5359" y="11833"/>
                    <a:pt x="5359" y="11833"/>
                    <a:pt x="5359" y="11833"/>
                  </a:cubicBezTo>
                  <a:cubicBezTo>
                    <a:pt x="5430" y="11838"/>
                    <a:pt x="5430" y="11838"/>
                    <a:pt x="5430" y="11838"/>
                  </a:cubicBezTo>
                  <a:lnTo>
                    <a:pt x="5440" y="11687"/>
                  </a:lnTo>
                  <a:close/>
                  <a:moveTo>
                    <a:pt x="5418" y="11824"/>
                  </a:moveTo>
                  <a:cubicBezTo>
                    <a:pt x="5373" y="11821"/>
                    <a:pt x="5373" y="11821"/>
                    <a:pt x="5373" y="11821"/>
                  </a:cubicBezTo>
                  <a:cubicBezTo>
                    <a:pt x="5382" y="11696"/>
                    <a:pt x="5382" y="11696"/>
                    <a:pt x="5382" y="11696"/>
                  </a:cubicBezTo>
                  <a:cubicBezTo>
                    <a:pt x="5427" y="11699"/>
                    <a:pt x="5427" y="11699"/>
                    <a:pt x="5427" y="11699"/>
                  </a:cubicBezTo>
                  <a:lnTo>
                    <a:pt x="5418" y="11824"/>
                  </a:lnTo>
                  <a:close/>
                  <a:moveTo>
                    <a:pt x="5756" y="11847"/>
                  </a:moveTo>
                  <a:cubicBezTo>
                    <a:pt x="5755" y="11854"/>
                    <a:pt x="5755" y="11854"/>
                    <a:pt x="5755" y="11854"/>
                  </a:cubicBezTo>
                  <a:cubicBezTo>
                    <a:pt x="5826" y="11859"/>
                    <a:pt x="5826" y="11859"/>
                    <a:pt x="5826" y="11859"/>
                  </a:cubicBezTo>
                  <a:cubicBezTo>
                    <a:pt x="5836" y="11708"/>
                    <a:pt x="5836" y="11708"/>
                    <a:pt x="5836" y="11708"/>
                  </a:cubicBezTo>
                  <a:cubicBezTo>
                    <a:pt x="5766" y="11703"/>
                    <a:pt x="5766" y="11703"/>
                    <a:pt x="5766" y="11703"/>
                  </a:cubicBezTo>
                  <a:lnTo>
                    <a:pt x="5756" y="11847"/>
                  </a:lnTo>
                  <a:close/>
                  <a:moveTo>
                    <a:pt x="5778" y="11717"/>
                  </a:moveTo>
                  <a:cubicBezTo>
                    <a:pt x="5822" y="11720"/>
                    <a:pt x="5822" y="11720"/>
                    <a:pt x="5822" y="11720"/>
                  </a:cubicBezTo>
                  <a:cubicBezTo>
                    <a:pt x="5813" y="11845"/>
                    <a:pt x="5813" y="11845"/>
                    <a:pt x="5813" y="11845"/>
                  </a:cubicBezTo>
                  <a:cubicBezTo>
                    <a:pt x="5769" y="11842"/>
                    <a:pt x="5769" y="11842"/>
                    <a:pt x="5769" y="11842"/>
                  </a:cubicBezTo>
                  <a:lnTo>
                    <a:pt x="5778" y="11717"/>
                  </a:lnTo>
                  <a:close/>
                  <a:moveTo>
                    <a:pt x="7585" y="13647"/>
                  </a:moveTo>
                  <a:cubicBezTo>
                    <a:pt x="7579" y="13647"/>
                    <a:pt x="7579" y="13647"/>
                    <a:pt x="7579" y="13647"/>
                  </a:cubicBezTo>
                  <a:cubicBezTo>
                    <a:pt x="7580" y="13718"/>
                    <a:pt x="7580" y="13718"/>
                    <a:pt x="7580" y="13718"/>
                  </a:cubicBezTo>
                  <a:cubicBezTo>
                    <a:pt x="7732" y="13715"/>
                    <a:pt x="7732" y="13715"/>
                    <a:pt x="7732" y="13715"/>
                  </a:cubicBezTo>
                  <a:cubicBezTo>
                    <a:pt x="7730" y="13644"/>
                    <a:pt x="7730" y="13644"/>
                    <a:pt x="7730" y="13644"/>
                  </a:cubicBezTo>
                  <a:lnTo>
                    <a:pt x="7585" y="13647"/>
                  </a:lnTo>
                  <a:close/>
                  <a:moveTo>
                    <a:pt x="7593" y="13704"/>
                  </a:moveTo>
                  <a:cubicBezTo>
                    <a:pt x="7592" y="13660"/>
                    <a:pt x="7592" y="13660"/>
                    <a:pt x="7592" y="13660"/>
                  </a:cubicBezTo>
                  <a:cubicBezTo>
                    <a:pt x="7717" y="13657"/>
                    <a:pt x="7717" y="13657"/>
                    <a:pt x="7717" y="13657"/>
                  </a:cubicBezTo>
                  <a:cubicBezTo>
                    <a:pt x="7718" y="13702"/>
                    <a:pt x="7718" y="13702"/>
                    <a:pt x="7718" y="13702"/>
                  </a:cubicBezTo>
                  <a:lnTo>
                    <a:pt x="7593" y="13704"/>
                  </a:lnTo>
                  <a:close/>
                  <a:moveTo>
                    <a:pt x="7772" y="13640"/>
                  </a:moveTo>
                  <a:cubicBezTo>
                    <a:pt x="7765" y="13640"/>
                    <a:pt x="7765" y="13640"/>
                    <a:pt x="7765" y="13640"/>
                  </a:cubicBezTo>
                  <a:cubicBezTo>
                    <a:pt x="7767" y="13711"/>
                    <a:pt x="7767" y="13711"/>
                    <a:pt x="7767" y="13711"/>
                  </a:cubicBezTo>
                  <a:cubicBezTo>
                    <a:pt x="7918" y="13707"/>
                    <a:pt x="7918" y="13707"/>
                    <a:pt x="7918" y="13707"/>
                  </a:cubicBezTo>
                  <a:cubicBezTo>
                    <a:pt x="7917" y="13637"/>
                    <a:pt x="7917" y="13637"/>
                    <a:pt x="7917" y="13637"/>
                  </a:cubicBezTo>
                  <a:lnTo>
                    <a:pt x="7772" y="13640"/>
                  </a:lnTo>
                  <a:close/>
                  <a:moveTo>
                    <a:pt x="7780" y="13697"/>
                  </a:moveTo>
                  <a:cubicBezTo>
                    <a:pt x="7779" y="13653"/>
                    <a:pt x="7779" y="13653"/>
                    <a:pt x="7779" y="13653"/>
                  </a:cubicBezTo>
                  <a:cubicBezTo>
                    <a:pt x="7904" y="13650"/>
                    <a:pt x="7904" y="13650"/>
                    <a:pt x="7904" y="13650"/>
                  </a:cubicBezTo>
                  <a:cubicBezTo>
                    <a:pt x="7905" y="13695"/>
                    <a:pt x="7905" y="13695"/>
                    <a:pt x="7905" y="13695"/>
                  </a:cubicBezTo>
                  <a:lnTo>
                    <a:pt x="7780" y="13697"/>
                  </a:lnTo>
                  <a:close/>
                  <a:moveTo>
                    <a:pt x="8094" y="13698"/>
                  </a:moveTo>
                  <a:cubicBezTo>
                    <a:pt x="8093" y="13628"/>
                    <a:pt x="8093" y="13628"/>
                    <a:pt x="8093" y="13628"/>
                  </a:cubicBezTo>
                  <a:cubicBezTo>
                    <a:pt x="7948" y="13631"/>
                    <a:pt x="7948" y="13631"/>
                    <a:pt x="7948" y="13631"/>
                  </a:cubicBezTo>
                  <a:cubicBezTo>
                    <a:pt x="7941" y="13631"/>
                    <a:pt x="7941" y="13631"/>
                    <a:pt x="7941" y="13631"/>
                  </a:cubicBezTo>
                  <a:cubicBezTo>
                    <a:pt x="7943" y="13701"/>
                    <a:pt x="7943" y="13701"/>
                    <a:pt x="7943" y="13701"/>
                  </a:cubicBezTo>
                  <a:lnTo>
                    <a:pt x="8094" y="13698"/>
                  </a:lnTo>
                  <a:close/>
                  <a:moveTo>
                    <a:pt x="8080" y="13641"/>
                  </a:moveTo>
                  <a:cubicBezTo>
                    <a:pt x="8081" y="13685"/>
                    <a:pt x="8081" y="13685"/>
                    <a:pt x="8081" y="13685"/>
                  </a:cubicBezTo>
                  <a:cubicBezTo>
                    <a:pt x="7956" y="13688"/>
                    <a:pt x="7956" y="13688"/>
                    <a:pt x="7956" y="13688"/>
                  </a:cubicBezTo>
                  <a:cubicBezTo>
                    <a:pt x="7955" y="13644"/>
                    <a:pt x="7955" y="13644"/>
                    <a:pt x="7955" y="13644"/>
                  </a:cubicBezTo>
                  <a:lnTo>
                    <a:pt x="8080" y="13641"/>
                  </a:lnTo>
                  <a:close/>
                  <a:moveTo>
                    <a:pt x="8291" y="13612"/>
                  </a:moveTo>
                  <a:cubicBezTo>
                    <a:pt x="8285" y="13612"/>
                    <a:pt x="8285" y="13612"/>
                    <a:pt x="8285" y="13612"/>
                  </a:cubicBezTo>
                  <a:cubicBezTo>
                    <a:pt x="8286" y="13683"/>
                    <a:pt x="8286" y="13683"/>
                    <a:pt x="8286" y="13683"/>
                  </a:cubicBezTo>
                  <a:cubicBezTo>
                    <a:pt x="8438" y="13680"/>
                    <a:pt x="8438" y="13680"/>
                    <a:pt x="8438" y="13680"/>
                  </a:cubicBezTo>
                  <a:cubicBezTo>
                    <a:pt x="8436" y="13609"/>
                    <a:pt x="8436" y="13609"/>
                    <a:pt x="8436" y="13609"/>
                  </a:cubicBezTo>
                  <a:lnTo>
                    <a:pt x="8291" y="13612"/>
                  </a:lnTo>
                  <a:close/>
                  <a:moveTo>
                    <a:pt x="8299" y="13670"/>
                  </a:moveTo>
                  <a:cubicBezTo>
                    <a:pt x="8298" y="13625"/>
                    <a:pt x="8298" y="13625"/>
                    <a:pt x="8298" y="13625"/>
                  </a:cubicBezTo>
                  <a:cubicBezTo>
                    <a:pt x="8423" y="13623"/>
                    <a:pt x="8423" y="13623"/>
                    <a:pt x="8423" y="13623"/>
                  </a:cubicBezTo>
                  <a:cubicBezTo>
                    <a:pt x="8424" y="13667"/>
                    <a:pt x="8424" y="13667"/>
                    <a:pt x="8424" y="13667"/>
                  </a:cubicBezTo>
                  <a:lnTo>
                    <a:pt x="8299" y="13670"/>
                  </a:lnTo>
                  <a:close/>
                  <a:moveTo>
                    <a:pt x="6560" y="15577"/>
                  </a:moveTo>
                  <a:cubicBezTo>
                    <a:pt x="6560" y="15506"/>
                    <a:pt x="6560" y="15506"/>
                    <a:pt x="6560" y="15506"/>
                  </a:cubicBezTo>
                  <a:cubicBezTo>
                    <a:pt x="6415" y="15506"/>
                    <a:pt x="6415" y="15506"/>
                    <a:pt x="6415" y="15506"/>
                  </a:cubicBezTo>
                  <a:cubicBezTo>
                    <a:pt x="6408" y="15506"/>
                    <a:pt x="6408" y="15506"/>
                    <a:pt x="6408" y="15506"/>
                  </a:cubicBezTo>
                  <a:cubicBezTo>
                    <a:pt x="6408" y="15577"/>
                    <a:pt x="6408" y="15577"/>
                    <a:pt x="6408" y="15577"/>
                  </a:cubicBezTo>
                  <a:lnTo>
                    <a:pt x="6560" y="15577"/>
                  </a:lnTo>
                  <a:close/>
                  <a:moveTo>
                    <a:pt x="6546" y="15519"/>
                  </a:moveTo>
                  <a:cubicBezTo>
                    <a:pt x="6547" y="15564"/>
                    <a:pt x="6547" y="15564"/>
                    <a:pt x="6547" y="15564"/>
                  </a:cubicBezTo>
                  <a:cubicBezTo>
                    <a:pt x="6421" y="15564"/>
                    <a:pt x="6421" y="15564"/>
                    <a:pt x="6421" y="15564"/>
                  </a:cubicBezTo>
                  <a:cubicBezTo>
                    <a:pt x="6421" y="15519"/>
                    <a:pt x="6421" y="15519"/>
                    <a:pt x="6421" y="15519"/>
                  </a:cubicBezTo>
                  <a:lnTo>
                    <a:pt x="6546" y="15519"/>
                  </a:lnTo>
                  <a:close/>
                  <a:moveTo>
                    <a:pt x="6328" y="16221"/>
                  </a:moveTo>
                  <a:cubicBezTo>
                    <a:pt x="6321" y="16221"/>
                    <a:pt x="6321" y="16221"/>
                    <a:pt x="6321" y="16221"/>
                  </a:cubicBezTo>
                  <a:cubicBezTo>
                    <a:pt x="6322" y="16297"/>
                    <a:pt x="6322" y="16297"/>
                    <a:pt x="6322" y="16297"/>
                  </a:cubicBezTo>
                  <a:cubicBezTo>
                    <a:pt x="6473" y="16295"/>
                    <a:pt x="6473" y="16295"/>
                    <a:pt x="6473" y="16295"/>
                  </a:cubicBezTo>
                  <a:cubicBezTo>
                    <a:pt x="6473" y="16220"/>
                    <a:pt x="6473" y="16220"/>
                    <a:pt x="6473" y="16220"/>
                  </a:cubicBezTo>
                  <a:lnTo>
                    <a:pt x="6328" y="16221"/>
                  </a:lnTo>
                  <a:close/>
                  <a:moveTo>
                    <a:pt x="6335" y="16283"/>
                  </a:moveTo>
                  <a:cubicBezTo>
                    <a:pt x="6335" y="16234"/>
                    <a:pt x="6335" y="16234"/>
                    <a:pt x="6335" y="16234"/>
                  </a:cubicBezTo>
                  <a:cubicBezTo>
                    <a:pt x="6460" y="16233"/>
                    <a:pt x="6460" y="16233"/>
                    <a:pt x="6460" y="16233"/>
                  </a:cubicBezTo>
                  <a:cubicBezTo>
                    <a:pt x="6460" y="16283"/>
                    <a:pt x="6460" y="16283"/>
                    <a:pt x="6460" y="16283"/>
                  </a:cubicBezTo>
                  <a:lnTo>
                    <a:pt x="6335" y="16283"/>
                  </a:lnTo>
                  <a:close/>
                  <a:moveTo>
                    <a:pt x="6323" y="16439"/>
                  </a:moveTo>
                  <a:cubicBezTo>
                    <a:pt x="6316" y="16439"/>
                    <a:pt x="6316" y="16439"/>
                    <a:pt x="6316" y="16439"/>
                  </a:cubicBezTo>
                  <a:cubicBezTo>
                    <a:pt x="6317" y="16515"/>
                    <a:pt x="6317" y="16515"/>
                    <a:pt x="6317" y="16515"/>
                  </a:cubicBezTo>
                  <a:cubicBezTo>
                    <a:pt x="6468" y="16514"/>
                    <a:pt x="6468" y="16514"/>
                    <a:pt x="6468" y="16514"/>
                  </a:cubicBezTo>
                  <a:cubicBezTo>
                    <a:pt x="6468" y="16438"/>
                    <a:pt x="6468" y="16438"/>
                    <a:pt x="6468" y="16438"/>
                  </a:cubicBezTo>
                  <a:lnTo>
                    <a:pt x="6323" y="16439"/>
                  </a:lnTo>
                  <a:close/>
                  <a:moveTo>
                    <a:pt x="6330" y="16502"/>
                  </a:moveTo>
                  <a:cubicBezTo>
                    <a:pt x="6329" y="16452"/>
                    <a:pt x="6329" y="16452"/>
                    <a:pt x="6329" y="16452"/>
                  </a:cubicBezTo>
                  <a:cubicBezTo>
                    <a:pt x="6455" y="16451"/>
                    <a:pt x="6455" y="16451"/>
                    <a:pt x="6455" y="16451"/>
                  </a:cubicBezTo>
                  <a:cubicBezTo>
                    <a:pt x="6455" y="16501"/>
                    <a:pt x="6455" y="16501"/>
                    <a:pt x="6455" y="16501"/>
                  </a:cubicBezTo>
                  <a:lnTo>
                    <a:pt x="6330" y="16502"/>
                  </a:lnTo>
                  <a:close/>
                  <a:moveTo>
                    <a:pt x="6185" y="16720"/>
                  </a:moveTo>
                  <a:cubicBezTo>
                    <a:pt x="6140" y="16780"/>
                    <a:pt x="6140" y="16780"/>
                    <a:pt x="6140" y="16780"/>
                  </a:cubicBezTo>
                  <a:cubicBezTo>
                    <a:pt x="6261" y="16871"/>
                    <a:pt x="6261" y="16871"/>
                    <a:pt x="6261" y="16871"/>
                  </a:cubicBezTo>
                  <a:cubicBezTo>
                    <a:pt x="6306" y="16811"/>
                    <a:pt x="6306" y="16811"/>
                    <a:pt x="6306" y="16811"/>
                  </a:cubicBezTo>
                  <a:cubicBezTo>
                    <a:pt x="6190" y="16724"/>
                    <a:pt x="6190" y="16724"/>
                    <a:pt x="6190" y="16724"/>
                  </a:cubicBezTo>
                  <a:lnTo>
                    <a:pt x="6185" y="16720"/>
                  </a:lnTo>
                  <a:close/>
                  <a:moveTo>
                    <a:pt x="6258" y="16853"/>
                  </a:moveTo>
                  <a:cubicBezTo>
                    <a:pt x="6158" y="16778"/>
                    <a:pt x="6158" y="16778"/>
                    <a:pt x="6158" y="16778"/>
                  </a:cubicBezTo>
                  <a:cubicBezTo>
                    <a:pt x="6188" y="16738"/>
                    <a:pt x="6188" y="16738"/>
                    <a:pt x="6188" y="16738"/>
                  </a:cubicBezTo>
                  <a:cubicBezTo>
                    <a:pt x="6288" y="16813"/>
                    <a:pt x="6288" y="16813"/>
                    <a:pt x="6288" y="16813"/>
                  </a:cubicBezTo>
                  <a:lnTo>
                    <a:pt x="6258" y="16853"/>
                  </a:lnTo>
                  <a:close/>
                  <a:moveTo>
                    <a:pt x="15" y="8378"/>
                  </a:moveTo>
                  <a:cubicBezTo>
                    <a:pt x="4" y="8363"/>
                    <a:pt x="4" y="8363"/>
                    <a:pt x="4" y="8363"/>
                  </a:cubicBezTo>
                  <a:cubicBezTo>
                    <a:pt x="4" y="8340"/>
                    <a:pt x="4" y="8340"/>
                    <a:pt x="4" y="8340"/>
                  </a:cubicBezTo>
                  <a:cubicBezTo>
                    <a:pt x="18" y="8360"/>
                    <a:pt x="18" y="8360"/>
                    <a:pt x="18" y="8360"/>
                  </a:cubicBezTo>
                  <a:cubicBezTo>
                    <a:pt x="59" y="8332"/>
                    <a:pt x="59" y="8332"/>
                    <a:pt x="59" y="8332"/>
                  </a:cubicBezTo>
                  <a:cubicBezTo>
                    <a:pt x="4" y="8253"/>
                    <a:pt x="4" y="8253"/>
                    <a:pt x="4" y="8253"/>
                  </a:cubicBezTo>
                  <a:cubicBezTo>
                    <a:pt x="4" y="8230"/>
                    <a:pt x="4" y="8230"/>
                    <a:pt x="4" y="8230"/>
                  </a:cubicBezTo>
                  <a:cubicBezTo>
                    <a:pt x="77" y="8335"/>
                    <a:pt x="77" y="8335"/>
                    <a:pt x="77" y="8335"/>
                  </a:cubicBezTo>
                  <a:lnTo>
                    <a:pt x="15" y="8378"/>
                  </a:lnTo>
                  <a:close/>
                  <a:moveTo>
                    <a:pt x="1161" y="16892"/>
                  </a:moveTo>
                  <a:cubicBezTo>
                    <a:pt x="1144" y="16756"/>
                    <a:pt x="1144" y="16756"/>
                    <a:pt x="1144" y="16756"/>
                  </a:cubicBezTo>
                  <a:cubicBezTo>
                    <a:pt x="1013" y="16772"/>
                    <a:pt x="1013" y="16772"/>
                    <a:pt x="1013" y="16772"/>
                  </a:cubicBezTo>
                  <a:cubicBezTo>
                    <a:pt x="1007" y="16773"/>
                    <a:pt x="1007" y="16773"/>
                    <a:pt x="1007" y="16773"/>
                  </a:cubicBezTo>
                  <a:cubicBezTo>
                    <a:pt x="1024" y="16910"/>
                    <a:pt x="1024" y="16910"/>
                    <a:pt x="1024" y="16910"/>
                  </a:cubicBezTo>
                  <a:lnTo>
                    <a:pt x="1161" y="16892"/>
                  </a:lnTo>
                  <a:close/>
                  <a:moveTo>
                    <a:pt x="1132" y="16770"/>
                  </a:moveTo>
                  <a:cubicBezTo>
                    <a:pt x="1147" y="16881"/>
                    <a:pt x="1147" y="16881"/>
                    <a:pt x="1147" y="16881"/>
                  </a:cubicBezTo>
                  <a:cubicBezTo>
                    <a:pt x="1036" y="16895"/>
                    <a:pt x="1036" y="16895"/>
                    <a:pt x="1036" y="16895"/>
                  </a:cubicBezTo>
                  <a:cubicBezTo>
                    <a:pt x="1022" y="16784"/>
                    <a:pt x="1022" y="16784"/>
                    <a:pt x="1022" y="16784"/>
                  </a:cubicBezTo>
                  <a:lnTo>
                    <a:pt x="1132" y="16770"/>
                  </a:lnTo>
                  <a:close/>
                  <a:moveTo>
                    <a:pt x="1040" y="16508"/>
                  </a:moveTo>
                  <a:cubicBezTo>
                    <a:pt x="1023" y="16645"/>
                    <a:pt x="1023" y="16645"/>
                    <a:pt x="1023" y="16645"/>
                  </a:cubicBezTo>
                  <a:cubicBezTo>
                    <a:pt x="1160" y="16662"/>
                    <a:pt x="1160" y="16662"/>
                    <a:pt x="1160" y="16662"/>
                  </a:cubicBezTo>
                  <a:cubicBezTo>
                    <a:pt x="1177" y="16525"/>
                    <a:pt x="1177" y="16525"/>
                    <a:pt x="1177" y="16525"/>
                  </a:cubicBezTo>
                  <a:cubicBezTo>
                    <a:pt x="1047" y="16509"/>
                    <a:pt x="1047" y="16509"/>
                    <a:pt x="1047" y="16509"/>
                  </a:cubicBezTo>
                  <a:lnTo>
                    <a:pt x="1040" y="16508"/>
                  </a:lnTo>
                  <a:close/>
                  <a:moveTo>
                    <a:pt x="1162" y="16537"/>
                  </a:moveTo>
                  <a:cubicBezTo>
                    <a:pt x="1149" y="16647"/>
                    <a:pt x="1149" y="16647"/>
                    <a:pt x="1149" y="16647"/>
                  </a:cubicBezTo>
                  <a:cubicBezTo>
                    <a:pt x="1038" y="16634"/>
                    <a:pt x="1038" y="16634"/>
                    <a:pt x="1038" y="16634"/>
                  </a:cubicBezTo>
                  <a:cubicBezTo>
                    <a:pt x="1052" y="16523"/>
                    <a:pt x="1052" y="16523"/>
                    <a:pt x="1052" y="16523"/>
                  </a:cubicBezTo>
                  <a:lnTo>
                    <a:pt x="1162" y="16537"/>
                  </a:lnTo>
                  <a:close/>
                  <a:moveTo>
                    <a:pt x="1454" y="16479"/>
                  </a:moveTo>
                  <a:cubicBezTo>
                    <a:pt x="1356" y="16392"/>
                    <a:pt x="1356" y="16392"/>
                    <a:pt x="1356" y="16392"/>
                  </a:cubicBezTo>
                  <a:cubicBezTo>
                    <a:pt x="1351" y="16387"/>
                    <a:pt x="1351" y="16387"/>
                    <a:pt x="1351" y="16387"/>
                  </a:cubicBezTo>
                  <a:cubicBezTo>
                    <a:pt x="1260" y="16490"/>
                    <a:pt x="1260" y="16490"/>
                    <a:pt x="1260" y="16490"/>
                  </a:cubicBezTo>
                  <a:cubicBezTo>
                    <a:pt x="1363" y="16582"/>
                    <a:pt x="1363" y="16582"/>
                    <a:pt x="1363" y="16582"/>
                  </a:cubicBezTo>
                  <a:lnTo>
                    <a:pt x="1454" y="16479"/>
                  </a:lnTo>
                  <a:close/>
                  <a:moveTo>
                    <a:pt x="1278" y="16489"/>
                  </a:moveTo>
                  <a:cubicBezTo>
                    <a:pt x="1352" y="16406"/>
                    <a:pt x="1352" y="16406"/>
                    <a:pt x="1352" y="16406"/>
                  </a:cubicBezTo>
                  <a:cubicBezTo>
                    <a:pt x="1436" y="16480"/>
                    <a:pt x="1436" y="16480"/>
                    <a:pt x="1436" y="16480"/>
                  </a:cubicBezTo>
                  <a:cubicBezTo>
                    <a:pt x="1362" y="16563"/>
                    <a:pt x="1362" y="16563"/>
                    <a:pt x="1362" y="16563"/>
                  </a:cubicBezTo>
                  <a:lnTo>
                    <a:pt x="1278" y="16489"/>
                  </a:lnTo>
                  <a:close/>
                  <a:moveTo>
                    <a:pt x="1586" y="17052"/>
                  </a:moveTo>
                  <a:cubicBezTo>
                    <a:pt x="1472" y="16986"/>
                    <a:pt x="1472" y="16986"/>
                    <a:pt x="1472" y="16986"/>
                  </a:cubicBezTo>
                  <a:cubicBezTo>
                    <a:pt x="1467" y="16983"/>
                    <a:pt x="1467" y="16983"/>
                    <a:pt x="1467" y="16983"/>
                  </a:cubicBezTo>
                  <a:cubicBezTo>
                    <a:pt x="1397" y="17102"/>
                    <a:pt x="1397" y="17102"/>
                    <a:pt x="1397" y="17102"/>
                  </a:cubicBezTo>
                  <a:cubicBezTo>
                    <a:pt x="1516" y="17171"/>
                    <a:pt x="1516" y="17171"/>
                    <a:pt x="1516" y="17171"/>
                  </a:cubicBezTo>
                  <a:lnTo>
                    <a:pt x="1586" y="17052"/>
                  </a:lnTo>
                  <a:close/>
                  <a:moveTo>
                    <a:pt x="1415" y="17097"/>
                  </a:moveTo>
                  <a:cubicBezTo>
                    <a:pt x="1471" y="17001"/>
                    <a:pt x="1471" y="17001"/>
                    <a:pt x="1471" y="17001"/>
                  </a:cubicBezTo>
                  <a:cubicBezTo>
                    <a:pt x="1568" y="17057"/>
                    <a:pt x="1568" y="17057"/>
                    <a:pt x="1568" y="17057"/>
                  </a:cubicBezTo>
                  <a:cubicBezTo>
                    <a:pt x="1512" y="17153"/>
                    <a:pt x="1512" y="17153"/>
                    <a:pt x="1512" y="17153"/>
                  </a:cubicBezTo>
                  <a:lnTo>
                    <a:pt x="1415" y="17097"/>
                  </a:lnTo>
                  <a:close/>
                  <a:moveTo>
                    <a:pt x="1668" y="17123"/>
                  </a:moveTo>
                  <a:cubicBezTo>
                    <a:pt x="1598" y="17242"/>
                    <a:pt x="1598" y="17242"/>
                    <a:pt x="1598" y="17242"/>
                  </a:cubicBezTo>
                  <a:cubicBezTo>
                    <a:pt x="1717" y="17311"/>
                    <a:pt x="1717" y="17311"/>
                    <a:pt x="1717" y="17311"/>
                  </a:cubicBezTo>
                  <a:cubicBezTo>
                    <a:pt x="1787" y="17192"/>
                    <a:pt x="1787" y="17192"/>
                    <a:pt x="1787" y="17192"/>
                  </a:cubicBezTo>
                  <a:cubicBezTo>
                    <a:pt x="1674" y="17126"/>
                    <a:pt x="1674" y="17126"/>
                    <a:pt x="1674" y="17126"/>
                  </a:cubicBezTo>
                  <a:lnTo>
                    <a:pt x="1668" y="17123"/>
                  </a:lnTo>
                  <a:close/>
                  <a:moveTo>
                    <a:pt x="1713" y="17293"/>
                  </a:moveTo>
                  <a:cubicBezTo>
                    <a:pt x="1616" y="17237"/>
                    <a:pt x="1616" y="17237"/>
                    <a:pt x="1616" y="17237"/>
                  </a:cubicBezTo>
                  <a:cubicBezTo>
                    <a:pt x="1673" y="17141"/>
                    <a:pt x="1673" y="17141"/>
                    <a:pt x="1673" y="17141"/>
                  </a:cubicBezTo>
                  <a:cubicBezTo>
                    <a:pt x="1769" y="17197"/>
                    <a:pt x="1769" y="17197"/>
                    <a:pt x="1769" y="17197"/>
                  </a:cubicBezTo>
                  <a:lnTo>
                    <a:pt x="1713" y="17293"/>
                  </a:lnTo>
                  <a:close/>
                  <a:moveTo>
                    <a:pt x="525" y="13453"/>
                  </a:moveTo>
                  <a:cubicBezTo>
                    <a:pt x="393" y="13451"/>
                    <a:pt x="393" y="13451"/>
                    <a:pt x="393" y="13451"/>
                  </a:cubicBezTo>
                  <a:cubicBezTo>
                    <a:pt x="387" y="13451"/>
                    <a:pt x="387" y="13451"/>
                    <a:pt x="387" y="13451"/>
                  </a:cubicBezTo>
                  <a:cubicBezTo>
                    <a:pt x="384" y="13589"/>
                    <a:pt x="384" y="13589"/>
                    <a:pt x="384" y="13589"/>
                  </a:cubicBezTo>
                  <a:cubicBezTo>
                    <a:pt x="522" y="13591"/>
                    <a:pt x="522" y="13591"/>
                    <a:pt x="522" y="13591"/>
                  </a:cubicBezTo>
                  <a:lnTo>
                    <a:pt x="525" y="13453"/>
                  </a:lnTo>
                  <a:close/>
                  <a:moveTo>
                    <a:pt x="509" y="13578"/>
                  </a:moveTo>
                  <a:cubicBezTo>
                    <a:pt x="398" y="13576"/>
                    <a:pt x="398" y="13576"/>
                    <a:pt x="398" y="13576"/>
                  </a:cubicBezTo>
                  <a:cubicBezTo>
                    <a:pt x="400" y="13464"/>
                    <a:pt x="400" y="13464"/>
                    <a:pt x="400" y="13464"/>
                  </a:cubicBezTo>
                  <a:cubicBezTo>
                    <a:pt x="511" y="13466"/>
                    <a:pt x="511" y="13466"/>
                    <a:pt x="511" y="13466"/>
                  </a:cubicBezTo>
                  <a:lnTo>
                    <a:pt x="509" y="13578"/>
                  </a:lnTo>
                  <a:close/>
                  <a:moveTo>
                    <a:pt x="443" y="12885"/>
                  </a:moveTo>
                  <a:cubicBezTo>
                    <a:pt x="441" y="13023"/>
                    <a:pt x="441" y="13023"/>
                    <a:pt x="441" y="13023"/>
                  </a:cubicBezTo>
                  <a:cubicBezTo>
                    <a:pt x="579" y="13025"/>
                    <a:pt x="579" y="13025"/>
                    <a:pt x="579" y="13025"/>
                  </a:cubicBezTo>
                  <a:cubicBezTo>
                    <a:pt x="581" y="12888"/>
                    <a:pt x="581" y="12888"/>
                    <a:pt x="581" y="12888"/>
                  </a:cubicBezTo>
                  <a:cubicBezTo>
                    <a:pt x="450" y="12885"/>
                    <a:pt x="450" y="12885"/>
                    <a:pt x="450" y="12885"/>
                  </a:cubicBezTo>
                  <a:lnTo>
                    <a:pt x="443" y="12885"/>
                  </a:lnTo>
                  <a:close/>
                  <a:moveTo>
                    <a:pt x="456" y="12898"/>
                  </a:moveTo>
                  <a:cubicBezTo>
                    <a:pt x="568" y="12900"/>
                    <a:pt x="568" y="12900"/>
                    <a:pt x="568" y="12900"/>
                  </a:cubicBezTo>
                  <a:cubicBezTo>
                    <a:pt x="566" y="13012"/>
                    <a:pt x="566" y="13012"/>
                    <a:pt x="566" y="13012"/>
                  </a:cubicBezTo>
                  <a:cubicBezTo>
                    <a:pt x="454" y="13010"/>
                    <a:pt x="454" y="13010"/>
                    <a:pt x="454" y="13010"/>
                  </a:cubicBezTo>
                  <a:lnTo>
                    <a:pt x="456" y="12898"/>
                  </a:lnTo>
                  <a:close/>
                  <a:moveTo>
                    <a:pt x="494" y="13165"/>
                  </a:moveTo>
                  <a:cubicBezTo>
                    <a:pt x="366" y="13137"/>
                    <a:pt x="366" y="13137"/>
                    <a:pt x="366" y="13137"/>
                  </a:cubicBezTo>
                  <a:cubicBezTo>
                    <a:pt x="360" y="13136"/>
                    <a:pt x="360" y="13136"/>
                    <a:pt x="360" y="13136"/>
                  </a:cubicBezTo>
                  <a:cubicBezTo>
                    <a:pt x="330" y="13270"/>
                    <a:pt x="330" y="13270"/>
                    <a:pt x="330" y="13270"/>
                  </a:cubicBezTo>
                  <a:cubicBezTo>
                    <a:pt x="465" y="13300"/>
                    <a:pt x="465" y="13300"/>
                    <a:pt x="465" y="13300"/>
                  </a:cubicBezTo>
                  <a:lnTo>
                    <a:pt x="494" y="13165"/>
                  </a:lnTo>
                  <a:close/>
                  <a:moveTo>
                    <a:pt x="346" y="13260"/>
                  </a:moveTo>
                  <a:cubicBezTo>
                    <a:pt x="370" y="13151"/>
                    <a:pt x="370" y="13151"/>
                    <a:pt x="370" y="13151"/>
                  </a:cubicBezTo>
                  <a:cubicBezTo>
                    <a:pt x="479" y="13175"/>
                    <a:pt x="479" y="13175"/>
                    <a:pt x="479" y="13175"/>
                  </a:cubicBezTo>
                  <a:cubicBezTo>
                    <a:pt x="455" y="13284"/>
                    <a:pt x="455" y="13284"/>
                    <a:pt x="455" y="13284"/>
                  </a:cubicBezTo>
                  <a:lnTo>
                    <a:pt x="346" y="13260"/>
                  </a:lnTo>
                  <a:close/>
                  <a:moveTo>
                    <a:pt x="414" y="12666"/>
                  </a:moveTo>
                  <a:cubicBezTo>
                    <a:pt x="347" y="12553"/>
                    <a:pt x="347" y="12553"/>
                    <a:pt x="347" y="12553"/>
                  </a:cubicBezTo>
                  <a:cubicBezTo>
                    <a:pt x="344" y="12547"/>
                    <a:pt x="344" y="12547"/>
                    <a:pt x="344" y="12547"/>
                  </a:cubicBezTo>
                  <a:cubicBezTo>
                    <a:pt x="225" y="12617"/>
                    <a:pt x="225" y="12617"/>
                    <a:pt x="225" y="12617"/>
                  </a:cubicBezTo>
                  <a:cubicBezTo>
                    <a:pt x="295" y="12736"/>
                    <a:pt x="295" y="12736"/>
                    <a:pt x="295" y="12736"/>
                  </a:cubicBezTo>
                  <a:lnTo>
                    <a:pt x="414" y="12666"/>
                  </a:lnTo>
                  <a:close/>
                  <a:moveTo>
                    <a:pt x="339" y="12565"/>
                  </a:moveTo>
                  <a:cubicBezTo>
                    <a:pt x="396" y="12661"/>
                    <a:pt x="396" y="12661"/>
                    <a:pt x="396" y="12661"/>
                  </a:cubicBezTo>
                  <a:cubicBezTo>
                    <a:pt x="300" y="12718"/>
                    <a:pt x="300" y="12718"/>
                    <a:pt x="300" y="12718"/>
                  </a:cubicBezTo>
                  <a:cubicBezTo>
                    <a:pt x="243" y="12622"/>
                    <a:pt x="243" y="12622"/>
                    <a:pt x="243" y="12622"/>
                  </a:cubicBezTo>
                  <a:lnTo>
                    <a:pt x="339" y="12565"/>
                  </a:lnTo>
                  <a:close/>
                  <a:moveTo>
                    <a:pt x="2131" y="16292"/>
                  </a:moveTo>
                  <a:cubicBezTo>
                    <a:pt x="2045" y="16412"/>
                    <a:pt x="2045" y="16412"/>
                    <a:pt x="2045" y="16412"/>
                  </a:cubicBezTo>
                  <a:cubicBezTo>
                    <a:pt x="2125" y="16469"/>
                    <a:pt x="2125" y="16469"/>
                    <a:pt x="2125" y="16469"/>
                  </a:cubicBezTo>
                  <a:cubicBezTo>
                    <a:pt x="2130" y="16473"/>
                    <a:pt x="2130" y="16473"/>
                    <a:pt x="2130" y="16473"/>
                  </a:cubicBezTo>
                  <a:cubicBezTo>
                    <a:pt x="2216" y="16353"/>
                    <a:pt x="2216" y="16353"/>
                    <a:pt x="2216" y="16353"/>
                  </a:cubicBezTo>
                  <a:lnTo>
                    <a:pt x="2131" y="16292"/>
                  </a:lnTo>
                  <a:close/>
                  <a:moveTo>
                    <a:pt x="2127" y="16455"/>
                  </a:moveTo>
                  <a:cubicBezTo>
                    <a:pt x="2063" y="16409"/>
                    <a:pt x="2063" y="16409"/>
                    <a:pt x="2063" y="16409"/>
                  </a:cubicBezTo>
                  <a:cubicBezTo>
                    <a:pt x="2134" y="16310"/>
                    <a:pt x="2134" y="16310"/>
                    <a:pt x="2134" y="16310"/>
                  </a:cubicBezTo>
                  <a:cubicBezTo>
                    <a:pt x="2198" y="16356"/>
                    <a:pt x="2198" y="16356"/>
                    <a:pt x="2198" y="16356"/>
                  </a:cubicBezTo>
                  <a:lnTo>
                    <a:pt x="2127" y="16455"/>
                  </a:lnTo>
                  <a:close/>
                  <a:moveTo>
                    <a:pt x="1947" y="16351"/>
                  </a:moveTo>
                  <a:cubicBezTo>
                    <a:pt x="1952" y="16355"/>
                    <a:pt x="1952" y="16355"/>
                    <a:pt x="1952" y="16355"/>
                  </a:cubicBezTo>
                  <a:cubicBezTo>
                    <a:pt x="2038" y="16234"/>
                    <a:pt x="2038" y="16234"/>
                    <a:pt x="2038" y="16234"/>
                  </a:cubicBezTo>
                  <a:cubicBezTo>
                    <a:pt x="1953" y="16174"/>
                    <a:pt x="1953" y="16174"/>
                    <a:pt x="1953" y="16174"/>
                  </a:cubicBezTo>
                  <a:cubicBezTo>
                    <a:pt x="1867" y="16294"/>
                    <a:pt x="1867" y="16294"/>
                    <a:pt x="1867" y="16294"/>
                  </a:cubicBezTo>
                  <a:lnTo>
                    <a:pt x="1947" y="16351"/>
                  </a:lnTo>
                  <a:close/>
                  <a:moveTo>
                    <a:pt x="1956" y="16192"/>
                  </a:moveTo>
                  <a:cubicBezTo>
                    <a:pt x="2020" y="16237"/>
                    <a:pt x="2020" y="16237"/>
                    <a:pt x="2020" y="16237"/>
                  </a:cubicBezTo>
                  <a:cubicBezTo>
                    <a:pt x="1949" y="16337"/>
                    <a:pt x="1949" y="16337"/>
                    <a:pt x="1949" y="16337"/>
                  </a:cubicBezTo>
                  <a:cubicBezTo>
                    <a:pt x="1885" y="16291"/>
                    <a:pt x="1885" y="16291"/>
                    <a:pt x="1885" y="16291"/>
                  </a:cubicBezTo>
                  <a:lnTo>
                    <a:pt x="1956" y="16192"/>
                  </a:lnTo>
                  <a:close/>
                  <a:moveTo>
                    <a:pt x="2357" y="16391"/>
                  </a:moveTo>
                  <a:cubicBezTo>
                    <a:pt x="2369" y="16488"/>
                    <a:pt x="2369" y="16488"/>
                    <a:pt x="2369" y="16488"/>
                  </a:cubicBezTo>
                  <a:cubicBezTo>
                    <a:pt x="2370" y="16495"/>
                    <a:pt x="2370" y="16495"/>
                    <a:pt x="2370" y="16495"/>
                  </a:cubicBezTo>
                  <a:cubicBezTo>
                    <a:pt x="2516" y="16477"/>
                    <a:pt x="2516" y="16477"/>
                    <a:pt x="2516" y="16477"/>
                  </a:cubicBezTo>
                  <a:cubicBezTo>
                    <a:pt x="2504" y="16373"/>
                    <a:pt x="2504" y="16373"/>
                    <a:pt x="2504" y="16373"/>
                  </a:cubicBezTo>
                  <a:lnTo>
                    <a:pt x="2357" y="16391"/>
                  </a:lnTo>
                  <a:close/>
                  <a:moveTo>
                    <a:pt x="2381" y="16480"/>
                  </a:moveTo>
                  <a:cubicBezTo>
                    <a:pt x="2371" y="16402"/>
                    <a:pt x="2371" y="16402"/>
                    <a:pt x="2371" y="16402"/>
                  </a:cubicBezTo>
                  <a:cubicBezTo>
                    <a:pt x="2492" y="16387"/>
                    <a:pt x="2492" y="16387"/>
                    <a:pt x="2492" y="16387"/>
                  </a:cubicBezTo>
                  <a:cubicBezTo>
                    <a:pt x="2502" y="16465"/>
                    <a:pt x="2502" y="16465"/>
                    <a:pt x="2502" y="16465"/>
                  </a:cubicBezTo>
                  <a:lnTo>
                    <a:pt x="2381" y="16480"/>
                  </a:lnTo>
                  <a:close/>
                  <a:moveTo>
                    <a:pt x="2051" y="15208"/>
                  </a:moveTo>
                  <a:cubicBezTo>
                    <a:pt x="1954" y="15320"/>
                    <a:pt x="1954" y="15320"/>
                    <a:pt x="1954" y="15320"/>
                  </a:cubicBezTo>
                  <a:cubicBezTo>
                    <a:pt x="2028" y="15384"/>
                    <a:pt x="2028" y="15384"/>
                    <a:pt x="2028" y="15384"/>
                  </a:cubicBezTo>
                  <a:cubicBezTo>
                    <a:pt x="2033" y="15388"/>
                    <a:pt x="2033" y="15388"/>
                    <a:pt x="2033" y="15388"/>
                  </a:cubicBezTo>
                  <a:cubicBezTo>
                    <a:pt x="2130" y="15277"/>
                    <a:pt x="2130" y="15277"/>
                    <a:pt x="2130" y="15277"/>
                  </a:cubicBezTo>
                  <a:lnTo>
                    <a:pt x="2051" y="15208"/>
                  </a:lnTo>
                  <a:close/>
                  <a:moveTo>
                    <a:pt x="2032" y="15370"/>
                  </a:moveTo>
                  <a:cubicBezTo>
                    <a:pt x="1973" y="15319"/>
                    <a:pt x="1973" y="15319"/>
                    <a:pt x="1973" y="15319"/>
                  </a:cubicBezTo>
                  <a:cubicBezTo>
                    <a:pt x="2053" y="15227"/>
                    <a:pt x="2053" y="15227"/>
                    <a:pt x="2053" y="15227"/>
                  </a:cubicBezTo>
                  <a:cubicBezTo>
                    <a:pt x="2112" y="15278"/>
                    <a:pt x="2112" y="15278"/>
                    <a:pt x="2112" y="15278"/>
                  </a:cubicBezTo>
                  <a:lnTo>
                    <a:pt x="2032" y="15370"/>
                  </a:lnTo>
                  <a:close/>
                  <a:moveTo>
                    <a:pt x="5645" y="13445"/>
                  </a:moveTo>
                  <a:cubicBezTo>
                    <a:pt x="5500" y="13419"/>
                    <a:pt x="5500" y="13419"/>
                    <a:pt x="5500" y="13419"/>
                  </a:cubicBezTo>
                  <a:cubicBezTo>
                    <a:pt x="5482" y="13515"/>
                    <a:pt x="5482" y="13515"/>
                    <a:pt x="5482" y="13515"/>
                  </a:cubicBezTo>
                  <a:cubicBezTo>
                    <a:pt x="5481" y="13521"/>
                    <a:pt x="5481" y="13521"/>
                    <a:pt x="5481" y="13521"/>
                  </a:cubicBezTo>
                  <a:cubicBezTo>
                    <a:pt x="5627" y="13548"/>
                    <a:pt x="5627" y="13548"/>
                    <a:pt x="5627" y="13548"/>
                  </a:cubicBezTo>
                  <a:lnTo>
                    <a:pt x="5645" y="13445"/>
                  </a:lnTo>
                  <a:close/>
                  <a:moveTo>
                    <a:pt x="5496" y="13511"/>
                  </a:moveTo>
                  <a:cubicBezTo>
                    <a:pt x="5510" y="13434"/>
                    <a:pt x="5510" y="13434"/>
                    <a:pt x="5510" y="13434"/>
                  </a:cubicBezTo>
                  <a:cubicBezTo>
                    <a:pt x="5630" y="13455"/>
                    <a:pt x="5630" y="13455"/>
                    <a:pt x="5630" y="13455"/>
                  </a:cubicBezTo>
                  <a:cubicBezTo>
                    <a:pt x="5616" y="13533"/>
                    <a:pt x="5616" y="13533"/>
                    <a:pt x="5616" y="13533"/>
                  </a:cubicBezTo>
                  <a:lnTo>
                    <a:pt x="5496" y="13511"/>
                  </a:lnTo>
                  <a:close/>
                  <a:moveTo>
                    <a:pt x="5508" y="13226"/>
                  </a:moveTo>
                  <a:cubicBezTo>
                    <a:pt x="5507" y="13233"/>
                    <a:pt x="5507" y="13233"/>
                    <a:pt x="5507" y="13233"/>
                  </a:cubicBezTo>
                  <a:cubicBezTo>
                    <a:pt x="5653" y="13259"/>
                    <a:pt x="5653" y="13259"/>
                    <a:pt x="5653" y="13259"/>
                  </a:cubicBezTo>
                  <a:cubicBezTo>
                    <a:pt x="5671" y="13157"/>
                    <a:pt x="5671" y="13157"/>
                    <a:pt x="5671" y="13157"/>
                  </a:cubicBezTo>
                  <a:cubicBezTo>
                    <a:pt x="5526" y="13130"/>
                    <a:pt x="5526" y="13130"/>
                    <a:pt x="5526" y="13130"/>
                  </a:cubicBezTo>
                  <a:lnTo>
                    <a:pt x="5508" y="13226"/>
                  </a:lnTo>
                  <a:close/>
                  <a:moveTo>
                    <a:pt x="5656" y="13167"/>
                  </a:moveTo>
                  <a:cubicBezTo>
                    <a:pt x="5642" y="13244"/>
                    <a:pt x="5642" y="13244"/>
                    <a:pt x="5642" y="13244"/>
                  </a:cubicBezTo>
                  <a:cubicBezTo>
                    <a:pt x="5522" y="13222"/>
                    <a:pt x="5522" y="13222"/>
                    <a:pt x="5522" y="13222"/>
                  </a:cubicBezTo>
                  <a:cubicBezTo>
                    <a:pt x="5536" y="13145"/>
                    <a:pt x="5536" y="13145"/>
                    <a:pt x="5536" y="13145"/>
                  </a:cubicBezTo>
                  <a:lnTo>
                    <a:pt x="5656" y="13167"/>
                  </a:lnTo>
                  <a:close/>
                  <a:moveTo>
                    <a:pt x="5657" y="13006"/>
                  </a:moveTo>
                  <a:cubicBezTo>
                    <a:pt x="5511" y="12980"/>
                    <a:pt x="5511" y="12980"/>
                    <a:pt x="5511" y="12980"/>
                  </a:cubicBezTo>
                  <a:cubicBezTo>
                    <a:pt x="5494" y="13076"/>
                    <a:pt x="5494" y="13076"/>
                    <a:pt x="5494" y="13076"/>
                  </a:cubicBezTo>
                  <a:cubicBezTo>
                    <a:pt x="5492" y="13082"/>
                    <a:pt x="5492" y="13082"/>
                    <a:pt x="5492" y="13082"/>
                  </a:cubicBezTo>
                  <a:cubicBezTo>
                    <a:pt x="5638" y="13109"/>
                    <a:pt x="5638" y="13109"/>
                    <a:pt x="5638" y="13109"/>
                  </a:cubicBezTo>
                  <a:lnTo>
                    <a:pt x="5657" y="13006"/>
                  </a:lnTo>
                  <a:close/>
                  <a:moveTo>
                    <a:pt x="5508" y="13072"/>
                  </a:moveTo>
                  <a:cubicBezTo>
                    <a:pt x="5522" y="12995"/>
                    <a:pt x="5522" y="12995"/>
                    <a:pt x="5522" y="12995"/>
                  </a:cubicBezTo>
                  <a:cubicBezTo>
                    <a:pt x="5642" y="13016"/>
                    <a:pt x="5642" y="13016"/>
                    <a:pt x="5642" y="13016"/>
                  </a:cubicBezTo>
                  <a:cubicBezTo>
                    <a:pt x="5628" y="13094"/>
                    <a:pt x="5628" y="13094"/>
                    <a:pt x="5628" y="13094"/>
                  </a:cubicBezTo>
                  <a:lnTo>
                    <a:pt x="5508" y="13072"/>
                  </a:lnTo>
                  <a:close/>
                  <a:moveTo>
                    <a:pt x="5417" y="12900"/>
                  </a:moveTo>
                  <a:cubicBezTo>
                    <a:pt x="5415" y="12907"/>
                    <a:pt x="5415" y="12907"/>
                    <a:pt x="5415" y="12907"/>
                  </a:cubicBezTo>
                  <a:cubicBezTo>
                    <a:pt x="5561" y="12933"/>
                    <a:pt x="5561" y="12933"/>
                    <a:pt x="5561" y="12933"/>
                  </a:cubicBezTo>
                  <a:cubicBezTo>
                    <a:pt x="5580" y="12831"/>
                    <a:pt x="5580" y="12831"/>
                    <a:pt x="5580" y="12831"/>
                  </a:cubicBezTo>
                  <a:cubicBezTo>
                    <a:pt x="5434" y="12804"/>
                    <a:pt x="5434" y="12804"/>
                    <a:pt x="5434" y="12804"/>
                  </a:cubicBezTo>
                  <a:lnTo>
                    <a:pt x="5417" y="12900"/>
                  </a:lnTo>
                  <a:close/>
                  <a:moveTo>
                    <a:pt x="5565" y="12841"/>
                  </a:moveTo>
                  <a:cubicBezTo>
                    <a:pt x="5551" y="12918"/>
                    <a:pt x="5551" y="12918"/>
                    <a:pt x="5551" y="12918"/>
                  </a:cubicBezTo>
                  <a:cubicBezTo>
                    <a:pt x="5431" y="12896"/>
                    <a:pt x="5431" y="12896"/>
                    <a:pt x="5431" y="12896"/>
                  </a:cubicBezTo>
                  <a:cubicBezTo>
                    <a:pt x="5445" y="12819"/>
                    <a:pt x="5445" y="12819"/>
                    <a:pt x="5445" y="12819"/>
                  </a:cubicBezTo>
                  <a:lnTo>
                    <a:pt x="5565" y="12841"/>
                  </a:lnTo>
                  <a:close/>
                  <a:moveTo>
                    <a:pt x="5549" y="12776"/>
                  </a:moveTo>
                  <a:cubicBezTo>
                    <a:pt x="5548" y="12782"/>
                    <a:pt x="5548" y="12782"/>
                    <a:pt x="5548" y="12782"/>
                  </a:cubicBezTo>
                  <a:cubicBezTo>
                    <a:pt x="5694" y="12809"/>
                    <a:pt x="5694" y="12809"/>
                    <a:pt x="5694" y="12809"/>
                  </a:cubicBezTo>
                  <a:cubicBezTo>
                    <a:pt x="5712" y="12706"/>
                    <a:pt x="5712" y="12706"/>
                    <a:pt x="5712" y="12706"/>
                  </a:cubicBezTo>
                  <a:cubicBezTo>
                    <a:pt x="5567" y="12680"/>
                    <a:pt x="5567" y="12680"/>
                    <a:pt x="5567" y="12680"/>
                  </a:cubicBezTo>
                  <a:lnTo>
                    <a:pt x="5549" y="12776"/>
                  </a:lnTo>
                  <a:close/>
                  <a:moveTo>
                    <a:pt x="5697" y="12717"/>
                  </a:moveTo>
                  <a:cubicBezTo>
                    <a:pt x="5683" y="12794"/>
                    <a:pt x="5683" y="12794"/>
                    <a:pt x="5683" y="12794"/>
                  </a:cubicBezTo>
                  <a:cubicBezTo>
                    <a:pt x="5563" y="12772"/>
                    <a:pt x="5563" y="12772"/>
                    <a:pt x="5563" y="12772"/>
                  </a:cubicBezTo>
                  <a:cubicBezTo>
                    <a:pt x="5577" y="12695"/>
                    <a:pt x="5577" y="12695"/>
                    <a:pt x="5577" y="12695"/>
                  </a:cubicBezTo>
                  <a:lnTo>
                    <a:pt x="5697" y="12717"/>
                  </a:lnTo>
                  <a:close/>
                  <a:moveTo>
                    <a:pt x="5621" y="12544"/>
                  </a:moveTo>
                  <a:cubicBezTo>
                    <a:pt x="5475" y="12517"/>
                    <a:pt x="5475" y="12517"/>
                    <a:pt x="5475" y="12517"/>
                  </a:cubicBezTo>
                  <a:cubicBezTo>
                    <a:pt x="5458" y="12614"/>
                    <a:pt x="5458" y="12614"/>
                    <a:pt x="5458" y="12614"/>
                  </a:cubicBezTo>
                  <a:cubicBezTo>
                    <a:pt x="5456" y="12620"/>
                    <a:pt x="5456" y="12620"/>
                    <a:pt x="5456" y="12620"/>
                  </a:cubicBezTo>
                  <a:cubicBezTo>
                    <a:pt x="5602" y="12647"/>
                    <a:pt x="5602" y="12647"/>
                    <a:pt x="5602" y="12647"/>
                  </a:cubicBezTo>
                  <a:lnTo>
                    <a:pt x="5621" y="12544"/>
                  </a:lnTo>
                  <a:close/>
                  <a:moveTo>
                    <a:pt x="5471" y="12610"/>
                  </a:moveTo>
                  <a:cubicBezTo>
                    <a:pt x="5485" y="12532"/>
                    <a:pt x="5485" y="12532"/>
                    <a:pt x="5485" y="12532"/>
                  </a:cubicBezTo>
                  <a:cubicBezTo>
                    <a:pt x="5606" y="12554"/>
                    <a:pt x="5606" y="12554"/>
                    <a:pt x="5606" y="12554"/>
                  </a:cubicBezTo>
                  <a:cubicBezTo>
                    <a:pt x="5592" y="12632"/>
                    <a:pt x="5592" y="12632"/>
                    <a:pt x="5592" y="12632"/>
                  </a:cubicBezTo>
                  <a:lnTo>
                    <a:pt x="5471" y="12610"/>
                  </a:lnTo>
                  <a:close/>
                  <a:moveTo>
                    <a:pt x="2781" y="15634"/>
                  </a:moveTo>
                  <a:cubicBezTo>
                    <a:pt x="2909" y="15560"/>
                    <a:pt x="2909" y="15560"/>
                    <a:pt x="2909" y="15560"/>
                  </a:cubicBezTo>
                  <a:cubicBezTo>
                    <a:pt x="2857" y="15470"/>
                    <a:pt x="2857" y="15470"/>
                    <a:pt x="2857" y="15470"/>
                  </a:cubicBezTo>
                  <a:cubicBezTo>
                    <a:pt x="2729" y="15544"/>
                    <a:pt x="2729" y="15544"/>
                    <a:pt x="2729" y="15544"/>
                  </a:cubicBezTo>
                  <a:cubicBezTo>
                    <a:pt x="2778" y="15629"/>
                    <a:pt x="2778" y="15629"/>
                    <a:pt x="2778" y="15629"/>
                  </a:cubicBezTo>
                  <a:lnTo>
                    <a:pt x="2781" y="15634"/>
                  </a:lnTo>
                  <a:close/>
                  <a:moveTo>
                    <a:pt x="2852" y="15487"/>
                  </a:moveTo>
                  <a:cubicBezTo>
                    <a:pt x="2892" y="15555"/>
                    <a:pt x="2892" y="15555"/>
                    <a:pt x="2892" y="15555"/>
                  </a:cubicBezTo>
                  <a:cubicBezTo>
                    <a:pt x="2786" y="15616"/>
                    <a:pt x="2786" y="15616"/>
                    <a:pt x="2786" y="15616"/>
                  </a:cubicBezTo>
                  <a:cubicBezTo>
                    <a:pt x="2747" y="15549"/>
                    <a:pt x="2747" y="15549"/>
                    <a:pt x="2747" y="15549"/>
                  </a:cubicBezTo>
                  <a:lnTo>
                    <a:pt x="2852" y="15487"/>
                  </a:lnTo>
                  <a:close/>
                  <a:moveTo>
                    <a:pt x="3148" y="15408"/>
                  </a:moveTo>
                  <a:cubicBezTo>
                    <a:pt x="3276" y="15334"/>
                    <a:pt x="3276" y="15334"/>
                    <a:pt x="3276" y="15334"/>
                  </a:cubicBezTo>
                  <a:cubicBezTo>
                    <a:pt x="3224" y="15244"/>
                    <a:pt x="3224" y="15244"/>
                    <a:pt x="3224" y="15244"/>
                  </a:cubicBezTo>
                  <a:cubicBezTo>
                    <a:pt x="3096" y="15318"/>
                    <a:pt x="3096" y="15318"/>
                    <a:pt x="3096" y="15318"/>
                  </a:cubicBezTo>
                  <a:cubicBezTo>
                    <a:pt x="3145" y="15403"/>
                    <a:pt x="3145" y="15403"/>
                    <a:pt x="3145" y="15403"/>
                  </a:cubicBezTo>
                  <a:lnTo>
                    <a:pt x="3148" y="15408"/>
                  </a:lnTo>
                  <a:close/>
                  <a:moveTo>
                    <a:pt x="3219" y="15262"/>
                  </a:moveTo>
                  <a:cubicBezTo>
                    <a:pt x="3258" y="15330"/>
                    <a:pt x="3258" y="15330"/>
                    <a:pt x="3258" y="15330"/>
                  </a:cubicBezTo>
                  <a:cubicBezTo>
                    <a:pt x="3153" y="15391"/>
                    <a:pt x="3153" y="15391"/>
                    <a:pt x="3153" y="15391"/>
                  </a:cubicBezTo>
                  <a:cubicBezTo>
                    <a:pt x="3113" y="15323"/>
                    <a:pt x="3113" y="15323"/>
                    <a:pt x="3113" y="15323"/>
                  </a:cubicBezTo>
                  <a:lnTo>
                    <a:pt x="3219" y="15262"/>
                  </a:lnTo>
                  <a:close/>
                  <a:moveTo>
                    <a:pt x="3044" y="15641"/>
                  </a:moveTo>
                  <a:cubicBezTo>
                    <a:pt x="3093" y="15726"/>
                    <a:pt x="3093" y="15726"/>
                    <a:pt x="3093" y="15726"/>
                  </a:cubicBezTo>
                  <a:cubicBezTo>
                    <a:pt x="3096" y="15731"/>
                    <a:pt x="3096" y="15731"/>
                    <a:pt x="3096" y="15731"/>
                  </a:cubicBezTo>
                  <a:cubicBezTo>
                    <a:pt x="3224" y="15657"/>
                    <a:pt x="3224" y="15657"/>
                    <a:pt x="3224" y="15657"/>
                  </a:cubicBezTo>
                  <a:cubicBezTo>
                    <a:pt x="3172" y="15567"/>
                    <a:pt x="3172" y="15567"/>
                    <a:pt x="3172" y="15567"/>
                  </a:cubicBezTo>
                  <a:lnTo>
                    <a:pt x="3044" y="15641"/>
                  </a:lnTo>
                  <a:close/>
                  <a:moveTo>
                    <a:pt x="3101" y="15713"/>
                  </a:moveTo>
                  <a:cubicBezTo>
                    <a:pt x="3061" y="15646"/>
                    <a:pt x="3061" y="15646"/>
                    <a:pt x="3061" y="15646"/>
                  </a:cubicBezTo>
                  <a:cubicBezTo>
                    <a:pt x="3167" y="15584"/>
                    <a:pt x="3167" y="15584"/>
                    <a:pt x="3167" y="15584"/>
                  </a:cubicBezTo>
                  <a:cubicBezTo>
                    <a:pt x="3206" y="15652"/>
                    <a:pt x="3206" y="15652"/>
                    <a:pt x="3206" y="15652"/>
                  </a:cubicBezTo>
                  <a:lnTo>
                    <a:pt x="3101" y="15713"/>
                  </a:lnTo>
                  <a:close/>
                  <a:moveTo>
                    <a:pt x="3037" y="16276"/>
                  </a:moveTo>
                  <a:cubicBezTo>
                    <a:pt x="2917" y="16362"/>
                    <a:pt x="2917" y="16362"/>
                    <a:pt x="2917" y="16362"/>
                  </a:cubicBezTo>
                  <a:cubicBezTo>
                    <a:pt x="2974" y="16442"/>
                    <a:pt x="2974" y="16442"/>
                    <a:pt x="2974" y="16442"/>
                  </a:cubicBezTo>
                  <a:cubicBezTo>
                    <a:pt x="2977" y="16447"/>
                    <a:pt x="2977" y="16447"/>
                    <a:pt x="2977" y="16447"/>
                  </a:cubicBezTo>
                  <a:cubicBezTo>
                    <a:pt x="3098" y="16361"/>
                    <a:pt x="3098" y="16361"/>
                    <a:pt x="3098" y="16361"/>
                  </a:cubicBezTo>
                  <a:lnTo>
                    <a:pt x="3037" y="16276"/>
                  </a:lnTo>
                  <a:close/>
                  <a:moveTo>
                    <a:pt x="2935" y="16365"/>
                  </a:moveTo>
                  <a:cubicBezTo>
                    <a:pt x="3034" y="16294"/>
                    <a:pt x="3034" y="16294"/>
                    <a:pt x="3034" y="16294"/>
                  </a:cubicBezTo>
                  <a:cubicBezTo>
                    <a:pt x="3080" y="16358"/>
                    <a:pt x="3080" y="16358"/>
                    <a:pt x="3080" y="16358"/>
                  </a:cubicBezTo>
                  <a:cubicBezTo>
                    <a:pt x="2980" y="16429"/>
                    <a:pt x="2980" y="16429"/>
                    <a:pt x="2980" y="16429"/>
                  </a:cubicBezTo>
                  <a:lnTo>
                    <a:pt x="2935" y="16365"/>
                  </a:lnTo>
                  <a:close/>
                  <a:moveTo>
                    <a:pt x="3919" y="16415"/>
                  </a:moveTo>
                  <a:cubicBezTo>
                    <a:pt x="3798" y="16501"/>
                    <a:pt x="3798" y="16501"/>
                    <a:pt x="3798" y="16501"/>
                  </a:cubicBezTo>
                  <a:cubicBezTo>
                    <a:pt x="3855" y="16580"/>
                    <a:pt x="3855" y="16580"/>
                    <a:pt x="3855" y="16580"/>
                  </a:cubicBezTo>
                  <a:cubicBezTo>
                    <a:pt x="3858" y="16586"/>
                    <a:pt x="3858" y="16586"/>
                    <a:pt x="3858" y="16586"/>
                  </a:cubicBezTo>
                  <a:cubicBezTo>
                    <a:pt x="3979" y="16500"/>
                    <a:pt x="3979" y="16500"/>
                    <a:pt x="3979" y="16500"/>
                  </a:cubicBezTo>
                  <a:lnTo>
                    <a:pt x="3919" y="16415"/>
                  </a:lnTo>
                  <a:close/>
                  <a:moveTo>
                    <a:pt x="3816" y="16504"/>
                  </a:moveTo>
                  <a:cubicBezTo>
                    <a:pt x="3916" y="16433"/>
                    <a:pt x="3916" y="16433"/>
                    <a:pt x="3916" y="16433"/>
                  </a:cubicBezTo>
                  <a:cubicBezTo>
                    <a:pt x="3961" y="16497"/>
                    <a:pt x="3961" y="16497"/>
                    <a:pt x="3961" y="16497"/>
                  </a:cubicBezTo>
                  <a:cubicBezTo>
                    <a:pt x="3861" y="16568"/>
                    <a:pt x="3861" y="16568"/>
                    <a:pt x="3861" y="16568"/>
                  </a:cubicBezTo>
                  <a:lnTo>
                    <a:pt x="3816" y="16504"/>
                  </a:lnTo>
                  <a:close/>
                  <a:moveTo>
                    <a:pt x="6737" y="15651"/>
                  </a:moveTo>
                  <a:cubicBezTo>
                    <a:pt x="6794" y="15731"/>
                    <a:pt x="6794" y="15731"/>
                    <a:pt x="6794" y="15731"/>
                  </a:cubicBezTo>
                  <a:cubicBezTo>
                    <a:pt x="6798" y="15736"/>
                    <a:pt x="6798" y="15736"/>
                    <a:pt x="6798" y="15736"/>
                  </a:cubicBezTo>
                  <a:cubicBezTo>
                    <a:pt x="6918" y="15650"/>
                    <a:pt x="6918" y="15650"/>
                    <a:pt x="6918" y="15650"/>
                  </a:cubicBezTo>
                  <a:cubicBezTo>
                    <a:pt x="6858" y="15565"/>
                    <a:pt x="6858" y="15565"/>
                    <a:pt x="6858" y="15565"/>
                  </a:cubicBezTo>
                  <a:lnTo>
                    <a:pt x="6737" y="15651"/>
                  </a:lnTo>
                  <a:close/>
                  <a:moveTo>
                    <a:pt x="6801" y="15718"/>
                  </a:moveTo>
                  <a:cubicBezTo>
                    <a:pt x="6755" y="15654"/>
                    <a:pt x="6755" y="15654"/>
                    <a:pt x="6755" y="15654"/>
                  </a:cubicBezTo>
                  <a:cubicBezTo>
                    <a:pt x="6855" y="15583"/>
                    <a:pt x="6855" y="15583"/>
                    <a:pt x="6855" y="15583"/>
                  </a:cubicBezTo>
                  <a:cubicBezTo>
                    <a:pt x="6900" y="15647"/>
                    <a:pt x="6900" y="15647"/>
                    <a:pt x="6900" y="15647"/>
                  </a:cubicBezTo>
                  <a:lnTo>
                    <a:pt x="6801" y="15718"/>
                  </a:lnTo>
                  <a:close/>
                  <a:moveTo>
                    <a:pt x="4809" y="10937"/>
                  </a:moveTo>
                  <a:cubicBezTo>
                    <a:pt x="4815" y="10937"/>
                    <a:pt x="4815" y="10937"/>
                    <a:pt x="4815" y="10937"/>
                  </a:cubicBezTo>
                  <a:cubicBezTo>
                    <a:pt x="4794" y="10790"/>
                    <a:pt x="4794" y="10790"/>
                    <a:pt x="4794" y="10790"/>
                  </a:cubicBezTo>
                  <a:cubicBezTo>
                    <a:pt x="4691" y="10805"/>
                    <a:pt x="4691" y="10805"/>
                    <a:pt x="4691" y="10805"/>
                  </a:cubicBezTo>
                  <a:cubicBezTo>
                    <a:pt x="4712" y="10951"/>
                    <a:pt x="4712" y="10951"/>
                    <a:pt x="4712" y="10951"/>
                  </a:cubicBezTo>
                  <a:lnTo>
                    <a:pt x="4809" y="10937"/>
                  </a:lnTo>
                  <a:close/>
                  <a:moveTo>
                    <a:pt x="4783" y="10805"/>
                  </a:moveTo>
                  <a:cubicBezTo>
                    <a:pt x="4800" y="10926"/>
                    <a:pt x="4800" y="10926"/>
                    <a:pt x="4800" y="10926"/>
                  </a:cubicBezTo>
                  <a:cubicBezTo>
                    <a:pt x="4723" y="10937"/>
                    <a:pt x="4723" y="10937"/>
                    <a:pt x="4723" y="10937"/>
                  </a:cubicBezTo>
                  <a:cubicBezTo>
                    <a:pt x="4706" y="10816"/>
                    <a:pt x="4706" y="10816"/>
                    <a:pt x="4706" y="10816"/>
                  </a:cubicBezTo>
                  <a:lnTo>
                    <a:pt x="4783" y="10805"/>
                  </a:lnTo>
                  <a:close/>
                  <a:moveTo>
                    <a:pt x="4263" y="9086"/>
                  </a:moveTo>
                  <a:cubicBezTo>
                    <a:pt x="4361" y="9086"/>
                    <a:pt x="4361" y="9086"/>
                    <a:pt x="4361" y="9086"/>
                  </a:cubicBezTo>
                  <a:cubicBezTo>
                    <a:pt x="4367" y="9087"/>
                    <a:pt x="4367" y="9087"/>
                    <a:pt x="4367" y="9087"/>
                  </a:cubicBezTo>
                  <a:cubicBezTo>
                    <a:pt x="4368" y="8939"/>
                    <a:pt x="4368" y="8939"/>
                    <a:pt x="4368" y="8939"/>
                  </a:cubicBezTo>
                  <a:cubicBezTo>
                    <a:pt x="4264" y="8938"/>
                    <a:pt x="4264" y="8938"/>
                    <a:pt x="4264" y="8938"/>
                  </a:cubicBezTo>
                  <a:lnTo>
                    <a:pt x="4263" y="9086"/>
                  </a:lnTo>
                  <a:close/>
                  <a:moveTo>
                    <a:pt x="4277" y="8951"/>
                  </a:moveTo>
                  <a:cubicBezTo>
                    <a:pt x="4355" y="8951"/>
                    <a:pt x="4355" y="8951"/>
                    <a:pt x="4355" y="8951"/>
                  </a:cubicBezTo>
                  <a:cubicBezTo>
                    <a:pt x="4354" y="9074"/>
                    <a:pt x="4354" y="9074"/>
                    <a:pt x="4354" y="9074"/>
                  </a:cubicBezTo>
                  <a:cubicBezTo>
                    <a:pt x="4276" y="9073"/>
                    <a:pt x="4276" y="9073"/>
                    <a:pt x="4276" y="9073"/>
                  </a:cubicBezTo>
                  <a:lnTo>
                    <a:pt x="4277" y="8951"/>
                  </a:lnTo>
                  <a:close/>
                  <a:moveTo>
                    <a:pt x="4788" y="8905"/>
                  </a:moveTo>
                  <a:cubicBezTo>
                    <a:pt x="4886" y="8905"/>
                    <a:pt x="4886" y="8905"/>
                    <a:pt x="4886" y="8905"/>
                  </a:cubicBezTo>
                  <a:cubicBezTo>
                    <a:pt x="4892" y="8905"/>
                    <a:pt x="4892" y="8905"/>
                    <a:pt x="4892" y="8905"/>
                  </a:cubicBezTo>
                  <a:cubicBezTo>
                    <a:pt x="4893" y="8758"/>
                    <a:pt x="4893" y="8758"/>
                    <a:pt x="4893" y="8758"/>
                  </a:cubicBezTo>
                  <a:cubicBezTo>
                    <a:pt x="4789" y="8757"/>
                    <a:pt x="4789" y="8757"/>
                    <a:pt x="4789" y="8757"/>
                  </a:cubicBezTo>
                  <a:lnTo>
                    <a:pt x="4788" y="8905"/>
                  </a:lnTo>
                  <a:close/>
                  <a:moveTo>
                    <a:pt x="4802" y="8770"/>
                  </a:moveTo>
                  <a:cubicBezTo>
                    <a:pt x="4880" y="8770"/>
                    <a:pt x="4880" y="8770"/>
                    <a:pt x="4880" y="8770"/>
                  </a:cubicBezTo>
                  <a:cubicBezTo>
                    <a:pt x="4879" y="8892"/>
                    <a:pt x="4879" y="8892"/>
                    <a:pt x="4879" y="8892"/>
                  </a:cubicBezTo>
                  <a:cubicBezTo>
                    <a:pt x="4801" y="8892"/>
                    <a:pt x="4801" y="8892"/>
                    <a:pt x="4801" y="8892"/>
                  </a:cubicBezTo>
                  <a:lnTo>
                    <a:pt x="4802" y="8770"/>
                  </a:lnTo>
                  <a:close/>
                  <a:moveTo>
                    <a:pt x="5227" y="8461"/>
                  </a:moveTo>
                  <a:cubicBezTo>
                    <a:pt x="5325" y="8462"/>
                    <a:pt x="5325" y="8462"/>
                    <a:pt x="5325" y="8462"/>
                  </a:cubicBezTo>
                  <a:cubicBezTo>
                    <a:pt x="5332" y="8462"/>
                    <a:pt x="5332" y="8462"/>
                    <a:pt x="5332" y="8462"/>
                  </a:cubicBezTo>
                  <a:cubicBezTo>
                    <a:pt x="5333" y="8314"/>
                    <a:pt x="5333" y="8314"/>
                    <a:pt x="5333" y="8314"/>
                  </a:cubicBezTo>
                  <a:cubicBezTo>
                    <a:pt x="5229" y="8313"/>
                    <a:pt x="5229" y="8313"/>
                    <a:pt x="5229" y="8313"/>
                  </a:cubicBezTo>
                  <a:lnTo>
                    <a:pt x="5227" y="8461"/>
                  </a:lnTo>
                  <a:close/>
                  <a:moveTo>
                    <a:pt x="5241" y="8326"/>
                  </a:moveTo>
                  <a:cubicBezTo>
                    <a:pt x="5320" y="8327"/>
                    <a:pt x="5320" y="8327"/>
                    <a:pt x="5320" y="8327"/>
                  </a:cubicBezTo>
                  <a:cubicBezTo>
                    <a:pt x="5319" y="8449"/>
                    <a:pt x="5319" y="8449"/>
                    <a:pt x="5319" y="8449"/>
                  </a:cubicBezTo>
                  <a:cubicBezTo>
                    <a:pt x="5240" y="8448"/>
                    <a:pt x="5240" y="8448"/>
                    <a:pt x="5240" y="8448"/>
                  </a:cubicBezTo>
                  <a:lnTo>
                    <a:pt x="5241" y="8326"/>
                  </a:lnTo>
                  <a:close/>
                  <a:moveTo>
                    <a:pt x="5046" y="8452"/>
                  </a:moveTo>
                  <a:cubicBezTo>
                    <a:pt x="5047" y="8304"/>
                    <a:pt x="5047" y="8304"/>
                    <a:pt x="5047" y="8304"/>
                  </a:cubicBezTo>
                  <a:cubicBezTo>
                    <a:pt x="4942" y="8303"/>
                    <a:pt x="4942" y="8303"/>
                    <a:pt x="4942" y="8303"/>
                  </a:cubicBezTo>
                  <a:cubicBezTo>
                    <a:pt x="4941" y="8451"/>
                    <a:pt x="4941" y="8451"/>
                    <a:pt x="4941" y="8451"/>
                  </a:cubicBezTo>
                  <a:cubicBezTo>
                    <a:pt x="5039" y="8452"/>
                    <a:pt x="5039" y="8452"/>
                    <a:pt x="5039" y="8452"/>
                  </a:cubicBezTo>
                  <a:lnTo>
                    <a:pt x="5046" y="8452"/>
                  </a:lnTo>
                  <a:close/>
                  <a:moveTo>
                    <a:pt x="5033" y="8439"/>
                  </a:moveTo>
                  <a:cubicBezTo>
                    <a:pt x="4954" y="8438"/>
                    <a:pt x="4954" y="8438"/>
                    <a:pt x="4954" y="8438"/>
                  </a:cubicBezTo>
                  <a:cubicBezTo>
                    <a:pt x="4955" y="8316"/>
                    <a:pt x="4955" y="8316"/>
                    <a:pt x="4955" y="8316"/>
                  </a:cubicBezTo>
                  <a:cubicBezTo>
                    <a:pt x="5034" y="8316"/>
                    <a:pt x="5034" y="8316"/>
                    <a:pt x="5034" y="8316"/>
                  </a:cubicBezTo>
                  <a:lnTo>
                    <a:pt x="5033" y="8439"/>
                  </a:lnTo>
                  <a:close/>
                  <a:moveTo>
                    <a:pt x="4516" y="8451"/>
                  </a:moveTo>
                  <a:cubicBezTo>
                    <a:pt x="4502" y="8304"/>
                    <a:pt x="4502" y="8304"/>
                    <a:pt x="4502" y="8304"/>
                  </a:cubicBezTo>
                  <a:cubicBezTo>
                    <a:pt x="4398" y="8314"/>
                    <a:pt x="4398" y="8314"/>
                    <a:pt x="4398" y="8314"/>
                  </a:cubicBezTo>
                  <a:cubicBezTo>
                    <a:pt x="4412" y="8461"/>
                    <a:pt x="4412" y="8461"/>
                    <a:pt x="4412" y="8461"/>
                  </a:cubicBezTo>
                  <a:cubicBezTo>
                    <a:pt x="4509" y="8452"/>
                    <a:pt x="4509" y="8452"/>
                    <a:pt x="4509" y="8452"/>
                  </a:cubicBezTo>
                  <a:lnTo>
                    <a:pt x="4516" y="8451"/>
                  </a:lnTo>
                  <a:close/>
                  <a:moveTo>
                    <a:pt x="4423" y="8447"/>
                  </a:moveTo>
                  <a:cubicBezTo>
                    <a:pt x="4412" y="8325"/>
                    <a:pt x="4412" y="8325"/>
                    <a:pt x="4412" y="8325"/>
                  </a:cubicBezTo>
                  <a:cubicBezTo>
                    <a:pt x="4490" y="8318"/>
                    <a:pt x="4490" y="8318"/>
                    <a:pt x="4490" y="8318"/>
                  </a:cubicBezTo>
                  <a:cubicBezTo>
                    <a:pt x="4502" y="8439"/>
                    <a:pt x="4502" y="8439"/>
                    <a:pt x="4502" y="8439"/>
                  </a:cubicBezTo>
                  <a:lnTo>
                    <a:pt x="4423" y="8447"/>
                  </a:lnTo>
                  <a:close/>
                  <a:moveTo>
                    <a:pt x="4548" y="9137"/>
                  </a:moveTo>
                  <a:cubicBezTo>
                    <a:pt x="4549" y="9143"/>
                    <a:pt x="4549" y="9143"/>
                    <a:pt x="4549" y="9143"/>
                  </a:cubicBezTo>
                  <a:cubicBezTo>
                    <a:pt x="4693" y="9109"/>
                    <a:pt x="4693" y="9109"/>
                    <a:pt x="4693" y="9109"/>
                  </a:cubicBezTo>
                  <a:cubicBezTo>
                    <a:pt x="4669" y="9008"/>
                    <a:pt x="4669" y="9008"/>
                    <a:pt x="4669" y="9008"/>
                  </a:cubicBezTo>
                  <a:cubicBezTo>
                    <a:pt x="4525" y="9042"/>
                    <a:pt x="4525" y="9042"/>
                    <a:pt x="4525" y="9042"/>
                  </a:cubicBezTo>
                  <a:lnTo>
                    <a:pt x="4548" y="9137"/>
                  </a:lnTo>
                  <a:close/>
                  <a:moveTo>
                    <a:pt x="4678" y="9100"/>
                  </a:moveTo>
                  <a:cubicBezTo>
                    <a:pt x="4559" y="9128"/>
                    <a:pt x="4559" y="9128"/>
                    <a:pt x="4559" y="9128"/>
                  </a:cubicBezTo>
                  <a:cubicBezTo>
                    <a:pt x="4541" y="9051"/>
                    <a:pt x="4541" y="9051"/>
                    <a:pt x="4541" y="9051"/>
                  </a:cubicBezTo>
                  <a:cubicBezTo>
                    <a:pt x="4659" y="9023"/>
                    <a:pt x="4659" y="9023"/>
                    <a:pt x="4659" y="9023"/>
                  </a:cubicBezTo>
                  <a:lnTo>
                    <a:pt x="4678" y="9100"/>
                  </a:lnTo>
                  <a:close/>
                  <a:moveTo>
                    <a:pt x="5063" y="8894"/>
                  </a:moveTo>
                  <a:cubicBezTo>
                    <a:pt x="5086" y="8989"/>
                    <a:pt x="5086" y="8989"/>
                    <a:pt x="5086" y="8989"/>
                  </a:cubicBezTo>
                  <a:cubicBezTo>
                    <a:pt x="5087" y="8996"/>
                    <a:pt x="5087" y="8996"/>
                    <a:pt x="5087" y="8996"/>
                  </a:cubicBezTo>
                  <a:cubicBezTo>
                    <a:pt x="5231" y="8962"/>
                    <a:pt x="5231" y="8962"/>
                    <a:pt x="5231" y="8962"/>
                  </a:cubicBezTo>
                  <a:cubicBezTo>
                    <a:pt x="5207" y="8860"/>
                    <a:pt x="5207" y="8860"/>
                    <a:pt x="5207" y="8860"/>
                  </a:cubicBezTo>
                  <a:lnTo>
                    <a:pt x="5063" y="8894"/>
                  </a:lnTo>
                  <a:close/>
                  <a:moveTo>
                    <a:pt x="5097" y="8980"/>
                  </a:moveTo>
                  <a:cubicBezTo>
                    <a:pt x="5079" y="8904"/>
                    <a:pt x="5079" y="8904"/>
                    <a:pt x="5079" y="8904"/>
                  </a:cubicBezTo>
                  <a:cubicBezTo>
                    <a:pt x="5197" y="8876"/>
                    <a:pt x="5197" y="8876"/>
                    <a:pt x="5197" y="8876"/>
                  </a:cubicBezTo>
                  <a:cubicBezTo>
                    <a:pt x="5216" y="8952"/>
                    <a:pt x="5216" y="8952"/>
                    <a:pt x="5216" y="8952"/>
                  </a:cubicBezTo>
                  <a:lnTo>
                    <a:pt x="5097" y="8980"/>
                  </a:lnTo>
                  <a:close/>
                  <a:moveTo>
                    <a:pt x="4861" y="10783"/>
                  </a:moveTo>
                  <a:cubicBezTo>
                    <a:pt x="4881" y="10929"/>
                    <a:pt x="4881" y="10929"/>
                    <a:pt x="4881" y="10929"/>
                  </a:cubicBezTo>
                  <a:cubicBezTo>
                    <a:pt x="4978" y="10916"/>
                    <a:pt x="4978" y="10916"/>
                    <a:pt x="4978" y="10916"/>
                  </a:cubicBezTo>
                  <a:cubicBezTo>
                    <a:pt x="4984" y="10915"/>
                    <a:pt x="4984" y="10915"/>
                    <a:pt x="4984" y="10915"/>
                  </a:cubicBezTo>
                  <a:cubicBezTo>
                    <a:pt x="4964" y="10768"/>
                    <a:pt x="4964" y="10768"/>
                    <a:pt x="4964" y="10768"/>
                  </a:cubicBezTo>
                  <a:lnTo>
                    <a:pt x="4861" y="10783"/>
                  </a:lnTo>
                  <a:close/>
                  <a:moveTo>
                    <a:pt x="4892" y="10915"/>
                  </a:moveTo>
                  <a:cubicBezTo>
                    <a:pt x="4875" y="10794"/>
                    <a:pt x="4875" y="10794"/>
                    <a:pt x="4875" y="10794"/>
                  </a:cubicBezTo>
                  <a:cubicBezTo>
                    <a:pt x="4953" y="10783"/>
                    <a:pt x="4953" y="10783"/>
                    <a:pt x="4953" y="10783"/>
                  </a:cubicBezTo>
                  <a:cubicBezTo>
                    <a:pt x="4970" y="10904"/>
                    <a:pt x="4970" y="10904"/>
                    <a:pt x="4970" y="10904"/>
                  </a:cubicBezTo>
                  <a:lnTo>
                    <a:pt x="4892" y="10915"/>
                  </a:lnTo>
                  <a:close/>
                  <a:moveTo>
                    <a:pt x="5815" y="14728"/>
                  </a:moveTo>
                  <a:cubicBezTo>
                    <a:pt x="5935" y="14643"/>
                    <a:pt x="5935" y="14643"/>
                    <a:pt x="5935" y="14643"/>
                  </a:cubicBezTo>
                  <a:cubicBezTo>
                    <a:pt x="5875" y="14558"/>
                    <a:pt x="5875" y="14558"/>
                    <a:pt x="5875" y="14558"/>
                  </a:cubicBezTo>
                  <a:cubicBezTo>
                    <a:pt x="5754" y="14643"/>
                    <a:pt x="5754" y="14643"/>
                    <a:pt x="5754" y="14643"/>
                  </a:cubicBezTo>
                  <a:cubicBezTo>
                    <a:pt x="5811" y="14723"/>
                    <a:pt x="5811" y="14723"/>
                    <a:pt x="5811" y="14723"/>
                  </a:cubicBezTo>
                  <a:lnTo>
                    <a:pt x="5815" y="14728"/>
                  </a:lnTo>
                  <a:close/>
                  <a:moveTo>
                    <a:pt x="5872" y="14576"/>
                  </a:moveTo>
                  <a:cubicBezTo>
                    <a:pt x="5917" y="14640"/>
                    <a:pt x="5917" y="14640"/>
                    <a:pt x="5917" y="14640"/>
                  </a:cubicBezTo>
                  <a:cubicBezTo>
                    <a:pt x="5818" y="14710"/>
                    <a:pt x="5818" y="14710"/>
                    <a:pt x="5818" y="14710"/>
                  </a:cubicBezTo>
                  <a:cubicBezTo>
                    <a:pt x="5772" y="14646"/>
                    <a:pt x="5772" y="14646"/>
                    <a:pt x="5772" y="14646"/>
                  </a:cubicBezTo>
                  <a:lnTo>
                    <a:pt x="5872" y="14576"/>
                  </a:lnTo>
                  <a:close/>
                  <a:moveTo>
                    <a:pt x="4188" y="10406"/>
                  </a:moveTo>
                  <a:cubicBezTo>
                    <a:pt x="4211" y="10501"/>
                    <a:pt x="4211" y="10501"/>
                    <a:pt x="4211" y="10501"/>
                  </a:cubicBezTo>
                  <a:cubicBezTo>
                    <a:pt x="4213" y="10508"/>
                    <a:pt x="4213" y="10508"/>
                    <a:pt x="4213" y="10508"/>
                  </a:cubicBezTo>
                  <a:cubicBezTo>
                    <a:pt x="4356" y="10473"/>
                    <a:pt x="4356" y="10473"/>
                    <a:pt x="4356" y="10473"/>
                  </a:cubicBezTo>
                  <a:cubicBezTo>
                    <a:pt x="4332" y="10372"/>
                    <a:pt x="4332" y="10372"/>
                    <a:pt x="4332" y="10372"/>
                  </a:cubicBezTo>
                  <a:lnTo>
                    <a:pt x="4188" y="10406"/>
                  </a:lnTo>
                  <a:close/>
                  <a:moveTo>
                    <a:pt x="4222" y="10492"/>
                  </a:moveTo>
                  <a:cubicBezTo>
                    <a:pt x="4204" y="10416"/>
                    <a:pt x="4204" y="10416"/>
                    <a:pt x="4204" y="10416"/>
                  </a:cubicBezTo>
                  <a:cubicBezTo>
                    <a:pt x="4322" y="10387"/>
                    <a:pt x="4322" y="10387"/>
                    <a:pt x="4322" y="10387"/>
                  </a:cubicBezTo>
                  <a:cubicBezTo>
                    <a:pt x="4341" y="10463"/>
                    <a:pt x="4341" y="10463"/>
                    <a:pt x="4341" y="10463"/>
                  </a:cubicBezTo>
                  <a:lnTo>
                    <a:pt x="4222" y="10492"/>
                  </a:lnTo>
                  <a:close/>
                  <a:moveTo>
                    <a:pt x="4375" y="10352"/>
                  </a:moveTo>
                  <a:cubicBezTo>
                    <a:pt x="4398" y="10447"/>
                    <a:pt x="4398" y="10447"/>
                    <a:pt x="4398" y="10447"/>
                  </a:cubicBezTo>
                  <a:cubicBezTo>
                    <a:pt x="4399" y="10453"/>
                    <a:pt x="4399" y="10453"/>
                    <a:pt x="4399" y="10453"/>
                  </a:cubicBezTo>
                  <a:cubicBezTo>
                    <a:pt x="4543" y="10419"/>
                    <a:pt x="4543" y="10419"/>
                    <a:pt x="4543" y="10419"/>
                  </a:cubicBezTo>
                  <a:cubicBezTo>
                    <a:pt x="4519" y="10317"/>
                    <a:pt x="4519" y="10317"/>
                    <a:pt x="4519" y="10317"/>
                  </a:cubicBezTo>
                  <a:lnTo>
                    <a:pt x="4375" y="10352"/>
                  </a:lnTo>
                  <a:close/>
                  <a:moveTo>
                    <a:pt x="4409" y="10438"/>
                  </a:moveTo>
                  <a:cubicBezTo>
                    <a:pt x="4390" y="10361"/>
                    <a:pt x="4390" y="10361"/>
                    <a:pt x="4390" y="10361"/>
                  </a:cubicBezTo>
                  <a:cubicBezTo>
                    <a:pt x="4509" y="10333"/>
                    <a:pt x="4509" y="10333"/>
                    <a:pt x="4509" y="10333"/>
                  </a:cubicBezTo>
                  <a:cubicBezTo>
                    <a:pt x="4527" y="10409"/>
                    <a:pt x="4527" y="10409"/>
                    <a:pt x="4527" y="10409"/>
                  </a:cubicBezTo>
                  <a:lnTo>
                    <a:pt x="4409" y="10438"/>
                  </a:lnTo>
                  <a:close/>
                  <a:moveTo>
                    <a:pt x="4583" y="10399"/>
                  </a:moveTo>
                  <a:cubicBezTo>
                    <a:pt x="4584" y="10406"/>
                    <a:pt x="4584" y="10406"/>
                    <a:pt x="4584" y="10406"/>
                  </a:cubicBezTo>
                  <a:cubicBezTo>
                    <a:pt x="4728" y="10371"/>
                    <a:pt x="4728" y="10371"/>
                    <a:pt x="4728" y="10371"/>
                  </a:cubicBezTo>
                  <a:cubicBezTo>
                    <a:pt x="4704" y="10270"/>
                    <a:pt x="4704" y="10270"/>
                    <a:pt x="4704" y="10270"/>
                  </a:cubicBezTo>
                  <a:cubicBezTo>
                    <a:pt x="4560" y="10304"/>
                    <a:pt x="4560" y="10304"/>
                    <a:pt x="4560" y="10304"/>
                  </a:cubicBezTo>
                  <a:lnTo>
                    <a:pt x="4583" y="10399"/>
                  </a:lnTo>
                  <a:close/>
                  <a:moveTo>
                    <a:pt x="4713" y="10361"/>
                  </a:moveTo>
                  <a:cubicBezTo>
                    <a:pt x="4594" y="10390"/>
                    <a:pt x="4594" y="10390"/>
                    <a:pt x="4594" y="10390"/>
                  </a:cubicBezTo>
                  <a:cubicBezTo>
                    <a:pt x="4575" y="10314"/>
                    <a:pt x="4575" y="10314"/>
                    <a:pt x="4575" y="10314"/>
                  </a:cubicBezTo>
                  <a:cubicBezTo>
                    <a:pt x="4694" y="10285"/>
                    <a:pt x="4694" y="10285"/>
                    <a:pt x="4694" y="10285"/>
                  </a:cubicBezTo>
                  <a:lnTo>
                    <a:pt x="4713" y="10361"/>
                  </a:lnTo>
                  <a:close/>
                  <a:moveTo>
                    <a:pt x="4784" y="10357"/>
                  </a:moveTo>
                  <a:cubicBezTo>
                    <a:pt x="4786" y="10363"/>
                    <a:pt x="4786" y="10363"/>
                    <a:pt x="4786" y="10363"/>
                  </a:cubicBezTo>
                  <a:cubicBezTo>
                    <a:pt x="4930" y="10328"/>
                    <a:pt x="4930" y="10328"/>
                    <a:pt x="4930" y="10328"/>
                  </a:cubicBezTo>
                  <a:cubicBezTo>
                    <a:pt x="4905" y="10227"/>
                    <a:pt x="4905" y="10227"/>
                    <a:pt x="4905" y="10227"/>
                  </a:cubicBezTo>
                  <a:cubicBezTo>
                    <a:pt x="4761" y="10262"/>
                    <a:pt x="4761" y="10262"/>
                    <a:pt x="4761" y="10262"/>
                  </a:cubicBezTo>
                  <a:lnTo>
                    <a:pt x="4784" y="10357"/>
                  </a:lnTo>
                  <a:close/>
                  <a:moveTo>
                    <a:pt x="4914" y="10319"/>
                  </a:moveTo>
                  <a:cubicBezTo>
                    <a:pt x="4795" y="10347"/>
                    <a:pt x="4795" y="10347"/>
                    <a:pt x="4795" y="10347"/>
                  </a:cubicBezTo>
                  <a:cubicBezTo>
                    <a:pt x="4777" y="10271"/>
                    <a:pt x="4777" y="10271"/>
                    <a:pt x="4777" y="10271"/>
                  </a:cubicBezTo>
                  <a:cubicBezTo>
                    <a:pt x="4896" y="10243"/>
                    <a:pt x="4896" y="10243"/>
                    <a:pt x="4896" y="10243"/>
                  </a:cubicBezTo>
                  <a:lnTo>
                    <a:pt x="4914" y="10319"/>
                  </a:lnTo>
                  <a:close/>
                  <a:moveTo>
                    <a:pt x="5046" y="10206"/>
                  </a:moveTo>
                  <a:cubicBezTo>
                    <a:pt x="5061" y="10303"/>
                    <a:pt x="5061" y="10303"/>
                    <a:pt x="5061" y="10303"/>
                  </a:cubicBezTo>
                  <a:cubicBezTo>
                    <a:pt x="5063" y="10309"/>
                    <a:pt x="5063" y="10309"/>
                    <a:pt x="5063" y="10309"/>
                  </a:cubicBezTo>
                  <a:cubicBezTo>
                    <a:pt x="5209" y="10286"/>
                    <a:pt x="5209" y="10286"/>
                    <a:pt x="5209" y="10286"/>
                  </a:cubicBezTo>
                  <a:cubicBezTo>
                    <a:pt x="5192" y="10183"/>
                    <a:pt x="5192" y="10183"/>
                    <a:pt x="5192" y="10183"/>
                  </a:cubicBezTo>
                  <a:lnTo>
                    <a:pt x="5046" y="10206"/>
                  </a:lnTo>
                  <a:close/>
                  <a:moveTo>
                    <a:pt x="5073" y="10294"/>
                  </a:moveTo>
                  <a:cubicBezTo>
                    <a:pt x="5061" y="10217"/>
                    <a:pt x="5061" y="10217"/>
                    <a:pt x="5061" y="10217"/>
                  </a:cubicBezTo>
                  <a:cubicBezTo>
                    <a:pt x="5181" y="10197"/>
                    <a:pt x="5181" y="10197"/>
                    <a:pt x="5181" y="10197"/>
                  </a:cubicBezTo>
                  <a:cubicBezTo>
                    <a:pt x="5194" y="10275"/>
                    <a:pt x="5194" y="10275"/>
                    <a:pt x="5194" y="10275"/>
                  </a:cubicBezTo>
                  <a:lnTo>
                    <a:pt x="5073" y="10294"/>
                  </a:lnTo>
                  <a:close/>
                  <a:moveTo>
                    <a:pt x="5752" y="10212"/>
                  </a:moveTo>
                  <a:cubicBezTo>
                    <a:pt x="5752" y="10218"/>
                    <a:pt x="5752" y="10218"/>
                    <a:pt x="5752" y="10218"/>
                  </a:cubicBezTo>
                  <a:cubicBezTo>
                    <a:pt x="5899" y="10227"/>
                    <a:pt x="5899" y="10227"/>
                    <a:pt x="5899" y="10227"/>
                  </a:cubicBezTo>
                  <a:cubicBezTo>
                    <a:pt x="5906" y="10123"/>
                    <a:pt x="5906" y="10123"/>
                    <a:pt x="5906" y="10123"/>
                  </a:cubicBezTo>
                  <a:cubicBezTo>
                    <a:pt x="5758" y="10114"/>
                    <a:pt x="5758" y="10114"/>
                    <a:pt x="5758" y="10114"/>
                  </a:cubicBezTo>
                  <a:lnTo>
                    <a:pt x="5752" y="10212"/>
                  </a:lnTo>
                  <a:close/>
                  <a:moveTo>
                    <a:pt x="5770" y="10128"/>
                  </a:moveTo>
                  <a:cubicBezTo>
                    <a:pt x="5892" y="10135"/>
                    <a:pt x="5892" y="10135"/>
                    <a:pt x="5892" y="10135"/>
                  </a:cubicBezTo>
                  <a:cubicBezTo>
                    <a:pt x="5887" y="10213"/>
                    <a:pt x="5887" y="10213"/>
                    <a:pt x="5887" y="10213"/>
                  </a:cubicBezTo>
                  <a:cubicBezTo>
                    <a:pt x="5765" y="10206"/>
                    <a:pt x="5765" y="10206"/>
                    <a:pt x="5765" y="10206"/>
                  </a:cubicBezTo>
                  <a:lnTo>
                    <a:pt x="5770" y="10128"/>
                  </a:lnTo>
                  <a:close/>
                  <a:moveTo>
                    <a:pt x="5436" y="9892"/>
                  </a:moveTo>
                  <a:cubicBezTo>
                    <a:pt x="5448" y="9989"/>
                    <a:pt x="5448" y="9989"/>
                    <a:pt x="5448" y="9989"/>
                  </a:cubicBezTo>
                  <a:cubicBezTo>
                    <a:pt x="5449" y="9996"/>
                    <a:pt x="5449" y="9996"/>
                    <a:pt x="5449" y="9996"/>
                  </a:cubicBezTo>
                  <a:cubicBezTo>
                    <a:pt x="5596" y="9977"/>
                    <a:pt x="5596" y="9977"/>
                    <a:pt x="5596" y="9977"/>
                  </a:cubicBezTo>
                  <a:cubicBezTo>
                    <a:pt x="5582" y="9873"/>
                    <a:pt x="5582" y="9873"/>
                    <a:pt x="5582" y="9873"/>
                  </a:cubicBezTo>
                  <a:lnTo>
                    <a:pt x="5436" y="9892"/>
                  </a:lnTo>
                  <a:close/>
                  <a:moveTo>
                    <a:pt x="5460" y="9981"/>
                  </a:moveTo>
                  <a:cubicBezTo>
                    <a:pt x="5450" y="9903"/>
                    <a:pt x="5450" y="9903"/>
                    <a:pt x="5450" y="9903"/>
                  </a:cubicBezTo>
                  <a:cubicBezTo>
                    <a:pt x="5571" y="9888"/>
                    <a:pt x="5571" y="9888"/>
                    <a:pt x="5571" y="9888"/>
                  </a:cubicBezTo>
                  <a:cubicBezTo>
                    <a:pt x="5581" y="9966"/>
                    <a:pt x="5581" y="9966"/>
                    <a:pt x="5581" y="9966"/>
                  </a:cubicBezTo>
                  <a:lnTo>
                    <a:pt x="5460" y="9981"/>
                  </a:lnTo>
                  <a:close/>
                  <a:moveTo>
                    <a:pt x="3795" y="17019"/>
                  </a:moveTo>
                  <a:cubicBezTo>
                    <a:pt x="3851" y="17098"/>
                    <a:pt x="3851" y="17098"/>
                    <a:pt x="3851" y="17098"/>
                  </a:cubicBezTo>
                  <a:cubicBezTo>
                    <a:pt x="3855" y="17104"/>
                    <a:pt x="3855" y="17104"/>
                    <a:pt x="3855" y="17104"/>
                  </a:cubicBezTo>
                  <a:cubicBezTo>
                    <a:pt x="3976" y="17018"/>
                    <a:pt x="3976" y="17018"/>
                    <a:pt x="3976" y="17018"/>
                  </a:cubicBezTo>
                  <a:cubicBezTo>
                    <a:pt x="3915" y="16933"/>
                    <a:pt x="3915" y="16933"/>
                    <a:pt x="3915" y="16933"/>
                  </a:cubicBezTo>
                  <a:lnTo>
                    <a:pt x="3795" y="17019"/>
                  </a:lnTo>
                  <a:close/>
                  <a:moveTo>
                    <a:pt x="3858" y="17086"/>
                  </a:moveTo>
                  <a:cubicBezTo>
                    <a:pt x="3813" y="17022"/>
                    <a:pt x="3813" y="17022"/>
                    <a:pt x="3813" y="17022"/>
                  </a:cubicBezTo>
                  <a:cubicBezTo>
                    <a:pt x="3912" y="16951"/>
                    <a:pt x="3912" y="16951"/>
                    <a:pt x="3912" y="16951"/>
                  </a:cubicBezTo>
                  <a:cubicBezTo>
                    <a:pt x="3958" y="17015"/>
                    <a:pt x="3958" y="17015"/>
                    <a:pt x="3958" y="17015"/>
                  </a:cubicBezTo>
                  <a:lnTo>
                    <a:pt x="3858" y="17086"/>
                  </a:lnTo>
                  <a:close/>
                  <a:moveTo>
                    <a:pt x="3858" y="17629"/>
                  </a:moveTo>
                  <a:cubicBezTo>
                    <a:pt x="3914" y="17708"/>
                    <a:pt x="3914" y="17708"/>
                    <a:pt x="3914" y="17708"/>
                  </a:cubicBezTo>
                  <a:cubicBezTo>
                    <a:pt x="3918" y="17714"/>
                    <a:pt x="3918" y="17714"/>
                    <a:pt x="3918" y="17714"/>
                  </a:cubicBezTo>
                  <a:cubicBezTo>
                    <a:pt x="4039" y="17628"/>
                    <a:pt x="4039" y="17628"/>
                    <a:pt x="4039" y="17628"/>
                  </a:cubicBezTo>
                  <a:cubicBezTo>
                    <a:pt x="3978" y="17543"/>
                    <a:pt x="3978" y="17543"/>
                    <a:pt x="3978" y="17543"/>
                  </a:cubicBezTo>
                  <a:lnTo>
                    <a:pt x="3858" y="17629"/>
                  </a:lnTo>
                  <a:close/>
                  <a:moveTo>
                    <a:pt x="3921" y="17696"/>
                  </a:moveTo>
                  <a:cubicBezTo>
                    <a:pt x="3876" y="17632"/>
                    <a:pt x="3876" y="17632"/>
                    <a:pt x="3876" y="17632"/>
                  </a:cubicBezTo>
                  <a:cubicBezTo>
                    <a:pt x="3975" y="17561"/>
                    <a:pt x="3975" y="17561"/>
                    <a:pt x="3975" y="17561"/>
                  </a:cubicBezTo>
                  <a:cubicBezTo>
                    <a:pt x="4021" y="17625"/>
                    <a:pt x="4021" y="17625"/>
                    <a:pt x="4021" y="17625"/>
                  </a:cubicBezTo>
                  <a:lnTo>
                    <a:pt x="3921" y="17696"/>
                  </a:lnTo>
                  <a:close/>
                  <a:moveTo>
                    <a:pt x="4352" y="18000"/>
                  </a:moveTo>
                  <a:cubicBezTo>
                    <a:pt x="4352" y="18002"/>
                    <a:pt x="4352" y="18002"/>
                    <a:pt x="4352" y="18002"/>
                  </a:cubicBezTo>
                  <a:cubicBezTo>
                    <a:pt x="4351" y="18009"/>
                    <a:pt x="4351" y="18009"/>
                    <a:pt x="4351" y="18009"/>
                  </a:cubicBezTo>
                  <a:cubicBezTo>
                    <a:pt x="4499" y="18020"/>
                    <a:pt x="4499" y="18020"/>
                    <a:pt x="4499" y="18020"/>
                  </a:cubicBezTo>
                  <a:cubicBezTo>
                    <a:pt x="4500" y="18000"/>
                    <a:pt x="4500" y="18000"/>
                    <a:pt x="4500" y="18000"/>
                  </a:cubicBezTo>
                  <a:cubicBezTo>
                    <a:pt x="4507" y="17916"/>
                    <a:pt x="4507" y="17916"/>
                    <a:pt x="4507" y="17916"/>
                  </a:cubicBezTo>
                  <a:cubicBezTo>
                    <a:pt x="4359" y="17905"/>
                    <a:pt x="4359" y="17905"/>
                    <a:pt x="4359" y="17905"/>
                  </a:cubicBezTo>
                  <a:lnTo>
                    <a:pt x="4352" y="18000"/>
                  </a:lnTo>
                  <a:close/>
                  <a:moveTo>
                    <a:pt x="4371" y="17919"/>
                  </a:moveTo>
                  <a:cubicBezTo>
                    <a:pt x="4493" y="17928"/>
                    <a:pt x="4493" y="17928"/>
                    <a:pt x="4493" y="17928"/>
                  </a:cubicBezTo>
                  <a:cubicBezTo>
                    <a:pt x="4487" y="18000"/>
                    <a:pt x="4487" y="18000"/>
                    <a:pt x="4487" y="18000"/>
                  </a:cubicBezTo>
                  <a:cubicBezTo>
                    <a:pt x="4487" y="18006"/>
                    <a:pt x="4487" y="18006"/>
                    <a:pt x="4487" y="18006"/>
                  </a:cubicBezTo>
                  <a:cubicBezTo>
                    <a:pt x="4409" y="18000"/>
                    <a:pt x="4409" y="18000"/>
                    <a:pt x="4409" y="18000"/>
                  </a:cubicBezTo>
                  <a:cubicBezTo>
                    <a:pt x="4365" y="17997"/>
                    <a:pt x="4365" y="17997"/>
                    <a:pt x="4365" y="17997"/>
                  </a:cubicBezTo>
                  <a:lnTo>
                    <a:pt x="4371" y="17919"/>
                  </a:lnTo>
                  <a:close/>
                  <a:moveTo>
                    <a:pt x="3865" y="15186"/>
                  </a:moveTo>
                  <a:cubicBezTo>
                    <a:pt x="3915" y="15270"/>
                    <a:pt x="3915" y="15270"/>
                    <a:pt x="3915" y="15270"/>
                  </a:cubicBezTo>
                  <a:cubicBezTo>
                    <a:pt x="3918" y="15276"/>
                    <a:pt x="3918" y="15276"/>
                    <a:pt x="3918" y="15276"/>
                  </a:cubicBezTo>
                  <a:cubicBezTo>
                    <a:pt x="4046" y="15202"/>
                    <a:pt x="4046" y="15202"/>
                    <a:pt x="4046" y="15202"/>
                  </a:cubicBezTo>
                  <a:cubicBezTo>
                    <a:pt x="3993" y="15112"/>
                    <a:pt x="3993" y="15112"/>
                    <a:pt x="3993" y="15112"/>
                  </a:cubicBezTo>
                  <a:lnTo>
                    <a:pt x="3865" y="15186"/>
                  </a:lnTo>
                  <a:close/>
                  <a:moveTo>
                    <a:pt x="3922" y="15258"/>
                  </a:moveTo>
                  <a:cubicBezTo>
                    <a:pt x="3883" y="15190"/>
                    <a:pt x="3883" y="15190"/>
                    <a:pt x="3883" y="15190"/>
                  </a:cubicBezTo>
                  <a:cubicBezTo>
                    <a:pt x="3989" y="15129"/>
                    <a:pt x="3989" y="15129"/>
                    <a:pt x="3989" y="15129"/>
                  </a:cubicBezTo>
                  <a:cubicBezTo>
                    <a:pt x="4028" y="15197"/>
                    <a:pt x="4028" y="15197"/>
                    <a:pt x="4028" y="15197"/>
                  </a:cubicBezTo>
                  <a:lnTo>
                    <a:pt x="3922" y="15258"/>
                  </a:lnTo>
                  <a:close/>
                  <a:moveTo>
                    <a:pt x="4409" y="15530"/>
                  </a:moveTo>
                  <a:cubicBezTo>
                    <a:pt x="4465" y="15610"/>
                    <a:pt x="4465" y="15610"/>
                    <a:pt x="4465" y="15610"/>
                  </a:cubicBezTo>
                  <a:cubicBezTo>
                    <a:pt x="4469" y="15615"/>
                    <a:pt x="4469" y="15615"/>
                    <a:pt x="4469" y="15615"/>
                  </a:cubicBezTo>
                  <a:cubicBezTo>
                    <a:pt x="4590" y="15530"/>
                    <a:pt x="4590" y="15530"/>
                    <a:pt x="4590" y="15530"/>
                  </a:cubicBezTo>
                  <a:cubicBezTo>
                    <a:pt x="4530" y="15445"/>
                    <a:pt x="4530" y="15445"/>
                    <a:pt x="4530" y="15445"/>
                  </a:cubicBezTo>
                  <a:lnTo>
                    <a:pt x="4409" y="15530"/>
                  </a:lnTo>
                  <a:close/>
                  <a:moveTo>
                    <a:pt x="4472" y="15597"/>
                  </a:moveTo>
                  <a:cubicBezTo>
                    <a:pt x="4427" y="15533"/>
                    <a:pt x="4427" y="15533"/>
                    <a:pt x="4427" y="15533"/>
                  </a:cubicBezTo>
                  <a:cubicBezTo>
                    <a:pt x="4527" y="15463"/>
                    <a:pt x="4527" y="15463"/>
                    <a:pt x="4527" y="15463"/>
                  </a:cubicBezTo>
                  <a:cubicBezTo>
                    <a:pt x="4572" y="15527"/>
                    <a:pt x="4572" y="15527"/>
                    <a:pt x="4572" y="15527"/>
                  </a:cubicBezTo>
                  <a:lnTo>
                    <a:pt x="4472" y="15597"/>
                  </a:lnTo>
                  <a:close/>
                  <a:moveTo>
                    <a:pt x="2212" y="14962"/>
                  </a:moveTo>
                  <a:cubicBezTo>
                    <a:pt x="2309" y="14850"/>
                    <a:pt x="2309" y="14850"/>
                    <a:pt x="2309" y="14850"/>
                  </a:cubicBezTo>
                  <a:cubicBezTo>
                    <a:pt x="2231" y="14782"/>
                    <a:pt x="2231" y="14782"/>
                    <a:pt x="2231" y="14782"/>
                  </a:cubicBezTo>
                  <a:cubicBezTo>
                    <a:pt x="2134" y="14894"/>
                    <a:pt x="2134" y="14894"/>
                    <a:pt x="2134" y="14894"/>
                  </a:cubicBezTo>
                  <a:cubicBezTo>
                    <a:pt x="2208" y="14958"/>
                    <a:pt x="2208" y="14958"/>
                    <a:pt x="2208" y="14958"/>
                  </a:cubicBezTo>
                  <a:lnTo>
                    <a:pt x="2212" y="14962"/>
                  </a:lnTo>
                  <a:close/>
                  <a:moveTo>
                    <a:pt x="2232" y="14800"/>
                  </a:moveTo>
                  <a:cubicBezTo>
                    <a:pt x="2291" y="14852"/>
                    <a:pt x="2291" y="14852"/>
                    <a:pt x="2291" y="14852"/>
                  </a:cubicBezTo>
                  <a:cubicBezTo>
                    <a:pt x="2211" y="14944"/>
                    <a:pt x="2211" y="14944"/>
                    <a:pt x="2211" y="14944"/>
                  </a:cubicBezTo>
                  <a:cubicBezTo>
                    <a:pt x="2152" y="14892"/>
                    <a:pt x="2152" y="14892"/>
                    <a:pt x="2152" y="14892"/>
                  </a:cubicBezTo>
                  <a:lnTo>
                    <a:pt x="2232" y="14800"/>
                  </a:lnTo>
                  <a:close/>
                  <a:moveTo>
                    <a:pt x="4369" y="15395"/>
                  </a:moveTo>
                  <a:cubicBezTo>
                    <a:pt x="4369" y="15401"/>
                    <a:pt x="4369" y="15401"/>
                    <a:pt x="4369" y="15401"/>
                  </a:cubicBezTo>
                  <a:cubicBezTo>
                    <a:pt x="4445" y="15401"/>
                    <a:pt x="4445" y="15401"/>
                    <a:pt x="4445" y="15401"/>
                  </a:cubicBezTo>
                  <a:cubicBezTo>
                    <a:pt x="4445" y="15310"/>
                    <a:pt x="4445" y="15310"/>
                    <a:pt x="4445" y="15310"/>
                  </a:cubicBezTo>
                  <a:cubicBezTo>
                    <a:pt x="4384" y="15310"/>
                    <a:pt x="4384" y="15310"/>
                    <a:pt x="4384" y="15310"/>
                  </a:cubicBezTo>
                  <a:cubicBezTo>
                    <a:pt x="4384" y="15294"/>
                    <a:pt x="4384" y="15294"/>
                    <a:pt x="4384" y="15294"/>
                  </a:cubicBezTo>
                  <a:cubicBezTo>
                    <a:pt x="4429" y="15294"/>
                    <a:pt x="4429" y="15294"/>
                    <a:pt x="4429" y="15294"/>
                  </a:cubicBezTo>
                  <a:cubicBezTo>
                    <a:pt x="4429" y="15203"/>
                    <a:pt x="4429" y="15203"/>
                    <a:pt x="4429" y="15203"/>
                  </a:cubicBezTo>
                  <a:cubicBezTo>
                    <a:pt x="4353" y="15203"/>
                    <a:pt x="4353" y="15203"/>
                    <a:pt x="4353" y="15203"/>
                  </a:cubicBezTo>
                  <a:cubicBezTo>
                    <a:pt x="4353" y="15270"/>
                    <a:pt x="4353" y="15270"/>
                    <a:pt x="4353" y="15270"/>
                  </a:cubicBezTo>
                  <a:cubicBezTo>
                    <a:pt x="4308" y="15270"/>
                    <a:pt x="4308" y="15270"/>
                    <a:pt x="4308" y="15270"/>
                  </a:cubicBezTo>
                  <a:cubicBezTo>
                    <a:pt x="4308" y="15355"/>
                    <a:pt x="4308" y="15355"/>
                    <a:pt x="4308" y="15355"/>
                  </a:cubicBezTo>
                  <a:cubicBezTo>
                    <a:pt x="4308" y="15362"/>
                    <a:pt x="4308" y="15362"/>
                    <a:pt x="4308" y="15362"/>
                  </a:cubicBezTo>
                  <a:cubicBezTo>
                    <a:pt x="4369" y="15362"/>
                    <a:pt x="4369" y="15362"/>
                    <a:pt x="4369" y="15362"/>
                  </a:cubicBezTo>
                  <a:lnTo>
                    <a:pt x="4369" y="15395"/>
                  </a:lnTo>
                  <a:close/>
                  <a:moveTo>
                    <a:pt x="4432" y="15323"/>
                  </a:moveTo>
                  <a:cubicBezTo>
                    <a:pt x="4432" y="15388"/>
                    <a:pt x="4432" y="15388"/>
                    <a:pt x="4432" y="15388"/>
                  </a:cubicBezTo>
                  <a:cubicBezTo>
                    <a:pt x="4382" y="15388"/>
                    <a:pt x="4382" y="15388"/>
                    <a:pt x="4382" y="15388"/>
                  </a:cubicBezTo>
                  <a:cubicBezTo>
                    <a:pt x="4382" y="15362"/>
                    <a:pt x="4382" y="15362"/>
                    <a:pt x="4382" y="15362"/>
                  </a:cubicBezTo>
                  <a:cubicBezTo>
                    <a:pt x="4384" y="15362"/>
                    <a:pt x="4384" y="15362"/>
                    <a:pt x="4384" y="15362"/>
                  </a:cubicBezTo>
                  <a:cubicBezTo>
                    <a:pt x="4384" y="15323"/>
                    <a:pt x="4384" y="15323"/>
                    <a:pt x="4384" y="15323"/>
                  </a:cubicBezTo>
                  <a:lnTo>
                    <a:pt x="4432" y="15323"/>
                  </a:lnTo>
                  <a:close/>
                  <a:moveTo>
                    <a:pt x="4366" y="15216"/>
                  </a:moveTo>
                  <a:cubicBezTo>
                    <a:pt x="4416" y="15216"/>
                    <a:pt x="4416" y="15216"/>
                    <a:pt x="4416" y="15216"/>
                  </a:cubicBezTo>
                  <a:cubicBezTo>
                    <a:pt x="4416" y="15281"/>
                    <a:pt x="4416" y="15281"/>
                    <a:pt x="4416" y="15281"/>
                  </a:cubicBezTo>
                  <a:cubicBezTo>
                    <a:pt x="4384" y="15281"/>
                    <a:pt x="4384" y="15281"/>
                    <a:pt x="4384" y="15281"/>
                  </a:cubicBezTo>
                  <a:cubicBezTo>
                    <a:pt x="4384" y="15270"/>
                    <a:pt x="4384" y="15270"/>
                    <a:pt x="4384" y="15270"/>
                  </a:cubicBezTo>
                  <a:cubicBezTo>
                    <a:pt x="4366" y="15270"/>
                    <a:pt x="4366" y="15270"/>
                    <a:pt x="4366" y="15270"/>
                  </a:cubicBezTo>
                  <a:lnTo>
                    <a:pt x="4366" y="15216"/>
                  </a:lnTo>
                  <a:close/>
                  <a:moveTo>
                    <a:pt x="4322" y="15348"/>
                  </a:moveTo>
                  <a:cubicBezTo>
                    <a:pt x="4322" y="15283"/>
                    <a:pt x="4322" y="15283"/>
                    <a:pt x="4322" y="15283"/>
                  </a:cubicBezTo>
                  <a:cubicBezTo>
                    <a:pt x="4353" y="15283"/>
                    <a:pt x="4353" y="15283"/>
                    <a:pt x="4353" y="15283"/>
                  </a:cubicBezTo>
                  <a:cubicBezTo>
                    <a:pt x="4353" y="15287"/>
                    <a:pt x="4353" y="15287"/>
                    <a:pt x="4353" y="15287"/>
                  </a:cubicBezTo>
                  <a:cubicBezTo>
                    <a:pt x="4353" y="15294"/>
                    <a:pt x="4353" y="15294"/>
                    <a:pt x="4353" y="15294"/>
                  </a:cubicBezTo>
                  <a:cubicBezTo>
                    <a:pt x="4371" y="15294"/>
                    <a:pt x="4371" y="15294"/>
                    <a:pt x="4371" y="15294"/>
                  </a:cubicBezTo>
                  <a:cubicBezTo>
                    <a:pt x="4371" y="15310"/>
                    <a:pt x="4371" y="15310"/>
                    <a:pt x="4371" y="15310"/>
                  </a:cubicBezTo>
                  <a:cubicBezTo>
                    <a:pt x="4369" y="15310"/>
                    <a:pt x="4369" y="15310"/>
                    <a:pt x="4369" y="15310"/>
                  </a:cubicBezTo>
                  <a:cubicBezTo>
                    <a:pt x="4369" y="15348"/>
                    <a:pt x="4369" y="15348"/>
                    <a:pt x="4369" y="15348"/>
                  </a:cubicBezTo>
                  <a:lnTo>
                    <a:pt x="4322" y="15348"/>
                  </a:lnTo>
                  <a:close/>
                  <a:moveTo>
                    <a:pt x="6238" y="14689"/>
                  </a:moveTo>
                  <a:cubicBezTo>
                    <a:pt x="6162" y="14689"/>
                    <a:pt x="6162" y="14689"/>
                    <a:pt x="6162" y="14689"/>
                  </a:cubicBezTo>
                  <a:cubicBezTo>
                    <a:pt x="6162" y="14773"/>
                    <a:pt x="6162" y="14773"/>
                    <a:pt x="6162" y="14773"/>
                  </a:cubicBezTo>
                  <a:cubicBezTo>
                    <a:pt x="6162" y="14780"/>
                    <a:pt x="6162" y="14780"/>
                    <a:pt x="6162" y="14780"/>
                  </a:cubicBezTo>
                  <a:cubicBezTo>
                    <a:pt x="6238" y="14780"/>
                    <a:pt x="6238" y="14780"/>
                    <a:pt x="6238" y="14780"/>
                  </a:cubicBezTo>
                  <a:lnTo>
                    <a:pt x="6238" y="14689"/>
                  </a:lnTo>
                  <a:close/>
                  <a:moveTo>
                    <a:pt x="6225" y="14767"/>
                  </a:moveTo>
                  <a:cubicBezTo>
                    <a:pt x="6175" y="14767"/>
                    <a:pt x="6175" y="14767"/>
                    <a:pt x="6175" y="14767"/>
                  </a:cubicBezTo>
                  <a:cubicBezTo>
                    <a:pt x="6175" y="14702"/>
                    <a:pt x="6175" y="14702"/>
                    <a:pt x="6175" y="14702"/>
                  </a:cubicBezTo>
                  <a:cubicBezTo>
                    <a:pt x="6225" y="14702"/>
                    <a:pt x="6225" y="14702"/>
                    <a:pt x="6225" y="14702"/>
                  </a:cubicBezTo>
                  <a:lnTo>
                    <a:pt x="6225" y="14767"/>
                  </a:lnTo>
                  <a:close/>
                  <a:moveTo>
                    <a:pt x="6475" y="14694"/>
                  </a:moveTo>
                  <a:cubicBezTo>
                    <a:pt x="6400" y="14694"/>
                    <a:pt x="6400" y="14694"/>
                    <a:pt x="6400" y="14694"/>
                  </a:cubicBezTo>
                  <a:cubicBezTo>
                    <a:pt x="6400" y="14779"/>
                    <a:pt x="6400" y="14779"/>
                    <a:pt x="6400" y="14779"/>
                  </a:cubicBezTo>
                  <a:cubicBezTo>
                    <a:pt x="6400" y="14785"/>
                    <a:pt x="6400" y="14785"/>
                    <a:pt x="6400" y="14785"/>
                  </a:cubicBezTo>
                  <a:cubicBezTo>
                    <a:pt x="6475" y="14785"/>
                    <a:pt x="6475" y="14785"/>
                    <a:pt x="6475" y="14785"/>
                  </a:cubicBezTo>
                  <a:lnTo>
                    <a:pt x="6475" y="14694"/>
                  </a:lnTo>
                  <a:close/>
                  <a:moveTo>
                    <a:pt x="6462" y="14772"/>
                  </a:moveTo>
                  <a:cubicBezTo>
                    <a:pt x="6413" y="14772"/>
                    <a:pt x="6413" y="14772"/>
                    <a:pt x="6413" y="14772"/>
                  </a:cubicBezTo>
                  <a:cubicBezTo>
                    <a:pt x="6413" y="14707"/>
                    <a:pt x="6413" y="14707"/>
                    <a:pt x="6413" y="14707"/>
                  </a:cubicBezTo>
                  <a:cubicBezTo>
                    <a:pt x="6462" y="14707"/>
                    <a:pt x="6462" y="14707"/>
                    <a:pt x="6462" y="14707"/>
                  </a:cubicBezTo>
                  <a:lnTo>
                    <a:pt x="6462" y="14772"/>
                  </a:lnTo>
                  <a:close/>
                  <a:moveTo>
                    <a:pt x="6601" y="13574"/>
                  </a:moveTo>
                  <a:cubicBezTo>
                    <a:pt x="6518" y="13576"/>
                    <a:pt x="6518" y="13576"/>
                    <a:pt x="6518" y="13576"/>
                  </a:cubicBezTo>
                  <a:cubicBezTo>
                    <a:pt x="6520" y="13757"/>
                    <a:pt x="6520" y="13757"/>
                    <a:pt x="6520" y="13757"/>
                  </a:cubicBezTo>
                  <a:cubicBezTo>
                    <a:pt x="6643" y="13758"/>
                    <a:pt x="6643" y="13758"/>
                    <a:pt x="6643" y="13758"/>
                  </a:cubicBezTo>
                  <a:cubicBezTo>
                    <a:pt x="6643" y="13660"/>
                    <a:pt x="6643" y="13660"/>
                    <a:pt x="6643" y="13660"/>
                  </a:cubicBezTo>
                  <a:cubicBezTo>
                    <a:pt x="6730" y="13659"/>
                    <a:pt x="6730" y="13659"/>
                    <a:pt x="6730" y="13659"/>
                  </a:cubicBezTo>
                  <a:cubicBezTo>
                    <a:pt x="6731" y="13489"/>
                    <a:pt x="6731" y="13489"/>
                    <a:pt x="6731" y="13489"/>
                  </a:cubicBezTo>
                  <a:cubicBezTo>
                    <a:pt x="6601" y="13490"/>
                    <a:pt x="6601" y="13490"/>
                    <a:pt x="6601" y="13490"/>
                  </a:cubicBezTo>
                  <a:lnTo>
                    <a:pt x="6601" y="13574"/>
                  </a:lnTo>
                  <a:close/>
                  <a:moveTo>
                    <a:pt x="6718" y="13502"/>
                  </a:moveTo>
                  <a:cubicBezTo>
                    <a:pt x="6717" y="13646"/>
                    <a:pt x="6717" y="13646"/>
                    <a:pt x="6717" y="13646"/>
                  </a:cubicBezTo>
                  <a:cubicBezTo>
                    <a:pt x="6637" y="13647"/>
                    <a:pt x="6637" y="13647"/>
                    <a:pt x="6637" y="13647"/>
                  </a:cubicBezTo>
                  <a:cubicBezTo>
                    <a:pt x="6630" y="13647"/>
                    <a:pt x="6630" y="13647"/>
                    <a:pt x="6630" y="13647"/>
                  </a:cubicBezTo>
                  <a:cubicBezTo>
                    <a:pt x="6630" y="13744"/>
                    <a:pt x="6630" y="13744"/>
                    <a:pt x="6630" y="13744"/>
                  </a:cubicBezTo>
                  <a:cubicBezTo>
                    <a:pt x="6533" y="13744"/>
                    <a:pt x="6533" y="13744"/>
                    <a:pt x="6533" y="13744"/>
                  </a:cubicBezTo>
                  <a:cubicBezTo>
                    <a:pt x="6531" y="13588"/>
                    <a:pt x="6531" y="13588"/>
                    <a:pt x="6531" y="13588"/>
                  </a:cubicBezTo>
                  <a:cubicBezTo>
                    <a:pt x="6615" y="13587"/>
                    <a:pt x="6615" y="13587"/>
                    <a:pt x="6615" y="13587"/>
                  </a:cubicBezTo>
                  <a:cubicBezTo>
                    <a:pt x="6614" y="13503"/>
                    <a:pt x="6614" y="13503"/>
                    <a:pt x="6614" y="13503"/>
                  </a:cubicBezTo>
                  <a:lnTo>
                    <a:pt x="6718" y="13502"/>
                  </a:lnTo>
                  <a:close/>
                  <a:moveTo>
                    <a:pt x="7083" y="13508"/>
                  </a:moveTo>
                  <a:cubicBezTo>
                    <a:pt x="7000" y="13509"/>
                    <a:pt x="7000" y="13509"/>
                    <a:pt x="7000" y="13509"/>
                  </a:cubicBezTo>
                  <a:cubicBezTo>
                    <a:pt x="7002" y="13691"/>
                    <a:pt x="7002" y="13691"/>
                    <a:pt x="7002" y="13691"/>
                  </a:cubicBezTo>
                  <a:cubicBezTo>
                    <a:pt x="7125" y="13691"/>
                    <a:pt x="7125" y="13691"/>
                    <a:pt x="7125" y="13691"/>
                  </a:cubicBezTo>
                  <a:cubicBezTo>
                    <a:pt x="7125" y="13594"/>
                    <a:pt x="7125" y="13594"/>
                    <a:pt x="7125" y="13594"/>
                  </a:cubicBezTo>
                  <a:cubicBezTo>
                    <a:pt x="7212" y="13593"/>
                    <a:pt x="7212" y="13593"/>
                    <a:pt x="7212" y="13593"/>
                  </a:cubicBezTo>
                  <a:cubicBezTo>
                    <a:pt x="7213" y="13422"/>
                    <a:pt x="7213" y="13422"/>
                    <a:pt x="7213" y="13422"/>
                  </a:cubicBezTo>
                  <a:cubicBezTo>
                    <a:pt x="7083" y="13423"/>
                    <a:pt x="7083" y="13423"/>
                    <a:pt x="7083" y="13423"/>
                  </a:cubicBezTo>
                  <a:lnTo>
                    <a:pt x="7083" y="13508"/>
                  </a:lnTo>
                  <a:close/>
                  <a:moveTo>
                    <a:pt x="7200" y="13435"/>
                  </a:moveTo>
                  <a:cubicBezTo>
                    <a:pt x="7199" y="13580"/>
                    <a:pt x="7199" y="13580"/>
                    <a:pt x="7199" y="13580"/>
                  </a:cubicBezTo>
                  <a:cubicBezTo>
                    <a:pt x="7119" y="13580"/>
                    <a:pt x="7119" y="13580"/>
                    <a:pt x="7119" y="13580"/>
                  </a:cubicBezTo>
                  <a:cubicBezTo>
                    <a:pt x="7112" y="13581"/>
                    <a:pt x="7112" y="13581"/>
                    <a:pt x="7112" y="13581"/>
                  </a:cubicBezTo>
                  <a:cubicBezTo>
                    <a:pt x="7112" y="13678"/>
                    <a:pt x="7112" y="13678"/>
                    <a:pt x="7112" y="13678"/>
                  </a:cubicBezTo>
                  <a:cubicBezTo>
                    <a:pt x="7015" y="13678"/>
                    <a:pt x="7015" y="13678"/>
                    <a:pt x="7015" y="13678"/>
                  </a:cubicBezTo>
                  <a:cubicBezTo>
                    <a:pt x="7013" y="13522"/>
                    <a:pt x="7013" y="13522"/>
                    <a:pt x="7013" y="13522"/>
                  </a:cubicBezTo>
                  <a:cubicBezTo>
                    <a:pt x="7097" y="13521"/>
                    <a:pt x="7097" y="13521"/>
                    <a:pt x="7097" y="13521"/>
                  </a:cubicBezTo>
                  <a:cubicBezTo>
                    <a:pt x="7096" y="13436"/>
                    <a:pt x="7096" y="13436"/>
                    <a:pt x="7096" y="13436"/>
                  </a:cubicBezTo>
                  <a:lnTo>
                    <a:pt x="7200" y="13435"/>
                  </a:lnTo>
                  <a:close/>
                  <a:moveTo>
                    <a:pt x="6930" y="12189"/>
                  </a:moveTo>
                  <a:cubicBezTo>
                    <a:pt x="6990" y="12107"/>
                    <a:pt x="6990" y="12107"/>
                    <a:pt x="6990" y="12107"/>
                  </a:cubicBezTo>
                  <a:cubicBezTo>
                    <a:pt x="6994" y="12102"/>
                    <a:pt x="6994" y="12102"/>
                    <a:pt x="6994" y="12102"/>
                  </a:cubicBezTo>
                  <a:cubicBezTo>
                    <a:pt x="6914" y="12043"/>
                    <a:pt x="6914" y="12043"/>
                    <a:pt x="6914" y="12043"/>
                  </a:cubicBezTo>
                  <a:cubicBezTo>
                    <a:pt x="6910" y="12048"/>
                    <a:pt x="6910" y="12048"/>
                    <a:pt x="6910" y="12048"/>
                  </a:cubicBezTo>
                  <a:cubicBezTo>
                    <a:pt x="6906" y="12054"/>
                    <a:pt x="6906" y="12054"/>
                    <a:pt x="6906" y="12054"/>
                  </a:cubicBezTo>
                  <a:cubicBezTo>
                    <a:pt x="6862" y="12022"/>
                    <a:pt x="6862" y="12022"/>
                    <a:pt x="6862" y="12022"/>
                  </a:cubicBezTo>
                  <a:cubicBezTo>
                    <a:pt x="6737" y="12192"/>
                    <a:pt x="6737" y="12192"/>
                    <a:pt x="6737" y="12192"/>
                  </a:cubicBezTo>
                  <a:cubicBezTo>
                    <a:pt x="6801" y="12238"/>
                    <a:pt x="6801" y="12238"/>
                    <a:pt x="6801" y="12238"/>
                  </a:cubicBezTo>
                  <a:cubicBezTo>
                    <a:pt x="6852" y="12168"/>
                    <a:pt x="6852" y="12168"/>
                    <a:pt x="6852" y="12168"/>
                  </a:cubicBezTo>
                  <a:cubicBezTo>
                    <a:pt x="6864" y="12178"/>
                    <a:pt x="6864" y="12178"/>
                    <a:pt x="6864" y="12178"/>
                  </a:cubicBezTo>
                  <a:cubicBezTo>
                    <a:pt x="6752" y="12331"/>
                    <a:pt x="6752" y="12331"/>
                    <a:pt x="6752" y="12331"/>
                  </a:cubicBezTo>
                  <a:cubicBezTo>
                    <a:pt x="6814" y="12376"/>
                    <a:pt x="6814" y="12376"/>
                    <a:pt x="6814" y="12376"/>
                  </a:cubicBezTo>
                  <a:cubicBezTo>
                    <a:pt x="6855" y="12319"/>
                    <a:pt x="6855" y="12319"/>
                    <a:pt x="6855" y="12319"/>
                  </a:cubicBezTo>
                  <a:cubicBezTo>
                    <a:pt x="6916" y="12363"/>
                    <a:pt x="6916" y="12363"/>
                    <a:pt x="6916" y="12363"/>
                  </a:cubicBezTo>
                  <a:cubicBezTo>
                    <a:pt x="7004" y="12243"/>
                    <a:pt x="7004" y="12243"/>
                    <a:pt x="7004" y="12243"/>
                  </a:cubicBezTo>
                  <a:lnTo>
                    <a:pt x="6930" y="12189"/>
                  </a:lnTo>
                  <a:close/>
                  <a:moveTo>
                    <a:pt x="6914" y="12345"/>
                  </a:moveTo>
                  <a:cubicBezTo>
                    <a:pt x="6852" y="12300"/>
                    <a:pt x="6852" y="12300"/>
                    <a:pt x="6852" y="12300"/>
                  </a:cubicBezTo>
                  <a:cubicBezTo>
                    <a:pt x="6811" y="12357"/>
                    <a:pt x="6811" y="12357"/>
                    <a:pt x="6811" y="12357"/>
                  </a:cubicBezTo>
                  <a:cubicBezTo>
                    <a:pt x="6771" y="12328"/>
                    <a:pt x="6771" y="12328"/>
                    <a:pt x="6771" y="12328"/>
                  </a:cubicBezTo>
                  <a:cubicBezTo>
                    <a:pt x="6883" y="12175"/>
                    <a:pt x="6883" y="12175"/>
                    <a:pt x="6883" y="12175"/>
                  </a:cubicBezTo>
                  <a:cubicBezTo>
                    <a:pt x="6849" y="12150"/>
                    <a:pt x="6849" y="12150"/>
                    <a:pt x="6849" y="12150"/>
                  </a:cubicBezTo>
                  <a:cubicBezTo>
                    <a:pt x="6798" y="12220"/>
                    <a:pt x="6798" y="12220"/>
                    <a:pt x="6798" y="12220"/>
                  </a:cubicBezTo>
                  <a:cubicBezTo>
                    <a:pt x="6756" y="12189"/>
                    <a:pt x="6756" y="12189"/>
                    <a:pt x="6756" y="12189"/>
                  </a:cubicBezTo>
                  <a:cubicBezTo>
                    <a:pt x="6865" y="12040"/>
                    <a:pt x="6865" y="12040"/>
                    <a:pt x="6865" y="12040"/>
                  </a:cubicBezTo>
                  <a:cubicBezTo>
                    <a:pt x="6909" y="12073"/>
                    <a:pt x="6909" y="12073"/>
                    <a:pt x="6909" y="12073"/>
                  </a:cubicBezTo>
                  <a:cubicBezTo>
                    <a:pt x="6913" y="12067"/>
                    <a:pt x="6913" y="12067"/>
                    <a:pt x="6913" y="12067"/>
                  </a:cubicBezTo>
                  <a:cubicBezTo>
                    <a:pt x="6917" y="12062"/>
                    <a:pt x="6917" y="12062"/>
                    <a:pt x="6917" y="12062"/>
                  </a:cubicBezTo>
                  <a:cubicBezTo>
                    <a:pt x="6976" y="12105"/>
                    <a:pt x="6976" y="12105"/>
                    <a:pt x="6976" y="12105"/>
                  </a:cubicBezTo>
                  <a:cubicBezTo>
                    <a:pt x="6912" y="12192"/>
                    <a:pt x="6912" y="12192"/>
                    <a:pt x="6912" y="12192"/>
                  </a:cubicBezTo>
                  <a:cubicBezTo>
                    <a:pt x="6985" y="12246"/>
                    <a:pt x="6985" y="12246"/>
                    <a:pt x="6985" y="12246"/>
                  </a:cubicBezTo>
                  <a:lnTo>
                    <a:pt x="6914" y="12345"/>
                  </a:lnTo>
                  <a:close/>
                  <a:moveTo>
                    <a:pt x="7523" y="11287"/>
                  </a:moveTo>
                  <a:cubicBezTo>
                    <a:pt x="7503" y="11363"/>
                    <a:pt x="7503" y="11363"/>
                    <a:pt x="7503" y="11363"/>
                  </a:cubicBezTo>
                  <a:cubicBezTo>
                    <a:pt x="7587" y="11385"/>
                    <a:pt x="7587" y="11385"/>
                    <a:pt x="7587" y="11385"/>
                  </a:cubicBezTo>
                  <a:cubicBezTo>
                    <a:pt x="7583" y="11400"/>
                    <a:pt x="7583" y="11400"/>
                    <a:pt x="7583" y="11400"/>
                  </a:cubicBezTo>
                  <a:cubicBezTo>
                    <a:pt x="7399" y="11352"/>
                    <a:pt x="7399" y="11352"/>
                    <a:pt x="7399" y="11352"/>
                  </a:cubicBezTo>
                  <a:cubicBezTo>
                    <a:pt x="7380" y="11426"/>
                    <a:pt x="7380" y="11426"/>
                    <a:pt x="7380" y="11426"/>
                  </a:cubicBezTo>
                  <a:cubicBezTo>
                    <a:pt x="7448" y="11444"/>
                    <a:pt x="7448" y="11444"/>
                    <a:pt x="7448" y="11444"/>
                  </a:cubicBezTo>
                  <a:cubicBezTo>
                    <a:pt x="7429" y="11517"/>
                    <a:pt x="7429" y="11517"/>
                    <a:pt x="7429" y="11517"/>
                  </a:cubicBezTo>
                  <a:cubicBezTo>
                    <a:pt x="7573" y="11555"/>
                    <a:pt x="7573" y="11555"/>
                    <a:pt x="7573" y="11555"/>
                  </a:cubicBezTo>
                  <a:cubicBezTo>
                    <a:pt x="7596" y="11466"/>
                    <a:pt x="7596" y="11466"/>
                    <a:pt x="7596" y="11466"/>
                  </a:cubicBezTo>
                  <a:cubicBezTo>
                    <a:pt x="7695" y="11492"/>
                    <a:pt x="7695" y="11492"/>
                    <a:pt x="7695" y="11492"/>
                  </a:cubicBezTo>
                  <a:cubicBezTo>
                    <a:pt x="7701" y="11493"/>
                    <a:pt x="7701" y="11493"/>
                    <a:pt x="7701" y="11493"/>
                  </a:cubicBezTo>
                  <a:cubicBezTo>
                    <a:pt x="7726" y="11397"/>
                    <a:pt x="7726" y="11397"/>
                    <a:pt x="7726" y="11397"/>
                  </a:cubicBezTo>
                  <a:cubicBezTo>
                    <a:pt x="7720" y="11395"/>
                    <a:pt x="7720" y="11395"/>
                    <a:pt x="7720" y="11395"/>
                  </a:cubicBezTo>
                  <a:cubicBezTo>
                    <a:pt x="7713" y="11394"/>
                    <a:pt x="7713" y="11394"/>
                    <a:pt x="7713" y="11394"/>
                  </a:cubicBezTo>
                  <a:cubicBezTo>
                    <a:pt x="7727" y="11341"/>
                    <a:pt x="7727" y="11341"/>
                    <a:pt x="7727" y="11341"/>
                  </a:cubicBezTo>
                  <a:lnTo>
                    <a:pt x="7523" y="11287"/>
                  </a:lnTo>
                  <a:close/>
                  <a:moveTo>
                    <a:pt x="7703" y="11405"/>
                  </a:moveTo>
                  <a:cubicBezTo>
                    <a:pt x="7710" y="11407"/>
                    <a:pt x="7710" y="11407"/>
                    <a:pt x="7710" y="11407"/>
                  </a:cubicBezTo>
                  <a:cubicBezTo>
                    <a:pt x="7692" y="11477"/>
                    <a:pt x="7692" y="11477"/>
                    <a:pt x="7692" y="11477"/>
                  </a:cubicBezTo>
                  <a:cubicBezTo>
                    <a:pt x="7587" y="11450"/>
                    <a:pt x="7587" y="11450"/>
                    <a:pt x="7587" y="11450"/>
                  </a:cubicBezTo>
                  <a:cubicBezTo>
                    <a:pt x="7564" y="11538"/>
                    <a:pt x="7564" y="11538"/>
                    <a:pt x="7564" y="11538"/>
                  </a:cubicBezTo>
                  <a:cubicBezTo>
                    <a:pt x="7446" y="11507"/>
                    <a:pt x="7446" y="11507"/>
                    <a:pt x="7446" y="11507"/>
                  </a:cubicBezTo>
                  <a:cubicBezTo>
                    <a:pt x="7465" y="11434"/>
                    <a:pt x="7465" y="11434"/>
                    <a:pt x="7465" y="11434"/>
                  </a:cubicBezTo>
                  <a:cubicBezTo>
                    <a:pt x="7396" y="11416"/>
                    <a:pt x="7396" y="11416"/>
                    <a:pt x="7396" y="11416"/>
                  </a:cubicBezTo>
                  <a:cubicBezTo>
                    <a:pt x="7409" y="11369"/>
                    <a:pt x="7409" y="11369"/>
                    <a:pt x="7409" y="11369"/>
                  </a:cubicBezTo>
                  <a:cubicBezTo>
                    <a:pt x="7592" y="11416"/>
                    <a:pt x="7592" y="11416"/>
                    <a:pt x="7592" y="11416"/>
                  </a:cubicBezTo>
                  <a:cubicBezTo>
                    <a:pt x="7603" y="11376"/>
                    <a:pt x="7603" y="11376"/>
                    <a:pt x="7603" y="11376"/>
                  </a:cubicBezTo>
                  <a:cubicBezTo>
                    <a:pt x="7519" y="11354"/>
                    <a:pt x="7519" y="11354"/>
                    <a:pt x="7519" y="11354"/>
                  </a:cubicBezTo>
                  <a:cubicBezTo>
                    <a:pt x="7532" y="11304"/>
                    <a:pt x="7532" y="11304"/>
                    <a:pt x="7532" y="11304"/>
                  </a:cubicBezTo>
                  <a:cubicBezTo>
                    <a:pt x="7711" y="11350"/>
                    <a:pt x="7711" y="11350"/>
                    <a:pt x="7711" y="11350"/>
                  </a:cubicBezTo>
                  <a:cubicBezTo>
                    <a:pt x="7697" y="11403"/>
                    <a:pt x="7697" y="11403"/>
                    <a:pt x="7697" y="11403"/>
                  </a:cubicBezTo>
                  <a:lnTo>
                    <a:pt x="7703" y="11405"/>
                  </a:lnTo>
                  <a:close/>
                  <a:moveTo>
                    <a:pt x="5432" y="9752"/>
                  </a:moveTo>
                  <a:cubicBezTo>
                    <a:pt x="5577" y="9754"/>
                    <a:pt x="5577" y="9754"/>
                    <a:pt x="5577" y="9754"/>
                  </a:cubicBezTo>
                  <a:cubicBezTo>
                    <a:pt x="5583" y="9755"/>
                    <a:pt x="5583" y="9755"/>
                    <a:pt x="5583" y="9755"/>
                  </a:cubicBezTo>
                  <a:cubicBezTo>
                    <a:pt x="5584" y="9683"/>
                    <a:pt x="5584" y="9683"/>
                    <a:pt x="5584" y="9683"/>
                  </a:cubicBezTo>
                  <a:cubicBezTo>
                    <a:pt x="5433" y="9681"/>
                    <a:pt x="5433" y="9681"/>
                    <a:pt x="5433" y="9681"/>
                  </a:cubicBezTo>
                  <a:lnTo>
                    <a:pt x="5432" y="9752"/>
                  </a:lnTo>
                  <a:close/>
                  <a:moveTo>
                    <a:pt x="5446" y="9693"/>
                  </a:moveTo>
                  <a:cubicBezTo>
                    <a:pt x="5571" y="9696"/>
                    <a:pt x="5571" y="9696"/>
                    <a:pt x="5571" y="9696"/>
                  </a:cubicBezTo>
                  <a:cubicBezTo>
                    <a:pt x="5570" y="9742"/>
                    <a:pt x="5570" y="9742"/>
                    <a:pt x="5570" y="9742"/>
                  </a:cubicBezTo>
                  <a:cubicBezTo>
                    <a:pt x="5445" y="9739"/>
                    <a:pt x="5445" y="9739"/>
                    <a:pt x="5445" y="9739"/>
                  </a:cubicBezTo>
                  <a:lnTo>
                    <a:pt x="5446" y="9693"/>
                  </a:lnTo>
                  <a:close/>
                  <a:moveTo>
                    <a:pt x="5435" y="9587"/>
                  </a:moveTo>
                  <a:cubicBezTo>
                    <a:pt x="5578" y="9612"/>
                    <a:pt x="5578" y="9612"/>
                    <a:pt x="5578" y="9612"/>
                  </a:cubicBezTo>
                  <a:cubicBezTo>
                    <a:pt x="5584" y="9613"/>
                    <a:pt x="5584" y="9613"/>
                    <a:pt x="5584" y="9613"/>
                  </a:cubicBezTo>
                  <a:cubicBezTo>
                    <a:pt x="5596" y="9543"/>
                    <a:pt x="5596" y="9543"/>
                    <a:pt x="5596" y="9543"/>
                  </a:cubicBezTo>
                  <a:cubicBezTo>
                    <a:pt x="5447" y="9517"/>
                    <a:pt x="5447" y="9517"/>
                    <a:pt x="5447" y="9517"/>
                  </a:cubicBezTo>
                  <a:lnTo>
                    <a:pt x="5435" y="9587"/>
                  </a:lnTo>
                  <a:close/>
                  <a:moveTo>
                    <a:pt x="5458" y="9531"/>
                  </a:moveTo>
                  <a:cubicBezTo>
                    <a:pt x="5581" y="9553"/>
                    <a:pt x="5581" y="9553"/>
                    <a:pt x="5581" y="9553"/>
                  </a:cubicBezTo>
                  <a:cubicBezTo>
                    <a:pt x="5574" y="9598"/>
                    <a:pt x="5574" y="9598"/>
                    <a:pt x="5574" y="9598"/>
                  </a:cubicBezTo>
                  <a:cubicBezTo>
                    <a:pt x="5450" y="9577"/>
                    <a:pt x="5450" y="9577"/>
                    <a:pt x="5450" y="9577"/>
                  </a:cubicBezTo>
                  <a:lnTo>
                    <a:pt x="5458" y="9531"/>
                  </a:lnTo>
                  <a:close/>
                  <a:moveTo>
                    <a:pt x="5580" y="9449"/>
                  </a:moveTo>
                  <a:cubicBezTo>
                    <a:pt x="5592" y="9379"/>
                    <a:pt x="5592" y="9379"/>
                    <a:pt x="5592" y="9379"/>
                  </a:cubicBezTo>
                  <a:cubicBezTo>
                    <a:pt x="5443" y="9353"/>
                    <a:pt x="5443" y="9353"/>
                    <a:pt x="5443" y="9353"/>
                  </a:cubicBezTo>
                  <a:cubicBezTo>
                    <a:pt x="5431" y="9423"/>
                    <a:pt x="5431" y="9423"/>
                    <a:pt x="5431" y="9423"/>
                  </a:cubicBezTo>
                  <a:cubicBezTo>
                    <a:pt x="5574" y="9448"/>
                    <a:pt x="5574" y="9448"/>
                    <a:pt x="5574" y="9448"/>
                  </a:cubicBezTo>
                  <a:lnTo>
                    <a:pt x="5580" y="9449"/>
                  </a:lnTo>
                  <a:close/>
                  <a:moveTo>
                    <a:pt x="5446" y="9413"/>
                  </a:moveTo>
                  <a:cubicBezTo>
                    <a:pt x="5454" y="9367"/>
                    <a:pt x="5454" y="9367"/>
                    <a:pt x="5454" y="9367"/>
                  </a:cubicBezTo>
                  <a:cubicBezTo>
                    <a:pt x="5578" y="9389"/>
                    <a:pt x="5578" y="9389"/>
                    <a:pt x="5578" y="9389"/>
                  </a:cubicBezTo>
                  <a:cubicBezTo>
                    <a:pt x="5570" y="9434"/>
                    <a:pt x="5570" y="9434"/>
                    <a:pt x="5570" y="9434"/>
                  </a:cubicBezTo>
                  <a:lnTo>
                    <a:pt x="5446" y="9413"/>
                  </a:lnTo>
                  <a:close/>
                  <a:moveTo>
                    <a:pt x="5545" y="9303"/>
                  </a:moveTo>
                  <a:cubicBezTo>
                    <a:pt x="5557" y="9233"/>
                    <a:pt x="5557" y="9233"/>
                    <a:pt x="5557" y="9233"/>
                  </a:cubicBezTo>
                  <a:cubicBezTo>
                    <a:pt x="5408" y="9207"/>
                    <a:pt x="5408" y="9207"/>
                    <a:pt x="5408" y="9207"/>
                  </a:cubicBezTo>
                  <a:cubicBezTo>
                    <a:pt x="5396" y="9277"/>
                    <a:pt x="5396" y="9277"/>
                    <a:pt x="5396" y="9277"/>
                  </a:cubicBezTo>
                  <a:cubicBezTo>
                    <a:pt x="5539" y="9302"/>
                    <a:pt x="5539" y="9302"/>
                    <a:pt x="5539" y="9302"/>
                  </a:cubicBezTo>
                  <a:lnTo>
                    <a:pt x="5545" y="9303"/>
                  </a:lnTo>
                  <a:close/>
                  <a:moveTo>
                    <a:pt x="5411" y="9267"/>
                  </a:moveTo>
                  <a:cubicBezTo>
                    <a:pt x="5419" y="9222"/>
                    <a:pt x="5419" y="9222"/>
                    <a:pt x="5419" y="9222"/>
                  </a:cubicBezTo>
                  <a:cubicBezTo>
                    <a:pt x="5542" y="9243"/>
                    <a:pt x="5542" y="9243"/>
                    <a:pt x="5542" y="9243"/>
                  </a:cubicBezTo>
                  <a:cubicBezTo>
                    <a:pt x="5535" y="9289"/>
                    <a:pt x="5535" y="9289"/>
                    <a:pt x="5535" y="9289"/>
                  </a:cubicBezTo>
                  <a:lnTo>
                    <a:pt x="5411" y="9267"/>
                  </a:lnTo>
                  <a:close/>
                  <a:moveTo>
                    <a:pt x="5472" y="9138"/>
                  </a:moveTo>
                  <a:cubicBezTo>
                    <a:pt x="5484" y="9068"/>
                    <a:pt x="5484" y="9068"/>
                    <a:pt x="5484" y="9068"/>
                  </a:cubicBezTo>
                  <a:cubicBezTo>
                    <a:pt x="5335" y="9042"/>
                    <a:pt x="5335" y="9042"/>
                    <a:pt x="5335" y="9042"/>
                  </a:cubicBezTo>
                  <a:cubicBezTo>
                    <a:pt x="5323" y="9112"/>
                    <a:pt x="5323" y="9112"/>
                    <a:pt x="5323" y="9112"/>
                  </a:cubicBezTo>
                  <a:cubicBezTo>
                    <a:pt x="5466" y="9137"/>
                    <a:pt x="5466" y="9137"/>
                    <a:pt x="5466" y="9137"/>
                  </a:cubicBezTo>
                  <a:lnTo>
                    <a:pt x="5472" y="9138"/>
                  </a:lnTo>
                  <a:close/>
                  <a:moveTo>
                    <a:pt x="5338" y="9102"/>
                  </a:moveTo>
                  <a:cubicBezTo>
                    <a:pt x="5346" y="9057"/>
                    <a:pt x="5346" y="9057"/>
                    <a:pt x="5346" y="9057"/>
                  </a:cubicBezTo>
                  <a:cubicBezTo>
                    <a:pt x="5470" y="9078"/>
                    <a:pt x="5470" y="9078"/>
                    <a:pt x="5470" y="9078"/>
                  </a:cubicBezTo>
                  <a:cubicBezTo>
                    <a:pt x="5462" y="9123"/>
                    <a:pt x="5462" y="9123"/>
                    <a:pt x="5462" y="9123"/>
                  </a:cubicBezTo>
                  <a:lnTo>
                    <a:pt x="5338" y="9102"/>
                  </a:lnTo>
                  <a:close/>
                  <a:moveTo>
                    <a:pt x="5575" y="9018"/>
                  </a:moveTo>
                  <a:cubicBezTo>
                    <a:pt x="5587" y="8948"/>
                    <a:pt x="5587" y="8948"/>
                    <a:pt x="5587" y="8948"/>
                  </a:cubicBezTo>
                  <a:cubicBezTo>
                    <a:pt x="5438" y="8922"/>
                    <a:pt x="5438" y="8922"/>
                    <a:pt x="5438" y="8922"/>
                  </a:cubicBezTo>
                  <a:cubicBezTo>
                    <a:pt x="5426" y="8992"/>
                    <a:pt x="5426" y="8992"/>
                    <a:pt x="5426" y="8992"/>
                  </a:cubicBezTo>
                  <a:cubicBezTo>
                    <a:pt x="5568" y="9017"/>
                    <a:pt x="5568" y="9017"/>
                    <a:pt x="5568" y="9017"/>
                  </a:cubicBezTo>
                  <a:lnTo>
                    <a:pt x="5575" y="9018"/>
                  </a:lnTo>
                  <a:close/>
                  <a:moveTo>
                    <a:pt x="5441" y="8982"/>
                  </a:moveTo>
                  <a:cubicBezTo>
                    <a:pt x="5449" y="8937"/>
                    <a:pt x="5449" y="8937"/>
                    <a:pt x="5449" y="8937"/>
                  </a:cubicBezTo>
                  <a:cubicBezTo>
                    <a:pt x="5572" y="8959"/>
                    <a:pt x="5572" y="8959"/>
                    <a:pt x="5572" y="8959"/>
                  </a:cubicBezTo>
                  <a:cubicBezTo>
                    <a:pt x="5564" y="9004"/>
                    <a:pt x="5564" y="9004"/>
                    <a:pt x="5564" y="9004"/>
                  </a:cubicBezTo>
                  <a:lnTo>
                    <a:pt x="5441" y="8982"/>
                  </a:lnTo>
                  <a:close/>
                  <a:moveTo>
                    <a:pt x="5483" y="8879"/>
                  </a:moveTo>
                  <a:cubicBezTo>
                    <a:pt x="5626" y="8904"/>
                    <a:pt x="5626" y="8904"/>
                    <a:pt x="5626" y="8904"/>
                  </a:cubicBezTo>
                  <a:cubicBezTo>
                    <a:pt x="5632" y="8905"/>
                    <a:pt x="5632" y="8905"/>
                    <a:pt x="5632" y="8905"/>
                  </a:cubicBezTo>
                  <a:cubicBezTo>
                    <a:pt x="5644" y="8835"/>
                    <a:pt x="5644" y="8835"/>
                    <a:pt x="5644" y="8835"/>
                  </a:cubicBezTo>
                  <a:cubicBezTo>
                    <a:pt x="5495" y="8809"/>
                    <a:pt x="5495" y="8809"/>
                    <a:pt x="5495" y="8809"/>
                  </a:cubicBezTo>
                  <a:lnTo>
                    <a:pt x="5483" y="8879"/>
                  </a:lnTo>
                  <a:close/>
                  <a:moveTo>
                    <a:pt x="5506" y="8824"/>
                  </a:moveTo>
                  <a:cubicBezTo>
                    <a:pt x="5630" y="8845"/>
                    <a:pt x="5630" y="8845"/>
                    <a:pt x="5630" y="8845"/>
                  </a:cubicBezTo>
                  <a:cubicBezTo>
                    <a:pt x="5622" y="8891"/>
                    <a:pt x="5622" y="8891"/>
                    <a:pt x="5622" y="8891"/>
                  </a:cubicBezTo>
                  <a:cubicBezTo>
                    <a:pt x="5498" y="8869"/>
                    <a:pt x="5498" y="8869"/>
                    <a:pt x="5498" y="8869"/>
                  </a:cubicBezTo>
                  <a:lnTo>
                    <a:pt x="5506" y="8824"/>
                  </a:lnTo>
                  <a:close/>
                  <a:moveTo>
                    <a:pt x="5635" y="8786"/>
                  </a:moveTo>
                  <a:cubicBezTo>
                    <a:pt x="5647" y="8715"/>
                    <a:pt x="5647" y="8715"/>
                    <a:pt x="5647" y="8715"/>
                  </a:cubicBezTo>
                  <a:cubicBezTo>
                    <a:pt x="5498" y="8689"/>
                    <a:pt x="5498" y="8689"/>
                    <a:pt x="5498" y="8689"/>
                  </a:cubicBezTo>
                  <a:cubicBezTo>
                    <a:pt x="5486" y="8760"/>
                    <a:pt x="5486" y="8760"/>
                    <a:pt x="5486" y="8760"/>
                  </a:cubicBezTo>
                  <a:cubicBezTo>
                    <a:pt x="5628" y="8785"/>
                    <a:pt x="5628" y="8785"/>
                    <a:pt x="5628" y="8785"/>
                  </a:cubicBezTo>
                  <a:lnTo>
                    <a:pt x="5635" y="8786"/>
                  </a:lnTo>
                  <a:close/>
                  <a:moveTo>
                    <a:pt x="5500" y="8749"/>
                  </a:moveTo>
                  <a:cubicBezTo>
                    <a:pt x="5508" y="8704"/>
                    <a:pt x="5508" y="8704"/>
                    <a:pt x="5508" y="8704"/>
                  </a:cubicBezTo>
                  <a:cubicBezTo>
                    <a:pt x="5632" y="8726"/>
                    <a:pt x="5632" y="8726"/>
                    <a:pt x="5632" y="8726"/>
                  </a:cubicBezTo>
                  <a:cubicBezTo>
                    <a:pt x="5624" y="8771"/>
                    <a:pt x="5624" y="8771"/>
                    <a:pt x="5624" y="8771"/>
                  </a:cubicBezTo>
                  <a:lnTo>
                    <a:pt x="5500" y="8749"/>
                  </a:lnTo>
                  <a:close/>
                  <a:moveTo>
                    <a:pt x="5474" y="8643"/>
                  </a:moveTo>
                  <a:cubicBezTo>
                    <a:pt x="5617" y="8667"/>
                    <a:pt x="5617" y="8667"/>
                    <a:pt x="5617" y="8667"/>
                  </a:cubicBezTo>
                  <a:cubicBezTo>
                    <a:pt x="5623" y="8669"/>
                    <a:pt x="5623" y="8669"/>
                    <a:pt x="5623" y="8669"/>
                  </a:cubicBezTo>
                  <a:cubicBezTo>
                    <a:pt x="5635" y="8598"/>
                    <a:pt x="5635" y="8598"/>
                    <a:pt x="5635" y="8598"/>
                  </a:cubicBezTo>
                  <a:cubicBezTo>
                    <a:pt x="5486" y="8572"/>
                    <a:pt x="5486" y="8572"/>
                    <a:pt x="5486" y="8572"/>
                  </a:cubicBezTo>
                  <a:lnTo>
                    <a:pt x="5474" y="8643"/>
                  </a:lnTo>
                  <a:close/>
                  <a:moveTo>
                    <a:pt x="5497" y="8587"/>
                  </a:moveTo>
                  <a:cubicBezTo>
                    <a:pt x="5620" y="8609"/>
                    <a:pt x="5620" y="8609"/>
                    <a:pt x="5620" y="8609"/>
                  </a:cubicBezTo>
                  <a:cubicBezTo>
                    <a:pt x="5613" y="8654"/>
                    <a:pt x="5613" y="8654"/>
                    <a:pt x="5613" y="8654"/>
                  </a:cubicBezTo>
                  <a:cubicBezTo>
                    <a:pt x="5489" y="8632"/>
                    <a:pt x="5489" y="8632"/>
                    <a:pt x="5489" y="8632"/>
                  </a:cubicBezTo>
                  <a:lnTo>
                    <a:pt x="5497" y="8587"/>
                  </a:lnTo>
                  <a:close/>
                  <a:moveTo>
                    <a:pt x="5602" y="8532"/>
                  </a:moveTo>
                  <a:cubicBezTo>
                    <a:pt x="5614" y="8462"/>
                    <a:pt x="5614" y="8462"/>
                    <a:pt x="5614" y="8462"/>
                  </a:cubicBezTo>
                  <a:cubicBezTo>
                    <a:pt x="5465" y="8436"/>
                    <a:pt x="5465" y="8436"/>
                    <a:pt x="5465" y="8436"/>
                  </a:cubicBezTo>
                  <a:cubicBezTo>
                    <a:pt x="5453" y="8506"/>
                    <a:pt x="5453" y="8506"/>
                    <a:pt x="5453" y="8506"/>
                  </a:cubicBezTo>
                  <a:cubicBezTo>
                    <a:pt x="5596" y="8531"/>
                    <a:pt x="5596" y="8531"/>
                    <a:pt x="5596" y="8531"/>
                  </a:cubicBezTo>
                  <a:lnTo>
                    <a:pt x="5602" y="8532"/>
                  </a:lnTo>
                  <a:close/>
                  <a:moveTo>
                    <a:pt x="5468" y="8496"/>
                  </a:moveTo>
                  <a:cubicBezTo>
                    <a:pt x="5476" y="8450"/>
                    <a:pt x="5476" y="8450"/>
                    <a:pt x="5476" y="8450"/>
                  </a:cubicBezTo>
                  <a:cubicBezTo>
                    <a:pt x="5600" y="8472"/>
                    <a:pt x="5600" y="8472"/>
                    <a:pt x="5600" y="8472"/>
                  </a:cubicBezTo>
                  <a:cubicBezTo>
                    <a:pt x="5592" y="8517"/>
                    <a:pt x="5592" y="8517"/>
                    <a:pt x="5592" y="8517"/>
                  </a:cubicBezTo>
                  <a:lnTo>
                    <a:pt x="5468" y="8496"/>
                  </a:lnTo>
                  <a:close/>
                  <a:moveTo>
                    <a:pt x="5579" y="8416"/>
                  </a:moveTo>
                  <a:cubicBezTo>
                    <a:pt x="5591" y="8346"/>
                    <a:pt x="5591" y="8346"/>
                    <a:pt x="5591" y="8346"/>
                  </a:cubicBezTo>
                  <a:cubicBezTo>
                    <a:pt x="5442" y="8320"/>
                    <a:pt x="5442" y="8320"/>
                    <a:pt x="5442" y="8320"/>
                  </a:cubicBezTo>
                  <a:cubicBezTo>
                    <a:pt x="5430" y="8390"/>
                    <a:pt x="5430" y="8390"/>
                    <a:pt x="5430" y="8390"/>
                  </a:cubicBezTo>
                  <a:cubicBezTo>
                    <a:pt x="5572" y="8415"/>
                    <a:pt x="5572" y="8415"/>
                    <a:pt x="5572" y="8415"/>
                  </a:cubicBezTo>
                  <a:lnTo>
                    <a:pt x="5579" y="8416"/>
                  </a:lnTo>
                  <a:close/>
                  <a:moveTo>
                    <a:pt x="5445" y="8380"/>
                  </a:moveTo>
                  <a:cubicBezTo>
                    <a:pt x="5452" y="8335"/>
                    <a:pt x="5452" y="8335"/>
                    <a:pt x="5452" y="8335"/>
                  </a:cubicBezTo>
                  <a:cubicBezTo>
                    <a:pt x="5576" y="8356"/>
                    <a:pt x="5576" y="8356"/>
                    <a:pt x="5576" y="8356"/>
                  </a:cubicBezTo>
                  <a:cubicBezTo>
                    <a:pt x="5568" y="8402"/>
                    <a:pt x="5568" y="8402"/>
                    <a:pt x="5568" y="8402"/>
                  </a:cubicBezTo>
                  <a:lnTo>
                    <a:pt x="5445" y="8380"/>
                  </a:lnTo>
                  <a:close/>
                  <a:moveTo>
                    <a:pt x="5280" y="8644"/>
                  </a:moveTo>
                  <a:cubicBezTo>
                    <a:pt x="5322" y="8783"/>
                    <a:pt x="5322" y="8783"/>
                    <a:pt x="5322" y="8783"/>
                  </a:cubicBezTo>
                  <a:cubicBezTo>
                    <a:pt x="5324" y="8789"/>
                    <a:pt x="5324" y="8789"/>
                    <a:pt x="5324" y="8789"/>
                  </a:cubicBezTo>
                  <a:cubicBezTo>
                    <a:pt x="5392" y="8768"/>
                    <a:pt x="5392" y="8768"/>
                    <a:pt x="5392" y="8768"/>
                  </a:cubicBezTo>
                  <a:cubicBezTo>
                    <a:pt x="5348" y="8624"/>
                    <a:pt x="5348" y="8624"/>
                    <a:pt x="5348" y="8624"/>
                  </a:cubicBezTo>
                  <a:lnTo>
                    <a:pt x="5280" y="8644"/>
                  </a:lnTo>
                  <a:close/>
                  <a:moveTo>
                    <a:pt x="5332" y="8773"/>
                  </a:moveTo>
                  <a:cubicBezTo>
                    <a:pt x="5296" y="8653"/>
                    <a:pt x="5296" y="8653"/>
                    <a:pt x="5296" y="8653"/>
                  </a:cubicBezTo>
                  <a:cubicBezTo>
                    <a:pt x="5340" y="8639"/>
                    <a:pt x="5340" y="8639"/>
                    <a:pt x="5340" y="8639"/>
                  </a:cubicBezTo>
                  <a:cubicBezTo>
                    <a:pt x="5376" y="8760"/>
                    <a:pt x="5376" y="8760"/>
                    <a:pt x="5376" y="8760"/>
                  </a:cubicBezTo>
                  <a:lnTo>
                    <a:pt x="5332" y="8773"/>
                  </a:lnTo>
                  <a:close/>
                  <a:moveTo>
                    <a:pt x="12199" y="1995"/>
                  </a:moveTo>
                  <a:cubicBezTo>
                    <a:pt x="12364" y="1823"/>
                    <a:pt x="12364" y="1823"/>
                    <a:pt x="12364" y="1823"/>
                  </a:cubicBezTo>
                  <a:cubicBezTo>
                    <a:pt x="12146" y="1605"/>
                    <a:pt x="12146" y="1605"/>
                    <a:pt x="12146" y="1605"/>
                  </a:cubicBezTo>
                  <a:cubicBezTo>
                    <a:pt x="11507" y="2266"/>
                    <a:pt x="11507" y="2266"/>
                    <a:pt x="11507" y="2266"/>
                  </a:cubicBezTo>
                  <a:cubicBezTo>
                    <a:pt x="11512" y="2271"/>
                    <a:pt x="11512" y="2271"/>
                    <a:pt x="11512" y="2271"/>
                  </a:cubicBezTo>
                  <a:cubicBezTo>
                    <a:pt x="11726" y="2482"/>
                    <a:pt x="11726" y="2482"/>
                    <a:pt x="11726" y="2482"/>
                  </a:cubicBezTo>
                  <a:cubicBezTo>
                    <a:pt x="11857" y="2346"/>
                    <a:pt x="11857" y="2346"/>
                    <a:pt x="11857" y="2346"/>
                  </a:cubicBezTo>
                  <a:cubicBezTo>
                    <a:pt x="11940" y="2426"/>
                    <a:pt x="11940" y="2426"/>
                    <a:pt x="11940" y="2426"/>
                  </a:cubicBezTo>
                  <a:cubicBezTo>
                    <a:pt x="12099" y="2264"/>
                    <a:pt x="12099" y="2264"/>
                    <a:pt x="12099" y="2264"/>
                  </a:cubicBezTo>
                  <a:cubicBezTo>
                    <a:pt x="12287" y="2447"/>
                    <a:pt x="12287" y="2447"/>
                    <a:pt x="12287" y="2447"/>
                  </a:cubicBezTo>
                  <a:cubicBezTo>
                    <a:pt x="12929" y="1785"/>
                    <a:pt x="12929" y="1785"/>
                    <a:pt x="12929" y="1785"/>
                  </a:cubicBezTo>
                  <a:cubicBezTo>
                    <a:pt x="12703" y="1569"/>
                    <a:pt x="12703" y="1569"/>
                    <a:pt x="12703" y="1569"/>
                  </a:cubicBezTo>
                  <a:cubicBezTo>
                    <a:pt x="12249" y="2041"/>
                    <a:pt x="12249" y="2041"/>
                    <a:pt x="12249" y="2041"/>
                  </a:cubicBezTo>
                  <a:lnTo>
                    <a:pt x="12199" y="1995"/>
                  </a:lnTo>
                  <a:close/>
                  <a:moveTo>
                    <a:pt x="12703" y="1590"/>
                  </a:moveTo>
                  <a:cubicBezTo>
                    <a:pt x="12908" y="1785"/>
                    <a:pt x="12908" y="1785"/>
                    <a:pt x="12908" y="1785"/>
                  </a:cubicBezTo>
                  <a:cubicBezTo>
                    <a:pt x="12286" y="2426"/>
                    <a:pt x="12286" y="2426"/>
                    <a:pt x="12286" y="2426"/>
                  </a:cubicBezTo>
                  <a:cubicBezTo>
                    <a:pt x="12099" y="2243"/>
                    <a:pt x="12099" y="2243"/>
                    <a:pt x="12099" y="2243"/>
                  </a:cubicBezTo>
                  <a:cubicBezTo>
                    <a:pt x="11939" y="2405"/>
                    <a:pt x="11939" y="2405"/>
                    <a:pt x="11939" y="2405"/>
                  </a:cubicBezTo>
                  <a:cubicBezTo>
                    <a:pt x="11857" y="2325"/>
                    <a:pt x="11857" y="2325"/>
                    <a:pt x="11857" y="2325"/>
                  </a:cubicBezTo>
                  <a:cubicBezTo>
                    <a:pt x="11726" y="2461"/>
                    <a:pt x="11726" y="2461"/>
                    <a:pt x="11726" y="2461"/>
                  </a:cubicBezTo>
                  <a:cubicBezTo>
                    <a:pt x="11527" y="2266"/>
                    <a:pt x="11527" y="2266"/>
                    <a:pt x="11527" y="2266"/>
                  </a:cubicBezTo>
                  <a:cubicBezTo>
                    <a:pt x="12146" y="1626"/>
                    <a:pt x="12146" y="1626"/>
                    <a:pt x="12146" y="1626"/>
                  </a:cubicBezTo>
                  <a:cubicBezTo>
                    <a:pt x="12343" y="1823"/>
                    <a:pt x="12343" y="1823"/>
                    <a:pt x="12343" y="1823"/>
                  </a:cubicBezTo>
                  <a:cubicBezTo>
                    <a:pt x="12178" y="1996"/>
                    <a:pt x="12178" y="1996"/>
                    <a:pt x="12178" y="1996"/>
                  </a:cubicBezTo>
                  <a:cubicBezTo>
                    <a:pt x="12249" y="2061"/>
                    <a:pt x="12249" y="2061"/>
                    <a:pt x="12249" y="2061"/>
                  </a:cubicBezTo>
                  <a:lnTo>
                    <a:pt x="12703" y="1590"/>
                  </a:lnTo>
                  <a:close/>
                  <a:moveTo>
                    <a:pt x="13642" y="11548"/>
                  </a:moveTo>
                  <a:cubicBezTo>
                    <a:pt x="13721" y="11639"/>
                    <a:pt x="13721" y="11639"/>
                    <a:pt x="13721" y="11639"/>
                  </a:cubicBezTo>
                  <a:cubicBezTo>
                    <a:pt x="13880" y="11494"/>
                    <a:pt x="13880" y="11494"/>
                    <a:pt x="13880" y="11494"/>
                  </a:cubicBezTo>
                  <a:cubicBezTo>
                    <a:pt x="13804" y="11406"/>
                    <a:pt x="13804" y="11406"/>
                    <a:pt x="13804" y="11406"/>
                  </a:cubicBezTo>
                  <a:cubicBezTo>
                    <a:pt x="14042" y="11191"/>
                    <a:pt x="14042" y="11191"/>
                    <a:pt x="14042" y="11191"/>
                  </a:cubicBezTo>
                  <a:cubicBezTo>
                    <a:pt x="14126" y="11289"/>
                    <a:pt x="14126" y="11289"/>
                    <a:pt x="14126" y="11289"/>
                  </a:cubicBezTo>
                  <a:cubicBezTo>
                    <a:pt x="14073" y="11341"/>
                    <a:pt x="14073" y="11341"/>
                    <a:pt x="14073" y="11341"/>
                  </a:cubicBezTo>
                  <a:cubicBezTo>
                    <a:pt x="14178" y="11459"/>
                    <a:pt x="14178" y="11459"/>
                    <a:pt x="14178" y="11459"/>
                  </a:cubicBezTo>
                  <a:cubicBezTo>
                    <a:pt x="13929" y="11685"/>
                    <a:pt x="13929" y="11685"/>
                    <a:pt x="13929" y="11685"/>
                  </a:cubicBezTo>
                  <a:cubicBezTo>
                    <a:pt x="13990" y="11755"/>
                    <a:pt x="13990" y="11755"/>
                    <a:pt x="13990" y="11755"/>
                  </a:cubicBezTo>
                  <a:cubicBezTo>
                    <a:pt x="14243" y="11533"/>
                    <a:pt x="14243" y="11533"/>
                    <a:pt x="14243" y="11533"/>
                  </a:cubicBezTo>
                  <a:cubicBezTo>
                    <a:pt x="14339" y="11644"/>
                    <a:pt x="14339" y="11644"/>
                    <a:pt x="14339" y="11644"/>
                  </a:cubicBezTo>
                  <a:cubicBezTo>
                    <a:pt x="14516" y="11487"/>
                    <a:pt x="14516" y="11487"/>
                    <a:pt x="14516" y="11487"/>
                  </a:cubicBezTo>
                  <a:cubicBezTo>
                    <a:pt x="14306" y="11249"/>
                    <a:pt x="14306" y="11249"/>
                    <a:pt x="14306" y="11249"/>
                  </a:cubicBezTo>
                  <a:cubicBezTo>
                    <a:pt x="14646" y="10947"/>
                    <a:pt x="14646" y="10947"/>
                    <a:pt x="14646" y="10947"/>
                  </a:cubicBezTo>
                  <a:cubicBezTo>
                    <a:pt x="14463" y="10744"/>
                    <a:pt x="14463" y="10744"/>
                    <a:pt x="14463" y="10744"/>
                  </a:cubicBezTo>
                  <a:cubicBezTo>
                    <a:pt x="14243" y="10938"/>
                    <a:pt x="14243" y="10938"/>
                    <a:pt x="14243" y="10938"/>
                  </a:cubicBezTo>
                  <a:cubicBezTo>
                    <a:pt x="14088" y="10760"/>
                    <a:pt x="14088" y="10760"/>
                    <a:pt x="14088" y="10760"/>
                  </a:cubicBezTo>
                  <a:cubicBezTo>
                    <a:pt x="14082" y="10765"/>
                    <a:pt x="14082" y="10765"/>
                    <a:pt x="14082" y="10765"/>
                  </a:cubicBezTo>
                  <a:cubicBezTo>
                    <a:pt x="13389" y="11381"/>
                    <a:pt x="13389" y="11381"/>
                    <a:pt x="13389" y="11381"/>
                  </a:cubicBezTo>
                  <a:cubicBezTo>
                    <a:pt x="13585" y="11599"/>
                    <a:pt x="13585" y="11599"/>
                    <a:pt x="13585" y="11599"/>
                  </a:cubicBezTo>
                  <a:lnTo>
                    <a:pt x="13642" y="11548"/>
                  </a:lnTo>
                  <a:close/>
                  <a:moveTo>
                    <a:pt x="14086" y="10781"/>
                  </a:moveTo>
                  <a:cubicBezTo>
                    <a:pt x="14242" y="10958"/>
                    <a:pt x="14242" y="10958"/>
                    <a:pt x="14242" y="10958"/>
                  </a:cubicBezTo>
                  <a:cubicBezTo>
                    <a:pt x="14462" y="10765"/>
                    <a:pt x="14462" y="10765"/>
                    <a:pt x="14462" y="10765"/>
                  </a:cubicBezTo>
                  <a:cubicBezTo>
                    <a:pt x="14625" y="10946"/>
                    <a:pt x="14625" y="10946"/>
                    <a:pt x="14625" y="10946"/>
                  </a:cubicBezTo>
                  <a:cubicBezTo>
                    <a:pt x="14285" y="11248"/>
                    <a:pt x="14285" y="11248"/>
                    <a:pt x="14285" y="11248"/>
                  </a:cubicBezTo>
                  <a:cubicBezTo>
                    <a:pt x="14495" y="11485"/>
                    <a:pt x="14495" y="11485"/>
                    <a:pt x="14495" y="11485"/>
                  </a:cubicBezTo>
                  <a:cubicBezTo>
                    <a:pt x="14340" y="11623"/>
                    <a:pt x="14340" y="11623"/>
                    <a:pt x="14340" y="11623"/>
                  </a:cubicBezTo>
                  <a:cubicBezTo>
                    <a:pt x="14244" y="11512"/>
                    <a:pt x="14244" y="11512"/>
                    <a:pt x="14244" y="11512"/>
                  </a:cubicBezTo>
                  <a:cubicBezTo>
                    <a:pt x="13992" y="11734"/>
                    <a:pt x="13992" y="11734"/>
                    <a:pt x="13992" y="11734"/>
                  </a:cubicBezTo>
                  <a:cubicBezTo>
                    <a:pt x="13949" y="11686"/>
                    <a:pt x="13949" y="11686"/>
                    <a:pt x="13949" y="11686"/>
                  </a:cubicBezTo>
                  <a:cubicBezTo>
                    <a:pt x="14198" y="11460"/>
                    <a:pt x="14198" y="11460"/>
                    <a:pt x="14198" y="11460"/>
                  </a:cubicBezTo>
                  <a:cubicBezTo>
                    <a:pt x="14094" y="11342"/>
                    <a:pt x="14094" y="11342"/>
                    <a:pt x="14094" y="11342"/>
                  </a:cubicBezTo>
                  <a:cubicBezTo>
                    <a:pt x="14146" y="11290"/>
                    <a:pt x="14146" y="11290"/>
                    <a:pt x="14146" y="11290"/>
                  </a:cubicBezTo>
                  <a:cubicBezTo>
                    <a:pt x="14044" y="11170"/>
                    <a:pt x="14044" y="11170"/>
                    <a:pt x="14044" y="11170"/>
                  </a:cubicBezTo>
                  <a:cubicBezTo>
                    <a:pt x="13783" y="11405"/>
                    <a:pt x="13783" y="11405"/>
                    <a:pt x="13783" y="11405"/>
                  </a:cubicBezTo>
                  <a:cubicBezTo>
                    <a:pt x="13859" y="11493"/>
                    <a:pt x="13859" y="11493"/>
                    <a:pt x="13859" y="11493"/>
                  </a:cubicBezTo>
                  <a:cubicBezTo>
                    <a:pt x="13722" y="11618"/>
                    <a:pt x="13722" y="11618"/>
                    <a:pt x="13722" y="11618"/>
                  </a:cubicBezTo>
                  <a:cubicBezTo>
                    <a:pt x="13643" y="11526"/>
                    <a:pt x="13643" y="11526"/>
                    <a:pt x="13643" y="11526"/>
                  </a:cubicBezTo>
                  <a:cubicBezTo>
                    <a:pt x="13586" y="11578"/>
                    <a:pt x="13586" y="11578"/>
                    <a:pt x="13586" y="11578"/>
                  </a:cubicBezTo>
                  <a:cubicBezTo>
                    <a:pt x="13410" y="11382"/>
                    <a:pt x="13410" y="11382"/>
                    <a:pt x="13410" y="11382"/>
                  </a:cubicBezTo>
                  <a:lnTo>
                    <a:pt x="14086" y="10781"/>
                  </a:lnTo>
                  <a:close/>
                  <a:moveTo>
                    <a:pt x="6102" y="3566"/>
                  </a:moveTo>
                  <a:cubicBezTo>
                    <a:pt x="6236" y="3597"/>
                    <a:pt x="6236" y="3597"/>
                    <a:pt x="6236" y="3597"/>
                  </a:cubicBezTo>
                  <a:cubicBezTo>
                    <a:pt x="6321" y="3240"/>
                    <a:pt x="6321" y="3240"/>
                    <a:pt x="6321" y="3240"/>
                  </a:cubicBezTo>
                  <a:cubicBezTo>
                    <a:pt x="6630" y="3311"/>
                    <a:pt x="6630" y="3311"/>
                    <a:pt x="6630" y="3311"/>
                  </a:cubicBezTo>
                  <a:cubicBezTo>
                    <a:pt x="6530" y="3742"/>
                    <a:pt x="6530" y="3742"/>
                    <a:pt x="6530" y="3742"/>
                  </a:cubicBezTo>
                  <a:cubicBezTo>
                    <a:pt x="6258" y="3680"/>
                    <a:pt x="6258" y="3680"/>
                    <a:pt x="6258" y="3680"/>
                  </a:cubicBezTo>
                  <a:cubicBezTo>
                    <a:pt x="6224" y="3830"/>
                    <a:pt x="6224" y="3830"/>
                    <a:pt x="6224" y="3830"/>
                  </a:cubicBezTo>
                  <a:cubicBezTo>
                    <a:pt x="6491" y="3894"/>
                    <a:pt x="6491" y="3894"/>
                    <a:pt x="6491" y="3894"/>
                  </a:cubicBezTo>
                  <a:cubicBezTo>
                    <a:pt x="6475" y="3976"/>
                    <a:pt x="6475" y="3976"/>
                    <a:pt x="6475" y="3976"/>
                  </a:cubicBezTo>
                  <a:cubicBezTo>
                    <a:pt x="6790" y="4051"/>
                    <a:pt x="6790" y="4051"/>
                    <a:pt x="6790" y="4051"/>
                  </a:cubicBezTo>
                  <a:cubicBezTo>
                    <a:pt x="6808" y="3957"/>
                    <a:pt x="6808" y="3957"/>
                    <a:pt x="6808" y="3957"/>
                  </a:cubicBezTo>
                  <a:cubicBezTo>
                    <a:pt x="6733" y="3938"/>
                    <a:pt x="6733" y="3938"/>
                    <a:pt x="6733" y="3938"/>
                  </a:cubicBezTo>
                  <a:cubicBezTo>
                    <a:pt x="6795" y="3659"/>
                    <a:pt x="6795" y="3659"/>
                    <a:pt x="6795" y="3659"/>
                  </a:cubicBezTo>
                  <a:cubicBezTo>
                    <a:pt x="6875" y="3679"/>
                    <a:pt x="6875" y="3679"/>
                    <a:pt x="6875" y="3679"/>
                  </a:cubicBezTo>
                  <a:cubicBezTo>
                    <a:pt x="6974" y="3262"/>
                    <a:pt x="6974" y="3262"/>
                    <a:pt x="6974" y="3262"/>
                  </a:cubicBezTo>
                  <a:cubicBezTo>
                    <a:pt x="6661" y="3188"/>
                    <a:pt x="6661" y="3188"/>
                    <a:pt x="6661" y="3188"/>
                  </a:cubicBezTo>
                  <a:cubicBezTo>
                    <a:pt x="6650" y="3241"/>
                    <a:pt x="6650" y="3241"/>
                    <a:pt x="6650" y="3241"/>
                  </a:cubicBezTo>
                  <a:cubicBezTo>
                    <a:pt x="6174" y="3128"/>
                    <a:pt x="6174" y="3128"/>
                    <a:pt x="6174" y="3128"/>
                  </a:cubicBezTo>
                  <a:cubicBezTo>
                    <a:pt x="6167" y="3126"/>
                    <a:pt x="6167" y="3126"/>
                    <a:pt x="6167" y="3126"/>
                  </a:cubicBezTo>
                  <a:cubicBezTo>
                    <a:pt x="6149" y="3198"/>
                    <a:pt x="6149" y="3198"/>
                    <a:pt x="6149" y="3198"/>
                  </a:cubicBezTo>
                  <a:cubicBezTo>
                    <a:pt x="6189" y="3208"/>
                    <a:pt x="6189" y="3208"/>
                    <a:pt x="6189" y="3208"/>
                  </a:cubicBezTo>
                  <a:cubicBezTo>
                    <a:pt x="6140" y="3406"/>
                    <a:pt x="6140" y="3406"/>
                    <a:pt x="6140" y="3406"/>
                  </a:cubicBezTo>
                  <a:cubicBezTo>
                    <a:pt x="5903" y="3351"/>
                    <a:pt x="5903" y="3351"/>
                    <a:pt x="5903" y="3351"/>
                  </a:cubicBezTo>
                  <a:cubicBezTo>
                    <a:pt x="5872" y="3474"/>
                    <a:pt x="5872" y="3474"/>
                    <a:pt x="5872" y="3474"/>
                  </a:cubicBezTo>
                  <a:cubicBezTo>
                    <a:pt x="6110" y="3530"/>
                    <a:pt x="6110" y="3530"/>
                    <a:pt x="6110" y="3530"/>
                  </a:cubicBezTo>
                  <a:lnTo>
                    <a:pt x="6102" y="3566"/>
                  </a:lnTo>
                  <a:close/>
                  <a:moveTo>
                    <a:pt x="5890" y="3463"/>
                  </a:moveTo>
                  <a:cubicBezTo>
                    <a:pt x="5914" y="3369"/>
                    <a:pt x="5914" y="3369"/>
                    <a:pt x="5914" y="3369"/>
                  </a:cubicBezTo>
                  <a:cubicBezTo>
                    <a:pt x="6151" y="3424"/>
                    <a:pt x="6151" y="3424"/>
                    <a:pt x="6151" y="3424"/>
                  </a:cubicBezTo>
                  <a:cubicBezTo>
                    <a:pt x="6206" y="3198"/>
                    <a:pt x="6206" y="3198"/>
                    <a:pt x="6206" y="3198"/>
                  </a:cubicBezTo>
                  <a:cubicBezTo>
                    <a:pt x="6167" y="3188"/>
                    <a:pt x="6167" y="3188"/>
                    <a:pt x="6167" y="3188"/>
                  </a:cubicBezTo>
                  <a:cubicBezTo>
                    <a:pt x="6178" y="3144"/>
                    <a:pt x="6178" y="3144"/>
                    <a:pt x="6178" y="3144"/>
                  </a:cubicBezTo>
                  <a:cubicBezTo>
                    <a:pt x="6661" y="3259"/>
                    <a:pt x="6661" y="3259"/>
                    <a:pt x="6661" y="3259"/>
                  </a:cubicBezTo>
                  <a:cubicBezTo>
                    <a:pt x="6672" y="3206"/>
                    <a:pt x="6672" y="3206"/>
                    <a:pt x="6672" y="3206"/>
                  </a:cubicBezTo>
                  <a:cubicBezTo>
                    <a:pt x="6956" y="3273"/>
                    <a:pt x="6956" y="3273"/>
                    <a:pt x="6956" y="3273"/>
                  </a:cubicBezTo>
                  <a:cubicBezTo>
                    <a:pt x="6864" y="3661"/>
                    <a:pt x="6864" y="3661"/>
                    <a:pt x="6864" y="3661"/>
                  </a:cubicBezTo>
                  <a:cubicBezTo>
                    <a:pt x="6784" y="3641"/>
                    <a:pt x="6784" y="3641"/>
                    <a:pt x="6784" y="3641"/>
                  </a:cubicBezTo>
                  <a:cubicBezTo>
                    <a:pt x="6715" y="3949"/>
                    <a:pt x="6715" y="3949"/>
                    <a:pt x="6715" y="3949"/>
                  </a:cubicBezTo>
                  <a:cubicBezTo>
                    <a:pt x="6791" y="3968"/>
                    <a:pt x="6791" y="3968"/>
                    <a:pt x="6791" y="3968"/>
                  </a:cubicBezTo>
                  <a:cubicBezTo>
                    <a:pt x="6779" y="4033"/>
                    <a:pt x="6779" y="4033"/>
                    <a:pt x="6779" y="4033"/>
                  </a:cubicBezTo>
                  <a:cubicBezTo>
                    <a:pt x="6492" y="3965"/>
                    <a:pt x="6492" y="3965"/>
                    <a:pt x="6492" y="3965"/>
                  </a:cubicBezTo>
                  <a:cubicBezTo>
                    <a:pt x="6508" y="3883"/>
                    <a:pt x="6508" y="3883"/>
                    <a:pt x="6508" y="3883"/>
                  </a:cubicBezTo>
                  <a:cubicBezTo>
                    <a:pt x="6242" y="3819"/>
                    <a:pt x="6242" y="3819"/>
                    <a:pt x="6242" y="3819"/>
                  </a:cubicBezTo>
                  <a:cubicBezTo>
                    <a:pt x="6269" y="3697"/>
                    <a:pt x="6269" y="3697"/>
                    <a:pt x="6269" y="3697"/>
                  </a:cubicBezTo>
                  <a:cubicBezTo>
                    <a:pt x="6541" y="3759"/>
                    <a:pt x="6541" y="3759"/>
                    <a:pt x="6541" y="3759"/>
                  </a:cubicBezTo>
                  <a:cubicBezTo>
                    <a:pt x="6648" y="3300"/>
                    <a:pt x="6648" y="3300"/>
                    <a:pt x="6648" y="3300"/>
                  </a:cubicBezTo>
                  <a:cubicBezTo>
                    <a:pt x="6310" y="3223"/>
                    <a:pt x="6310" y="3223"/>
                    <a:pt x="6310" y="3223"/>
                  </a:cubicBezTo>
                  <a:cubicBezTo>
                    <a:pt x="6225" y="3579"/>
                    <a:pt x="6225" y="3579"/>
                    <a:pt x="6225" y="3579"/>
                  </a:cubicBezTo>
                  <a:cubicBezTo>
                    <a:pt x="6120" y="3555"/>
                    <a:pt x="6120" y="3555"/>
                    <a:pt x="6120" y="3555"/>
                  </a:cubicBezTo>
                  <a:cubicBezTo>
                    <a:pt x="6128" y="3519"/>
                    <a:pt x="6128" y="3519"/>
                    <a:pt x="6128" y="3519"/>
                  </a:cubicBezTo>
                  <a:lnTo>
                    <a:pt x="5890" y="3463"/>
                  </a:lnTo>
                  <a:close/>
                  <a:moveTo>
                    <a:pt x="6539" y="3144"/>
                  </a:moveTo>
                  <a:cubicBezTo>
                    <a:pt x="6580" y="2969"/>
                    <a:pt x="6580" y="2969"/>
                    <a:pt x="6580" y="2969"/>
                  </a:cubicBezTo>
                  <a:cubicBezTo>
                    <a:pt x="6103" y="2856"/>
                    <a:pt x="6103" y="2856"/>
                    <a:pt x="6103" y="2856"/>
                  </a:cubicBezTo>
                  <a:cubicBezTo>
                    <a:pt x="6061" y="3031"/>
                    <a:pt x="6061" y="3031"/>
                    <a:pt x="6061" y="3031"/>
                  </a:cubicBezTo>
                  <a:cubicBezTo>
                    <a:pt x="6532" y="3143"/>
                    <a:pt x="6532" y="3143"/>
                    <a:pt x="6532" y="3143"/>
                  </a:cubicBezTo>
                  <a:lnTo>
                    <a:pt x="6539" y="3144"/>
                  </a:lnTo>
                  <a:close/>
                  <a:moveTo>
                    <a:pt x="6079" y="3020"/>
                  </a:moveTo>
                  <a:cubicBezTo>
                    <a:pt x="6114" y="2874"/>
                    <a:pt x="6114" y="2874"/>
                    <a:pt x="6114" y="2874"/>
                  </a:cubicBezTo>
                  <a:cubicBezTo>
                    <a:pt x="6563" y="2980"/>
                    <a:pt x="6563" y="2980"/>
                    <a:pt x="6563" y="2980"/>
                  </a:cubicBezTo>
                  <a:cubicBezTo>
                    <a:pt x="6528" y="3127"/>
                    <a:pt x="6528" y="3127"/>
                    <a:pt x="6528" y="3127"/>
                  </a:cubicBezTo>
                  <a:lnTo>
                    <a:pt x="6079" y="3020"/>
                  </a:lnTo>
                  <a:close/>
                  <a:moveTo>
                    <a:pt x="6374" y="3358"/>
                  </a:moveTo>
                  <a:cubicBezTo>
                    <a:pt x="6319" y="3589"/>
                    <a:pt x="6319" y="3589"/>
                    <a:pt x="6319" y="3589"/>
                  </a:cubicBezTo>
                  <a:cubicBezTo>
                    <a:pt x="6317" y="3596"/>
                    <a:pt x="6317" y="3596"/>
                    <a:pt x="6317" y="3596"/>
                  </a:cubicBezTo>
                  <a:cubicBezTo>
                    <a:pt x="6464" y="3631"/>
                    <a:pt x="6464" y="3631"/>
                    <a:pt x="6464" y="3631"/>
                  </a:cubicBezTo>
                  <a:cubicBezTo>
                    <a:pt x="6521" y="3392"/>
                    <a:pt x="6521" y="3392"/>
                    <a:pt x="6521" y="3392"/>
                  </a:cubicBezTo>
                  <a:lnTo>
                    <a:pt x="6374" y="3358"/>
                  </a:lnTo>
                  <a:close/>
                  <a:moveTo>
                    <a:pt x="6453" y="3613"/>
                  </a:moveTo>
                  <a:cubicBezTo>
                    <a:pt x="6335" y="3585"/>
                    <a:pt x="6335" y="3585"/>
                    <a:pt x="6335" y="3585"/>
                  </a:cubicBezTo>
                  <a:cubicBezTo>
                    <a:pt x="6385" y="3375"/>
                    <a:pt x="6385" y="3375"/>
                    <a:pt x="6385" y="3375"/>
                  </a:cubicBezTo>
                  <a:cubicBezTo>
                    <a:pt x="6503" y="3403"/>
                    <a:pt x="6503" y="3403"/>
                    <a:pt x="6503" y="3403"/>
                  </a:cubicBezTo>
                  <a:lnTo>
                    <a:pt x="6453" y="3613"/>
                  </a:lnTo>
                  <a:close/>
                  <a:moveTo>
                    <a:pt x="10353" y="11604"/>
                  </a:moveTo>
                  <a:cubicBezTo>
                    <a:pt x="10396" y="11748"/>
                    <a:pt x="10396" y="11748"/>
                    <a:pt x="10396" y="11748"/>
                  </a:cubicBezTo>
                  <a:cubicBezTo>
                    <a:pt x="10043" y="11859"/>
                    <a:pt x="10043" y="11859"/>
                    <a:pt x="10043" y="11859"/>
                  </a:cubicBezTo>
                  <a:cubicBezTo>
                    <a:pt x="10074" y="11957"/>
                    <a:pt x="10074" y="11957"/>
                    <a:pt x="10074" y="11957"/>
                  </a:cubicBezTo>
                  <a:cubicBezTo>
                    <a:pt x="10146" y="11937"/>
                    <a:pt x="10146" y="11937"/>
                    <a:pt x="10146" y="11937"/>
                  </a:cubicBezTo>
                  <a:cubicBezTo>
                    <a:pt x="10179" y="12041"/>
                    <a:pt x="10179" y="12041"/>
                    <a:pt x="10179" y="12041"/>
                  </a:cubicBezTo>
                  <a:cubicBezTo>
                    <a:pt x="10103" y="12066"/>
                    <a:pt x="10103" y="12066"/>
                    <a:pt x="10103" y="12066"/>
                  </a:cubicBezTo>
                  <a:cubicBezTo>
                    <a:pt x="10120" y="12118"/>
                    <a:pt x="10120" y="12118"/>
                    <a:pt x="10120" y="12118"/>
                  </a:cubicBezTo>
                  <a:cubicBezTo>
                    <a:pt x="10322" y="12051"/>
                    <a:pt x="10322" y="12051"/>
                    <a:pt x="10322" y="12051"/>
                  </a:cubicBezTo>
                  <a:cubicBezTo>
                    <a:pt x="10295" y="11961"/>
                    <a:pt x="10295" y="11961"/>
                    <a:pt x="10295" y="11961"/>
                  </a:cubicBezTo>
                  <a:cubicBezTo>
                    <a:pt x="10438" y="11918"/>
                    <a:pt x="10438" y="11918"/>
                    <a:pt x="10438" y="11918"/>
                  </a:cubicBezTo>
                  <a:cubicBezTo>
                    <a:pt x="10466" y="12008"/>
                    <a:pt x="10466" y="12008"/>
                    <a:pt x="10466" y="12008"/>
                  </a:cubicBezTo>
                  <a:cubicBezTo>
                    <a:pt x="10680" y="11941"/>
                    <a:pt x="10680" y="11941"/>
                    <a:pt x="10680" y="11941"/>
                  </a:cubicBezTo>
                  <a:cubicBezTo>
                    <a:pt x="10678" y="11934"/>
                    <a:pt x="10678" y="11934"/>
                    <a:pt x="10678" y="11934"/>
                  </a:cubicBezTo>
                  <a:cubicBezTo>
                    <a:pt x="10601" y="11689"/>
                    <a:pt x="10601" y="11689"/>
                    <a:pt x="10601" y="11689"/>
                  </a:cubicBezTo>
                  <a:cubicBezTo>
                    <a:pt x="10553" y="11701"/>
                    <a:pt x="10553" y="11701"/>
                    <a:pt x="10553" y="11701"/>
                  </a:cubicBezTo>
                  <a:cubicBezTo>
                    <a:pt x="10505" y="11555"/>
                    <a:pt x="10505" y="11555"/>
                    <a:pt x="10505" y="11555"/>
                  </a:cubicBezTo>
                  <a:lnTo>
                    <a:pt x="10353" y="11604"/>
                  </a:lnTo>
                  <a:close/>
                  <a:moveTo>
                    <a:pt x="10591" y="11706"/>
                  </a:moveTo>
                  <a:cubicBezTo>
                    <a:pt x="10661" y="11931"/>
                    <a:pt x="10661" y="11931"/>
                    <a:pt x="10661" y="11931"/>
                  </a:cubicBezTo>
                  <a:cubicBezTo>
                    <a:pt x="10476" y="11989"/>
                    <a:pt x="10476" y="11989"/>
                    <a:pt x="10476" y="11989"/>
                  </a:cubicBezTo>
                  <a:cubicBezTo>
                    <a:pt x="10447" y="11899"/>
                    <a:pt x="10447" y="11899"/>
                    <a:pt x="10447" y="11899"/>
                  </a:cubicBezTo>
                  <a:cubicBezTo>
                    <a:pt x="10276" y="11952"/>
                    <a:pt x="10276" y="11952"/>
                    <a:pt x="10276" y="11952"/>
                  </a:cubicBezTo>
                  <a:cubicBezTo>
                    <a:pt x="10303" y="12041"/>
                    <a:pt x="10303" y="12041"/>
                    <a:pt x="10303" y="12041"/>
                  </a:cubicBezTo>
                  <a:cubicBezTo>
                    <a:pt x="10129" y="12099"/>
                    <a:pt x="10129" y="12099"/>
                    <a:pt x="10129" y="12099"/>
                  </a:cubicBezTo>
                  <a:cubicBezTo>
                    <a:pt x="10122" y="12076"/>
                    <a:pt x="10122" y="12076"/>
                    <a:pt x="10122" y="12076"/>
                  </a:cubicBezTo>
                  <a:cubicBezTo>
                    <a:pt x="10197" y="12051"/>
                    <a:pt x="10197" y="12051"/>
                    <a:pt x="10197" y="12051"/>
                  </a:cubicBezTo>
                  <a:cubicBezTo>
                    <a:pt x="10156" y="11918"/>
                    <a:pt x="10156" y="11918"/>
                    <a:pt x="10156" y="11918"/>
                  </a:cubicBezTo>
                  <a:cubicBezTo>
                    <a:pt x="10084" y="11939"/>
                    <a:pt x="10084" y="11939"/>
                    <a:pt x="10084" y="11939"/>
                  </a:cubicBezTo>
                  <a:cubicBezTo>
                    <a:pt x="10061" y="11868"/>
                    <a:pt x="10061" y="11868"/>
                    <a:pt x="10061" y="11868"/>
                  </a:cubicBezTo>
                  <a:cubicBezTo>
                    <a:pt x="10415" y="11758"/>
                    <a:pt x="10415" y="11758"/>
                    <a:pt x="10415" y="11758"/>
                  </a:cubicBezTo>
                  <a:cubicBezTo>
                    <a:pt x="10372" y="11614"/>
                    <a:pt x="10372" y="11614"/>
                    <a:pt x="10372" y="11614"/>
                  </a:cubicBezTo>
                  <a:cubicBezTo>
                    <a:pt x="10496" y="11574"/>
                    <a:pt x="10496" y="11574"/>
                    <a:pt x="10496" y="11574"/>
                  </a:cubicBezTo>
                  <a:cubicBezTo>
                    <a:pt x="10543" y="11719"/>
                    <a:pt x="10543" y="11719"/>
                    <a:pt x="10543" y="11719"/>
                  </a:cubicBezTo>
                  <a:lnTo>
                    <a:pt x="10591" y="11706"/>
                  </a:lnTo>
                  <a:close/>
                  <a:moveTo>
                    <a:pt x="45" y="4529"/>
                  </a:moveTo>
                  <a:cubicBezTo>
                    <a:pt x="4" y="4481"/>
                    <a:pt x="4" y="4481"/>
                    <a:pt x="4" y="4481"/>
                  </a:cubicBezTo>
                  <a:cubicBezTo>
                    <a:pt x="4" y="4458"/>
                    <a:pt x="4" y="4458"/>
                    <a:pt x="4" y="4458"/>
                  </a:cubicBezTo>
                  <a:cubicBezTo>
                    <a:pt x="46" y="4508"/>
                    <a:pt x="46" y="4508"/>
                    <a:pt x="46" y="4508"/>
                  </a:cubicBezTo>
                  <a:cubicBezTo>
                    <a:pt x="160" y="4411"/>
                    <a:pt x="160" y="4411"/>
                    <a:pt x="160" y="4411"/>
                  </a:cubicBezTo>
                  <a:cubicBezTo>
                    <a:pt x="366" y="4650"/>
                    <a:pt x="366" y="4650"/>
                    <a:pt x="366" y="4650"/>
                  </a:cubicBezTo>
                  <a:cubicBezTo>
                    <a:pt x="885" y="4189"/>
                    <a:pt x="885" y="4189"/>
                    <a:pt x="885" y="4189"/>
                  </a:cubicBezTo>
                  <a:cubicBezTo>
                    <a:pt x="781" y="4068"/>
                    <a:pt x="781" y="4068"/>
                    <a:pt x="781" y="4068"/>
                  </a:cubicBezTo>
                  <a:cubicBezTo>
                    <a:pt x="723" y="4113"/>
                    <a:pt x="723" y="4113"/>
                    <a:pt x="723" y="4113"/>
                  </a:cubicBezTo>
                  <a:cubicBezTo>
                    <a:pt x="570" y="3927"/>
                    <a:pt x="570" y="3927"/>
                    <a:pt x="570" y="3927"/>
                  </a:cubicBezTo>
                  <a:cubicBezTo>
                    <a:pt x="626" y="3874"/>
                    <a:pt x="626" y="3874"/>
                    <a:pt x="626" y="3874"/>
                  </a:cubicBezTo>
                  <a:cubicBezTo>
                    <a:pt x="484" y="3708"/>
                    <a:pt x="484" y="3708"/>
                    <a:pt x="484" y="3708"/>
                  </a:cubicBezTo>
                  <a:cubicBezTo>
                    <a:pt x="248" y="3912"/>
                    <a:pt x="248" y="3912"/>
                    <a:pt x="248" y="3912"/>
                  </a:cubicBezTo>
                  <a:cubicBezTo>
                    <a:pt x="220" y="3879"/>
                    <a:pt x="220" y="3879"/>
                    <a:pt x="220" y="3879"/>
                  </a:cubicBezTo>
                  <a:cubicBezTo>
                    <a:pt x="4" y="4064"/>
                    <a:pt x="4" y="4064"/>
                    <a:pt x="4" y="4064"/>
                  </a:cubicBezTo>
                  <a:cubicBezTo>
                    <a:pt x="4" y="4045"/>
                    <a:pt x="4" y="4045"/>
                    <a:pt x="4" y="4045"/>
                  </a:cubicBezTo>
                  <a:cubicBezTo>
                    <a:pt x="222" y="3858"/>
                    <a:pt x="222" y="3858"/>
                    <a:pt x="222" y="3858"/>
                  </a:cubicBezTo>
                  <a:cubicBezTo>
                    <a:pt x="250" y="3891"/>
                    <a:pt x="250" y="3891"/>
                    <a:pt x="250" y="3891"/>
                  </a:cubicBezTo>
                  <a:cubicBezTo>
                    <a:pt x="479" y="3692"/>
                    <a:pt x="479" y="3692"/>
                    <a:pt x="479" y="3692"/>
                  </a:cubicBezTo>
                  <a:cubicBezTo>
                    <a:pt x="485" y="3687"/>
                    <a:pt x="485" y="3687"/>
                    <a:pt x="485" y="3687"/>
                  </a:cubicBezTo>
                  <a:cubicBezTo>
                    <a:pt x="646" y="3875"/>
                    <a:pt x="646" y="3875"/>
                    <a:pt x="646" y="3875"/>
                  </a:cubicBezTo>
                  <a:cubicBezTo>
                    <a:pt x="590" y="3928"/>
                    <a:pt x="590" y="3928"/>
                    <a:pt x="590" y="3928"/>
                  </a:cubicBezTo>
                  <a:cubicBezTo>
                    <a:pt x="726" y="4093"/>
                    <a:pt x="726" y="4093"/>
                    <a:pt x="726" y="4093"/>
                  </a:cubicBezTo>
                  <a:cubicBezTo>
                    <a:pt x="783" y="4047"/>
                    <a:pt x="783" y="4047"/>
                    <a:pt x="783" y="4047"/>
                  </a:cubicBezTo>
                  <a:cubicBezTo>
                    <a:pt x="906" y="4191"/>
                    <a:pt x="906" y="4191"/>
                    <a:pt x="906" y="4191"/>
                  </a:cubicBezTo>
                  <a:cubicBezTo>
                    <a:pt x="364" y="4671"/>
                    <a:pt x="364" y="4671"/>
                    <a:pt x="364" y="4671"/>
                  </a:cubicBezTo>
                  <a:cubicBezTo>
                    <a:pt x="159" y="4432"/>
                    <a:pt x="159" y="4432"/>
                    <a:pt x="159" y="4432"/>
                  </a:cubicBezTo>
                  <a:lnTo>
                    <a:pt x="45" y="4529"/>
                  </a:lnTo>
                  <a:close/>
                  <a:moveTo>
                    <a:pt x="82" y="5796"/>
                  </a:moveTo>
                  <a:cubicBezTo>
                    <a:pt x="4" y="5706"/>
                    <a:pt x="4" y="5706"/>
                    <a:pt x="4" y="5706"/>
                  </a:cubicBezTo>
                  <a:cubicBezTo>
                    <a:pt x="4" y="5683"/>
                    <a:pt x="4" y="5683"/>
                    <a:pt x="4" y="5683"/>
                  </a:cubicBezTo>
                  <a:cubicBezTo>
                    <a:pt x="83" y="5775"/>
                    <a:pt x="83" y="5775"/>
                    <a:pt x="83" y="5775"/>
                  </a:cubicBezTo>
                  <a:cubicBezTo>
                    <a:pt x="603" y="5314"/>
                    <a:pt x="603" y="5314"/>
                    <a:pt x="603" y="5314"/>
                  </a:cubicBezTo>
                  <a:cubicBezTo>
                    <a:pt x="499" y="5193"/>
                    <a:pt x="499" y="5193"/>
                    <a:pt x="499" y="5193"/>
                  </a:cubicBezTo>
                  <a:cubicBezTo>
                    <a:pt x="441" y="5238"/>
                    <a:pt x="441" y="5238"/>
                    <a:pt x="441" y="5238"/>
                  </a:cubicBezTo>
                  <a:cubicBezTo>
                    <a:pt x="288" y="5052"/>
                    <a:pt x="288" y="5052"/>
                    <a:pt x="288" y="5052"/>
                  </a:cubicBezTo>
                  <a:cubicBezTo>
                    <a:pt x="344" y="4999"/>
                    <a:pt x="344" y="4999"/>
                    <a:pt x="344" y="4999"/>
                  </a:cubicBezTo>
                  <a:cubicBezTo>
                    <a:pt x="201" y="4833"/>
                    <a:pt x="201" y="4833"/>
                    <a:pt x="201" y="4833"/>
                  </a:cubicBezTo>
                  <a:cubicBezTo>
                    <a:pt x="4" y="5004"/>
                    <a:pt x="4" y="5004"/>
                    <a:pt x="4" y="5004"/>
                  </a:cubicBezTo>
                  <a:cubicBezTo>
                    <a:pt x="4" y="4984"/>
                    <a:pt x="4" y="4984"/>
                    <a:pt x="4" y="4984"/>
                  </a:cubicBezTo>
                  <a:cubicBezTo>
                    <a:pt x="197" y="4817"/>
                    <a:pt x="197" y="4817"/>
                    <a:pt x="197" y="4817"/>
                  </a:cubicBezTo>
                  <a:cubicBezTo>
                    <a:pt x="203" y="4813"/>
                    <a:pt x="203" y="4813"/>
                    <a:pt x="203" y="4813"/>
                  </a:cubicBezTo>
                  <a:cubicBezTo>
                    <a:pt x="364" y="5000"/>
                    <a:pt x="364" y="5000"/>
                    <a:pt x="364" y="5000"/>
                  </a:cubicBezTo>
                  <a:cubicBezTo>
                    <a:pt x="308" y="5053"/>
                    <a:pt x="308" y="5053"/>
                    <a:pt x="308" y="5053"/>
                  </a:cubicBezTo>
                  <a:cubicBezTo>
                    <a:pt x="444" y="5218"/>
                    <a:pt x="444" y="5218"/>
                    <a:pt x="444" y="5218"/>
                  </a:cubicBezTo>
                  <a:cubicBezTo>
                    <a:pt x="501" y="5173"/>
                    <a:pt x="501" y="5173"/>
                    <a:pt x="501" y="5173"/>
                  </a:cubicBezTo>
                  <a:cubicBezTo>
                    <a:pt x="624" y="5316"/>
                    <a:pt x="624" y="5316"/>
                    <a:pt x="624" y="5316"/>
                  </a:cubicBezTo>
                  <a:lnTo>
                    <a:pt x="82" y="5796"/>
                  </a:lnTo>
                  <a:close/>
                  <a:moveTo>
                    <a:pt x="9661" y="7294"/>
                  </a:moveTo>
                  <a:cubicBezTo>
                    <a:pt x="9368" y="7374"/>
                    <a:pt x="9368" y="7374"/>
                    <a:pt x="9368" y="7374"/>
                  </a:cubicBezTo>
                  <a:cubicBezTo>
                    <a:pt x="9361" y="7376"/>
                    <a:pt x="9361" y="7376"/>
                    <a:pt x="9361" y="7376"/>
                  </a:cubicBezTo>
                  <a:cubicBezTo>
                    <a:pt x="9426" y="7614"/>
                    <a:pt x="9426" y="7614"/>
                    <a:pt x="9426" y="7614"/>
                  </a:cubicBezTo>
                  <a:cubicBezTo>
                    <a:pt x="9502" y="7597"/>
                    <a:pt x="9502" y="7597"/>
                    <a:pt x="9502" y="7597"/>
                  </a:cubicBezTo>
                  <a:cubicBezTo>
                    <a:pt x="9563" y="7802"/>
                    <a:pt x="9563" y="7802"/>
                    <a:pt x="9563" y="7802"/>
                  </a:cubicBezTo>
                  <a:cubicBezTo>
                    <a:pt x="9493" y="7824"/>
                    <a:pt x="9493" y="7824"/>
                    <a:pt x="9493" y="7824"/>
                  </a:cubicBezTo>
                  <a:cubicBezTo>
                    <a:pt x="9544" y="8006"/>
                    <a:pt x="9544" y="8006"/>
                    <a:pt x="9544" y="8006"/>
                  </a:cubicBezTo>
                  <a:cubicBezTo>
                    <a:pt x="10245" y="7824"/>
                    <a:pt x="10245" y="7824"/>
                    <a:pt x="10245" y="7824"/>
                  </a:cubicBezTo>
                  <a:cubicBezTo>
                    <a:pt x="10161" y="7520"/>
                    <a:pt x="10161" y="7520"/>
                    <a:pt x="10161" y="7520"/>
                  </a:cubicBezTo>
                  <a:cubicBezTo>
                    <a:pt x="10305" y="7479"/>
                    <a:pt x="10305" y="7479"/>
                    <a:pt x="10305" y="7479"/>
                  </a:cubicBezTo>
                  <a:cubicBezTo>
                    <a:pt x="10212" y="7157"/>
                    <a:pt x="10212" y="7157"/>
                    <a:pt x="10212" y="7157"/>
                  </a:cubicBezTo>
                  <a:cubicBezTo>
                    <a:pt x="10017" y="7210"/>
                    <a:pt x="10017" y="7210"/>
                    <a:pt x="10017" y="7210"/>
                  </a:cubicBezTo>
                  <a:cubicBezTo>
                    <a:pt x="10001" y="7156"/>
                    <a:pt x="10001" y="7156"/>
                    <a:pt x="10001" y="7156"/>
                  </a:cubicBezTo>
                  <a:cubicBezTo>
                    <a:pt x="9649" y="7252"/>
                    <a:pt x="9649" y="7252"/>
                    <a:pt x="9649" y="7252"/>
                  </a:cubicBezTo>
                  <a:lnTo>
                    <a:pt x="9661" y="7294"/>
                  </a:lnTo>
                  <a:close/>
                  <a:moveTo>
                    <a:pt x="9991" y="7174"/>
                  </a:moveTo>
                  <a:cubicBezTo>
                    <a:pt x="10007" y="7228"/>
                    <a:pt x="10007" y="7228"/>
                    <a:pt x="10007" y="7228"/>
                  </a:cubicBezTo>
                  <a:cubicBezTo>
                    <a:pt x="10202" y="7175"/>
                    <a:pt x="10202" y="7175"/>
                    <a:pt x="10202" y="7175"/>
                  </a:cubicBezTo>
                  <a:cubicBezTo>
                    <a:pt x="10286" y="7469"/>
                    <a:pt x="10286" y="7469"/>
                    <a:pt x="10286" y="7469"/>
                  </a:cubicBezTo>
                  <a:cubicBezTo>
                    <a:pt x="10142" y="7510"/>
                    <a:pt x="10142" y="7510"/>
                    <a:pt x="10142" y="7510"/>
                  </a:cubicBezTo>
                  <a:cubicBezTo>
                    <a:pt x="10227" y="7814"/>
                    <a:pt x="10227" y="7814"/>
                    <a:pt x="10227" y="7814"/>
                  </a:cubicBezTo>
                  <a:cubicBezTo>
                    <a:pt x="9554" y="7988"/>
                    <a:pt x="9554" y="7988"/>
                    <a:pt x="9554" y="7988"/>
                  </a:cubicBezTo>
                  <a:cubicBezTo>
                    <a:pt x="9511" y="7834"/>
                    <a:pt x="9511" y="7834"/>
                    <a:pt x="9511" y="7834"/>
                  </a:cubicBezTo>
                  <a:cubicBezTo>
                    <a:pt x="9581" y="7811"/>
                    <a:pt x="9581" y="7811"/>
                    <a:pt x="9581" y="7811"/>
                  </a:cubicBezTo>
                  <a:cubicBezTo>
                    <a:pt x="9512" y="7580"/>
                    <a:pt x="9512" y="7580"/>
                    <a:pt x="9512" y="7580"/>
                  </a:cubicBezTo>
                  <a:cubicBezTo>
                    <a:pt x="9437" y="7596"/>
                    <a:pt x="9437" y="7596"/>
                    <a:pt x="9437" y="7596"/>
                  </a:cubicBezTo>
                  <a:cubicBezTo>
                    <a:pt x="9379" y="7386"/>
                    <a:pt x="9379" y="7386"/>
                    <a:pt x="9379" y="7386"/>
                  </a:cubicBezTo>
                  <a:cubicBezTo>
                    <a:pt x="9679" y="7304"/>
                    <a:pt x="9679" y="7304"/>
                    <a:pt x="9679" y="7304"/>
                  </a:cubicBezTo>
                  <a:cubicBezTo>
                    <a:pt x="9667" y="7263"/>
                    <a:pt x="9667" y="7263"/>
                    <a:pt x="9667" y="7263"/>
                  </a:cubicBezTo>
                  <a:lnTo>
                    <a:pt x="9991" y="7174"/>
                  </a:lnTo>
                  <a:close/>
                  <a:moveTo>
                    <a:pt x="8579" y="9870"/>
                  </a:moveTo>
                  <a:cubicBezTo>
                    <a:pt x="8680" y="9679"/>
                    <a:pt x="8680" y="9679"/>
                    <a:pt x="8680" y="9679"/>
                  </a:cubicBezTo>
                  <a:cubicBezTo>
                    <a:pt x="8741" y="9715"/>
                    <a:pt x="8741" y="9715"/>
                    <a:pt x="8741" y="9715"/>
                  </a:cubicBezTo>
                  <a:cubicBezTo>
                    <a:pt x="8797" y="9620"/>
                    <a:pt x="8797" y="9620"/>
                    <a:pt x="8797" y="9620"/>
                  </a:cubicBezTo>
                  <a:cubicBezTo>
                    <a:pt x="8481" y="9437"/>
                    <a:pt x="8481" y="9437"/>
                    <a:pt x="8481" y="9437"/>
                  </a:cubicBezTo>
                  <a:cubicBezTo>
                    <a:pt x="8423" y="9525"/>
                    <a:pt x="8423" y="9525"/>
                    <a:pt x="8423" y="9525"/>
                  </a:cubicBezTo>
                  <a:cubicBezTo>
                    <a:pt x="8247" y="9429"/>
                    <a:pt x="8247" y="9429"/>
                    <a:pt x="8247" y="9429"/>
                  </a:cubicBezTo>
                  <a:cubicBezTo>
                    <a:pt x="8241" y="9425"/>
                    <a:pt x="8241" y="9425"/>
                    <a:pt x="8241" y="9425"/>
                  </a:cubicBezTo>
                  <a:cubicBezTo>
                    <a:pt x="8183" y="9515"/>
                    <a:pt x="8183" y="9515"/>
                    <a:pt x="8183" y="9515"/>
                  </a:cubicBezTo>
                  <a:cubicBezTo>
                    <a:pt x="8241" y="9547"/>
                    <a:pt x="8241" y="9547"/>
                    <a:pt x="8241" y="9547"/>
                  </a:cubicBezTo>
                  <a:cubicBezTo>
                    <a:pt x="8162" y="9690"/>
                    <a:pt x="8162" y="9690"/>
                    <a:pt x="8162" y="9690"/>
                  </a:cubicBezTo>
                  <a:cubicBezTo>
                    <a:pt x="8229" y="9728"/>
                    <a:pt x="8229" y="9728"/>
                    <a:pt x="8229" y="9728"/>
                  </a:cubicBezTo>
                  <a:cubicBezTo>
                    <a:pt x="8309" y="9591"/>
                    <a:pt x="8309" y="9591"/>
                    <a:pt x="8309" y="9591"/>
                  </a:cubicBezTo>
                  <a:cubicBezTo>
                    <a:pt x="8371" y="9626"/>
                    <a:pt x="8371" y="9626"/>
                    <a:pt x="8371" y="9626"/>
                  </a:cubicBezTo>
                  <a:cubicBezTo>
                    <a:pt x="8210" y="9900"/>
                    <a:pt x="8210" y="9900"/>
                    <a:pt x="8210" y="9900"/>
                  </a:cubicBezTo>
                  <a:cubicBezTo>
                    <a:pt x="8288" y="9947"/>
                    <a:pt x="8288" y="9947"/>
                    <a:pt x="8288" y="9947"/>
                  </a:cubicBezTo>
                  <a:cubicBezTo>
                    <a:pt x="8422" y="9714"/>
                    <a:pt x="8422" y="9714"/>
                    <a:pt x="8422" y="9714"/>
                  </a:cubicBezTo>
                  <a:cubicBezTo>
                    <a:pt x="8545" y="9786"/>
                    <a:pt x="8545" y="9786"/>
                    <a:pt x="8545" y="9786"/>
                  </a:cubicBezTo>
                  <a:cubicBezTo>
                    <a:pt x="8411" y="10019"/>
                    <a:pt x="8411" y="10019"/>
                    <a:pt x="8411" y="10019"/>
                  </a:cubicBezTo>
                  <a:cubicBezTo>
                    <a:pt x="8531" y="10086"/>
                    <a:pt x="8531" y="10086"/>
                    <a:pt x="8531" y="10086"/>
                  </a:cubicBezTo>
                  <a:cubicBezTo>
                    <a:pt x="8633" y="9905"/>
                    <a:pt x="8633" y="9905"/>
                    <a:pt x="8633" y="9905"/>
                  </a:cubicBezTo>
                  <a:lnTo>
                    <a:pt x="8579" y="9870"/>
                  </a:lnTo>
                  <a:close/>
                  <a:moveTo>
                    <a:pt x="8525" y="10066"/>
                  </a:moveTo>
                  <a:cubicBezTo>
                    <a:pt x="8431" y="10014"/>
                    <a:pt x="8431" y="10014"/>
                    <a:pt x="8431" y="10014"/>
                  </a:cubicBezTo>
                  <a:cubicBezTo>
                    <a:pt x="8565" y="9780"/>
                    <a:pt x="8565" y="9780"/>
                    <a:pt x="8565" y="9780"/>
                  </a:cubicBezTo>
                  <a:cubicBezTo>
                    <a:pt x="8417" y="9694"/>
                    <a:pt x="8417" y="9694"/>
                    <a:pt x="8417" y="9694"/>
                  </a:cubicBezTo>
                  <a:cubicBezTo>
                    <a:pt x="8282" y="9927"/>
                    <a:pt x="8282" y="9927"/>
                    <a:pt x="8282" y="9927"/>
                  </a:cubicBezTo>
                  <a:cubicBezTo>
                    <a:pt x="8230" y="9895"/>
                    <a:pt x="8230" y="9895"/>
                    <a:pt x="8230" y="9895"/>
                  </a:cubicBezTo>
                  <a:cubicBezTo>
                    <a:pt x="8391" y="9620"/>
                    <a:pt x="8391" y="9620"/>
                    <a:pt x="8391" y="9620"/>
                  </a:cubicBezTo>
                  <a:cubicBezTo>
                    <a:pt x="8304" y="9571"/>
                    <a:pt x="8304" y="9571"/>
                    <a:pt x="8304" y="9571"/>
                  </a:cubicBezTo>
                  <a:cubicBezTo>
                    <a:pt x="8223" y="9708"/>
                    <a:pt x="8223" y="9708"/>
                    <a:pt x="8223" y="9708"/>
                  </a:cubicBezTo>
                  <a:cubicBezTo>
                    <a:pt x="8182" y="9685"/>
                    <a:pt x="8182" y="9685"/>
                    <a:pt x="8182" y="9685"/>
                  </a:cubicBezTo>
                  <a:cubicBezTo>
                    <a:pt x="8261" y="9541"/>
                    <a:pt x="8261" y="9541"/>
                    <a:pt x="8261" y="9541"/>
                  </a:cubicBezTo>
                  <a:cubicBezTo>
                    <a:pt x="8204" y="9510"/>
                    <a:pt x="8204" y="9510"/>
                    <a:pt x="8204" y="9510"/>
                  </a:cubicBezTo>
                  <a:cubicBezTo>
                    <a:pt x="8246" y="9445"/>
                    <a:pt x="8246" y="9445"/>
                    <a:pt x="8246" y="9445"/>
                  </a:cubicBezTo>
                  <a:cubicBezTo>
                    <a:pt x="8428" y="9544"/>
                    <a:pt x="8428" y="9544"/>
                    <a:pt x="8428" y="9544"/>
                  </a:cubicBezTo>
                  <a:cubicBezTo>
                    <a:pt x="8486" y="9456"/>
                    <a:pt x="8486" y="9456"/>
                    <a:pt x="8486" y="9456"/>
                  </a:cubicBezTo>
                  <a:cubicBezTo>
                    <a:pt x="8777" y="9626"/>
                    <a:pt x="8777" y="9626"/>
                    <a:pt x="8777" y="9626"/>
                  </a:cubicBezTo>
                  <a:cubicBezTo>
                    <a:pt x="8736" y="9695"/>
                    <a:pt x="8736" y="9695"/>
                    <a:pt x="8736" y="9695"/>
                  </a:cubicBezTo>
                  <a:cubicBezTo>
                    <a:pt x="8674" y="9659"/>
                    <a:pt x="8674" y="9659"/>
                    <a:pt x="8674" y="9659"/>
                  </a:cubicBezTo>
                  <a:cubicBezTo>
                    <a:pt x="8559" y="9875"/>
                    <a:pt x="8559" y="9875"/>
                    <a:pt x="8559" y="9875"/>
                  </a:cubicBezTo>
                  <a:cubicBezTo>
                    <a:pt x="8613" y="9910"/>
                    <a:pt x="8613" y="9910"/>
                    <a:pt x="8613" y="9910"/>
                  </a:cubicBezTo>
                  <a:lnTo>
                    <a:pt x="8525" y="10066"/>
                  </a:lnTo>
                  <a:close/>
                  <a:moveTo>
                    <a:pt x="8215" y="8478"/>
                  </a:moveTo>
                  <a:cubicBezTo>
                    <a:pt x="8039" y="8382"/>
                    <a:pt x="8039" y="8382"/>
                    <a:pt x="8039" y="8382"/>
                  </a:cubicBezTo>
                  <a:cubicBezTo>
                    <a:pt x="8033" y="8379"/>
                    <a:pt x="8033" y="8379"/>
                    <a:pt x="8033" y="8379"/>
                  </a:cubicBezTo>
                  <a:cubicBezTo>
                    <a:pt x="7975" y="8469"/>
                    <a:pt x="7975" y="8469"/>
                    <a:pt x="7975" y="8469"/>
                  </a:cubicBezTo>
                  <a:cubicBezTo>
                    <a:pt x="8033" y="8500"/>
                    <a:pt x="8033" y="8500"/>
                    <a:pt x="8033" y="8500"/>
                  </a:cubicBezTo>
                  <a:cubicBezTo>
                    <a:pt x="7955" y="8644"/>
                    <a:pt x="7955" y="8644"/>
                    <a:pt x="7955" y="8644"/>
                  </a:cubicBezTo>
                  <a:cubicBezTo>
                    <a:pt x="8021" y="8682"/>
                    <a:pt x="8021" y="8682"/>
                    <a:pt x="8021" y="8682"/>
                  </a:cubicBezTo>
                  <a:cubicBezTo>
                    <a:pt x="8102" y="8545"/>
                    <a:pt x="8102" y="8545"/>
                    <a:pt x="8102" y="8545"/>
                  </a:cubicBezTo>
                  <a:cubicBezTo>
                    <a:pt x="8163" y="8580"/>
                    <a:pt x="8163" y="8580"/>
                    <a:pt x="8163" y="8580"/>
                  </a:cubicBezTo>
                  <a:cubicBezTo>
                    <a:pt x="8002" y="8854"/>
                    <a:pt x="8002" y="8854"/>
                    <a:pt x="8002" y="8854"/>
                  </a:cubicBezTo>
                  <a:cubicBezTo>
                    <a:pt x="8080" y="8901"/>
                    <a:pt x="8080" y="8901"/>
                    <a:pt x="8080" y="8901"/>
                  </a:cubicBezTo>
                  <a:cubicBezTo>
                    <a:pt x="8215" y="8668"/>
                    <a:pt x="8215" y="8668"/>
                    <a:pt x="8215" y="8668"/>
                  </a:cubicBezTo>
                  <a:cubicBezTo>
                    <a:pt x="8337" y="8739"/>
                    <a:pt x="8337" y="8739"/>
                    <a:pt x="8337" y="8739"/>
                  </a:cubicBezTo>
                  <a:cubicBezTo>
                    <a:pt x="8203" y="8973"/>
                    <a:pt x="8203" y="8973"/>
                    <a:pt x="8203" y="8973"/>
                  </a:cubicBezTo>
                  <a:cubicBezTo>
                    <a:pt x="8323" y="9039"/>
                    <a:pt x="8323" y="9039"/>
                    <a:pt x="8323" y="9039"/>
                  </a:cubicBezTo>
                  <a:cubicBezTo>
                    <a:pt x="8425" y="8858"/>
                    <a:pt x="8425" y="8858"/>
                    <a:pt x="8425" y="8858"/>
                  </a:cubicBezTo>
                  <a:cubicBezTo>
                    <a:pt x="8371" y="8823"/>
                    <a:pt x="8371" y="8823"/>
                    <a:pt x="8371" y="8823"/>
                  </a:cubicBezTo>
                  <a:cubicBezTo>
                    <a:pt x="8472" y="8633"/>
                    <a:pt x="8472" y="8633"/>
                    <a:pt x="8472" y="8633"/>
                  </a:cubicBezTo>
                  <a:cubicBezTo>
                    <a:pt x="8533" y="8669"/>
                    <a:pt x="8533" y="8669"/>
                    <a:pt x="8533" y="8669"/>
                  </a:cubicBezTo>
                  <a:cubicBezTo>
                    <a:pt x="8589" y="8574"/>
                    <a:pt x="8589" y="8574"/>
                    <a:pt x="8589" y="8574"/>
                  </a:cubicBezTo>
                  <a:cubicBezTo>
                    <a:pt x="8274" y="8390"/>
                    <a:pt x="8274" y="8390"/>
                    <a:pt x="8274" y="8390"/>
                  </a:cubicBezTo>
                  <a:lnTo>
                    <a:pt x="8215" y="8478"/>
                  </a:lnTo>
                  <a:close/>
                  <a:moveTo>
                    <a:pt x="8569" y="8579"/>
                  </a:moveTo>
                  <a:cubicBezTo>
                    <a:pt x="8528" y="8649"/>
                    <a:pt x="8528" y="8649"/>
                    <a:pt x="8528" y="8649"/>
                  </a:cubicBezTo>
                  <a:cubicBezTo>
                    <a:pt x="8467" y="8612"/>
                    <a:pt x="8467" y="8612"/>
                    <a:pt x="8467" y="8612"/>
                  </a:cubicBezTo>
                  <a:cubicBezTo>
                    <a:pt x="8351" y="8828"/>
                    <a:pt x="8351" y="8828"/>
                    <a:pt x="8351" y="8828"/>
                  </a:cubicBezTo>
                  <a:cubicBezTo>
                    <a:pt x="8405" y="8863"/>
                    <a:pt x="8405" y="8863"/>
                    <a:pt x="8405" y="8863"/>
                  </a:cubicBezTo>
                  <a:cubicBezTo>
                    <a:pt x="8317" y="9019"/>
                    <a:pt x="8317" y="9019"/>
                    <a:pt x="8317" y="9019"/>
                  </a:cubicBezTo>
                  <a:cubicBezTo>
                    <a:pt x="8223" y="8967"/>
                    <a:pt x="8223" y="8967"/>
                    <a:pt x="8223" y="8967"/>
                  </a:cubicBezTo>
                  <a:cubicBezTo>
                    <a:pt x="8357" y="8734"/>
                    <a:pt x="8357" y="8734"/>
                    <a:pt x="8357" y="8734"/>
                  </a:cubicBezTo>
                  <a:cubicBezTo>
                    <a:pt x="8209" y="8647"/>
                    <a:pt x="8209" y="8647"/>
                    <a:pt x="8209" y="8647"/>
                  </a:cubicBezTo>
                  <a:cubicBezTo>
                    <a:pt x="8075" y="8881"/>
                    <a:pt x="8075" y="8881"/>
                    <a:pt x="8075" y="8881"/>
                  </a:cubicBezTo>
                  <a:cubicBezTo>
                    <a:pt x="8022" y="8849"/>
                    <a:pt x="8022" y="8849"/>
                    <a:pt x="8022" y="8849"/>
                  </a:cubicBezTo>
                  <a:cubicBezTo>
                    <a:pt x="8184" y="8574"/>
                    <a:pt x="8184" y="8574"/>
                    <a:pt x="8184" y="8574"/>
                  </a:cubicBezTo>
                  <a:cubicBezTo>
                    <a:pt x="8096" y="8525"/>
                    <a:pt x="8096" y="8525"/>
                    <a:pt x="8096" y="8525"/>
                  </a:cubicBezTo>
                  <a:cubicBezTo>
                    <a:pt x="8016" y="8662"/>
                    <a:pt x="8016" y="8662"/>
                    <a:pt x="8016" y="8662"/>
                  </a:cubicBezTo>
                  <a:cubicBezTo>
                    <a:pt x="7975" y="8638"/>
                    <a:pt x="7975" y="8638"/>
                    <a:pt x="7975" y="8638"/>
                  </a:cubicBezTo>
                  <a:cubicBezTo>
                    <a:pt x="8054" y="8494"/>
                    <a:pt x="8054" y="8494"/>
                    <a:pt x="8054" y="8494"/>
                  </a:cubicBezTo>
                  <a:cubicBezTo>
                    <a:pt x="7996" y="8463"/>
                    <a:pt x="7996" y="8463"/>
                    <a:pt x="7996" y="8463"/>
                  </a:cubicBezTo>
                  <a:cubicBezTo>
                    <a:pt x="8038" y="8399"/>
                    <a:pt x="8038" y="8399"/>
                    <a:pt x="8038" y="8399"/>
                  </a:cubicBezTo>
                  <a:cubicBezTo>
                    <a:pt x="8220" y="8498"/>
                    <a:pt x="8220" y="8498"/>
                    <a:pt x="8220" y="8498"/>
                  </a:cubicBezTo>
                  <a:cubicBezTo>
                    <a:pt x="8278" y="8410"/>
                    <a:pt x="8278" y="8410"/>
                    <a:pt x="8278" y="8410"/>
                  </a:cubicBezTo>
                  <a:lnTo>
                    <a:pt x="8569" y="8579"/>
                  </a:lnTo>
                  <a:close/>
                  <a:moveTo>
                    <a:pt x="5450" y="16293"/>
                  </a:moveTo>
                  <a:cubicBezTo>
                    <a:pt x="5079" y="16293"/>
                    <a:pt x="5079" y="16293"/>
                    <a:pt x="5079" y="16293"/>
                  </a:cubicBezTo>
                  <a:cubicBezTo>
                    <a:pt x="5079" y="16364"/>
                    <a:pt x="5079" y="16364"/>
                    <a:pt x="5079" y="16364"/>
                  </a:cubicBezTo>
                  <a:cubicBezTo>
                    <a:pt x="4944" y="16364"/>
                    <a:pt x="4944" y="16364"/>
                    <a:pt x="4944" y="16364"/>
                  </a:cubicBezTo>
                  <a:cubicBezTo>
                    <a:pt x="4944" y="16585"/>
                    <a:pt x="4944" y="16585"/>
                    <a:pt x="4944" y="16585"/>
                  </a:cubicBezTo>
                  <a:cubicBezTo>
                    <a:pt x="5005" y="16585"/>
                    <a:pt x="5005" y="16585"/>
                    <a:pt x="5005" y="16585"/>
                  </a:cubicBezTo>
                  <a:cubicBezTo>
                    <a:pt x="5005" y="16847"/>
                    <a:pt x="5005" y="16847"/>
                    <a:pt x="5005" y="16847"/>
                  </a:cubicBezTo>
                  <a:cubicBezTo>
                    <a:pt x="5118" y="16847"/>
                    <a:pt x="5118" y="16847"/>
                    <a:pt x="5118" y="16847"/>
                  </a:cubicBezTo>
                  <a:cubicBezTo>
                    <a:pt x="5118" y="16587"/>
                    <a:pt x="5118" y="16587"/>
                    <a:pt x="5118" y="16587"/>
                  </a:cubicBezTo>
                  <a:cubicBezTo>
                    <a:pt x="5393" y="16587"/>
                    <a:pt x="5393" y="16587"/>
                    <a:pt x="5393" y="16587"/>
                  </a:cubicBezTo>
                  <a:cubicBezTo>
                    <a:pt x="5393" y="16689"/>
                    <a:pt x="5393" y="16689"/>
                    <a:pt x="5393" y="16689"/>
                  </a:cubicBezTo>
                  <a:cubicBezTo>
                    <a:pt x="5545" y="16689"/>
                    <a:pt x="5545" y="16689"/>
                    <a:pt x="5545" y="16689"/>
                  </a:cubicBezTo>
                  <a:cubicBezTo>
                    <a:pt x="5545" y="16585"/>
                    <a:pt x="5545" y="16585"/>
                    <a:pt x="5545" y="16585"/>
                  </a:cubicBezTo>
                  <a:cubicBezTo>
                    <a:pt x="5631" y="16585"/>
                    <a:pt x="5631" y="16585"/>
                    <a:pt x="5631" y="16585"/>
                  </a:cubicBezTo>
                  <a:cubicBezTo>
                    <a:pt x="5632" y="16372"/>
                    <a:pt x="5632" y="16372"/>
                    <a:pt x="5632" y="16372"/>
                  </a:cubicBezTo>
                  <a:cubicBezTo>
                    <a:pt x="5632" y="16365"/>
                    <a:pt x="5632" y="16365"/>
                    <a:pt x="5632" y="16365"/>
                  </a:cubicBezTo>
                  <a:cubicBezTo>
                    <a:pt x="5450" y="16365"/>
                    <a:pt x="5450" y="16365"/>
                    <a:pt x="5450" y="16365"/>
                  </a:cubicBezTo>
                  <a:lnTo>
                    <a:pt x="5450" y="16293"/>
                  </a:lnTo>
                  <a:close/>
                  <a:moveTo>
                    <a:pt x="5617" y="16379"/>
                  </a:moveTo>
                  <a:cubicBezTo>
                    <a:pt x="5616" y="16570"/>
                    <a:pt x="5616" y="16570"/>
                    <a:pt x="5616" y="16570"/>
                  </a:cubicBezTo>
                  <a:cubicBezTo>
                    <a:pt x="5531" y="16570"/>
                    <a:pt x="5531" y="16570"/>
                    <a:pt x="5531" y="16570"/>
                  </a:cubicBezTo>
                  <a:cubicBezTo>
                    <a:pt x="5531" y="16674"/>
                    <a:pt x="5531" y="16674"/>
                    <a:pt x="5531" y="16674"/>
                  </a:cubicBezTo>
                  <a:cubicBezTo>
                    <a:pt x="5408" y="16674"/>
                    <a:pt x="5408" y="16674"/>
                    <a:pt x="5408" y="16674"/>
                  </a:cubicBezTo>
                  <a:cubicBezTo>
                    <a:pt x="5408" y="16572"/>
                    <a:pt x="5408" y="16572"/>
                    <a:pt x="5408" y="16572"/>
                  </a:cubicBezTo>
                  <a:cubicBezTo>
                    <a:pt x="5103" y="16572"/>
                    <a:pt x="5103" y="16572"/>
                    <a:pt x="5103" y="16572"/>
                  </a:cubicBezTo>
                  <a:cubicBezTo>
                    <a:pt x="5103" y="16832"/>
                    <a:pt x="5103" y="16832"/>
                    <a:pt x="5103" y="16832"/>
                  </a:cubicBezTo>
                  <a:cubicBezTo>
                    <a:pt x="5020" y="16832"/>
                    <a:pt x="5020" y="16832"/>
                    <a:pt x="5020" y="16832"/>
                  </a:cubicBezTo>
                  <a:cubicBezTo>
                    <a:pt x="5020" y="16570"/>
                    <a:pt x="5020" y="16570"/>
                    <a:pt x="5020" y="16570"/>
                  </a:cubicBezTo>
                  <a:cubicBezTo>
                    <a:pt x="4958" y="16570"/>
                    <a:pt x="4958" y="16570"/>
                    <a:pt x="4958" y="16570"/>
                  </a:cubicBezTo>
                  <a:cubicBezTo>
                    <a:pt x="4958" y="16378"/>
                    <a:pt x="4958" y="16378"/>
                    <a:pt x="4958" y="16378"/>
                  </a:cubicBezTo>
                  <a:cubicBezTo>
                    <a:pt x="5093" y="16378"/>
                    <a:pt x="5093" y="16378"/>
                    <a:pt x="5093" y="16378"/>
                  </a:cubicBezTo>
                  <a:cubicBezTo>
                    <a:pt x="5093" y="16308"/>
                    <a:pt x="5093" y="16308"/>
                    <a:pt x="5093" y="16308"/>
                  </a:cubicBezTo>
                  <a:cubicBezTo>
                    <a:pt x="5435" y="16308"/>
                    <a:pt x="5435" y="16308"/>
                    <a:pt x="5435" y="16308"/>
                  </a:cubicBezTo>
                  <a:cubicBezTo>
                    <a:pt x="5435" y="16379"/>
                    <a:pt x="5435" y="16379"/>
                    <a:pt x="5435" y="16379"/>
                  </a:cubicBezTo>
                  <a:lnTo>
                    <a:pt x="5617" y="16379"/>
                  </a:lnTo>
                  <a:close/>
                  <a:moveTo>
                    <a:pt x="7506" y="6136"/>
                  </a:moveTo>
                  <a:cubicBezTo>
                    <a:pt x="7657" y="6153"/>
                    <a:pt x="7657" y="6153"/>
                    <a:pt x="7657" y="6153"/>
                  </a:cubicBezTo>
                  <a:cubicBezTo>
                    <a:pt x="7669" y="6052"/>
                    <a:pt x="7669" y="6052"/>
                    <a:pt x="7669" y="6052"/>
                  </a:cubicBezTo>
                  <a:cubicBezTo>
                    <a:pt x="7942" y="6083"/>
                    <a:pt x="7942" y="6083"/>
                    <a:pt x="7942" y="6083"/>
                  </a:cubicBezTo>
                  <a:cubicBezTo>
                    <a:pt x="7913" y="6341"/>
                    <a:pt x="7913" y="6341"/>
                    <a:pt x="7913" y="6341"/>
                  </a:cubicBezTo>
                  <a:cubicBezTo>
                    <a:pt x="8025" y="6354"/>
                    <a:pt x="8025" y="6354"/>
                    <a:pt x="8025" y="6354"/>
                  </a:cubicBezTo>
                  <a:cubicBezTo>
                    <a:pt x="8054" y="6094"/>
                    <a:pt x="8054" y="6094"/>
                    <a:pt x="8054" y="6094"/>
                  </a:cubicBezTo>
                  <a:cubicBezTo>
                    <a:pt x="8116" y="6101"/>
                    <a:pt x="8116" y="6101"/>
                    <a:pt x="8116" y="6101"/>
                  </a:cubicBezTo>
                  <a:cubicBezTo>
                    <a:pt x="8141" y="5881"/>
                    <a:pt x="8141" y="5881"/>
                    <a:pt x="8141" y="5881"/>
                  </a:cubicBezTo>
                  <a:cubicBezTo>
                    <a:pt x="8007" y="5866"/>
                    <a:pt x="8007" y="5866"/>
                    <a:pt x="8007" y="5866"/>
                  </a:cubicBezTo>
                  <a:cubicBezTo>
                    <a:pt x="8015" y="5795"/>
                    <a:pt x="8015" y="5795"/>
                    <a:pt x="8015" y="5795"/>
                  </a:cubicBezTo>
                  <a:cubicBezTo>
                    <a:pt x="7646" y="5754"/>
                    <a:pt x="7646" y="5754"/>
                    <a:pt x="7646" y="5754"/>
                  </a:cubicBezTo>
                  <a:cubicBezTo>
                    <a:pt x="7638" y="5825"/>
                    <a:pt x="7638" y="5825"/>
                    <a:pt x="7638" y="5825"/>
                  </a:cubicBezTo>
                  <a:cubicBezTo>
                    <a:pt x="7464" y="5805"/>
                    <a:pt x="7464" y="5805"/>
                    <a:pt x="7464" y="5805"/>
                  </a:cubicBezTo>
                  <a:cubicBezTo>
                    <a:pt x="7457" y="5804"/>
                    <a:pt x="7457" y="5804"/>
                    <a:pt x="7457" y="5804"/>
                  </a:cubicBezTo>
                  <a:cubicBezTo>
                    <a:pt x="7433" y="6024"/>
                    <a:pt x="7433" y="6024"/>
                    <a:pt x="7433" y="6024"/>
                  </a:cubicBezTo>
                  <a:cubicBezTo>
                    <a:pt x="7518" y="6033"/>
                    <a:pt x="7518" y="6033"/>
                    <a:pt x="7518" y="6033"/>
                  </a:cubicBezTo>
                  <a:lnTo>
                    <a:pt x="7506" y="6136"/>
                  </a:lnTo>
                  <a:close/>
                  <a:moveTo>
                    <a:pt x="7449" y="6011"/>
                  </a:moveTo>
                  <a:cubicBezTo>
                    <a:pt x="7470" y="5821"/>
                    <a:pt x="7470" y="5821"/>
                    <a:pt x="7470" y="5821"/>
                  </a:cubicBezTo>
                  <a:cubicBezTo>
                    <a:pt x="7651" y="5841"/>
                    <a:pt x="7651" y="5841"/>
                    <a:pt x="7651" y="5841"/>
                  </a:cubicBezTo>
                  <a:cubicBezTo>
                    <a:pt x="7659" y="5770"/>
                    <a:pt x="7659" y="5770"/>
                    <a:pt x="7659" y="5770"/>
                  </a:cubicBezTo>
                  <a:cubicBezTo>
                    <a:pt x="7998" y="5808"/>
                    <a:pt x="7998" y="5808"/>
                    <a:pt x="7998" y="5808"/>
                  </a:cubicBezTo>
                  <a:cubicBezTo>
                    <a:pt x="7990" y="5879"/>
                    <a:pt x="7990" y="5879"/>
                    <a:pt x="7990" y="5879"/>
                  </a:cubicBezTo>
                  <a:cubicBezTo>
                    <a:pt x="8124" y="5894"/>
                    <a:pt x="8124" y="5894"/>
                    <a:pt x="8124" y="5894"/>
                  </a:cubicBezTo>
                  <a:cubicBezTo>
                    <a:pt x="8103" y="6085"/>
                    <a:pt x="8103" y="6085"/>
                    <a:pt x="8103" y="6085"/>
                  </a:cubicBezTo>
                  <a:cubicBezTo>
                    <a:pt x="8041" y="6078"/>
                    <a:pt x="8041" y="6078"/>
                    <a:pt x="8041" y="6078"/>
                  </a:cubicBezTo>
                  <a:cubicBezTo>
                    <a:pt x="8012" y="6338"/>
                    <a:pt x="8012" y="6338"/>
                    <a:pt x="8012" y="6338"/>
                  </a:cubicBezTo>
                  <a:cubicBezTo>
                    <a:pt x="7929" y="6328"/>
                    <a:pt x="7929" y="6328"/>
                    <a:pt x="7929" y="6328"/>
                  </a:cubicBezTo>
                  <a:cubicBezTo>
                    <a:pt x="7959" y="6070"/>
                    <a:pt x="7959" y="6070"/>
                    <a:pt x="7959" y="6070"/>
                  </a:cubicBezTo>
                  <a:cubicBezTo>
                    <a:pt x="7656" y="6036"/>
                    <a:pt x="7656" y="6036"/>
                    <a:pt x="7656" y="6036"/>
                  </a:cubicBezTo>
                  <a:cubicBezTo>
                    <a:pt x="7644" y="6137"/>
                    <a:pt x="7644" y="6137"/>
                    <a:pt x="7644" y="6137"/>
                  </a:cubicBezTo>
                  <a:cubicBezTo>
                    <a:pt x="7523" y="6123"/>
                    <a:pt x="7523" y="6123"/>
                    <a:pt x="7523" y="6123"/>
                  </a:cubicBezTo>
                  <a:cubicBezTo>
                    <a:pt x="7534" y="6020"/>
                    <a:pt x="7534" y="6020"/>
                    <a:pt x="7534" y="6020"/>
                  </a:cubicBezTo>
                  <a:lnTo>
                    <a:pt x="7449" y="6011"/>
                  </a:lnTo>
                  <a:close/>
                  <a:moveTo>
                    <a:pt x="8337" y="13923"/>
                  </a:moveTo>
                  <a:cubicBezTo>
                    <a:pt x="8327" y="13926"/>
                    <a:pt x="8327" y="13926"/>
                    <a:pt x="8327" y="13926"/>
                  </a:cubicBezTo>
                  <a:cubicBezTo>
                    <a:pt x="8327" y="13927"/>
                    <a:pt x="8213" y="13965"/>
                    <a:pt x="8211" y="14041"/>
                  </a:cubicBezTo>
                  <a:cubicBezTo>
                    <a:pt x="8213" y="14117"/>
                    <a:pt x="8324" y="14144"/>
                    <a:pt x="8324" y="14145"/>
                  </a:cubicBezTo>
                  <a:cubicBezTo>
                    <a:pt x="8333" y="14148"/>
                    <a:pt x="8333" y="14148"/>
                    <a:pt x="8333" y="14148"/>
                  </a:cubicBezTo>
                  <a:cubicBezTo>
                    <a:pt x="8333" y="14108"/>
                    <a:pt x="8333" y="14108"/>
                    <a:pt x="8333" y="14108"/>
                  </a:cubicBezTo>
                  <a:cubicBezTo>
                    <a:pt x="8775" y="14108"/>
                    <a:pt x="8775" y="14108"/>
                    <a:pt x="8775" y="14108"/>
                  </a:cubicBezTo>
                  <a:cubicBezTo>
                    <a:pt x="8775" y="14141"/>
                    <a:pt x="8775" y="14141"/>
                    <a:pt x="8775" y="14141"/>
                  </a:cubicBezTo>
                  <a:cubicBezTo>
                    <a:pt x="8785" y="14136"/>
                    <a:pt x="8785" y="14136"/>
                    <a:pt x="8785" y="14136"/>
                  </a:cubicBezTo>
                  <a:cubicBezTo>
                    <a:pt x="8785" y="14136"/>
                    <a:pt x="8809" y="14125"/>
                    <a:pt x="8832" y="14107"/>
                  </a:cubicBezTo>
                  <a:cubicBezTo>
                    <a:pt x="8856" y="14089"/>
                    <a:pt x="8881" y="14066"/>
                    <a:pt x="8882" y="14037"/>
                  </a:cubicBezTo>
                  <a:cubicBezTo>
                    <a:pt x="8879" y="13980"/>
                    <a:pt x="8787" y="13940"/>
                    <a:pt x="8787" y="13938"/>
                  </a:cubicBezTo>
                  <a:cubicBezTo>
                    <a:pt x="8777" y="13934"/>
                    <a:pt x="8777" y="13934"/>
                    <a:pt x="8777" y="13934"/>
                  </a:cubicBezTo>
                  <a:cubicBezTo>
                    <a:pt x="8775" y="13968"/>
                    <a:pt x="8775" y="13968"/>
                    <a:pt x="8775" y="13968"/>
                  </a:cubicBezTo>
                  <a:cubicBezTo>
                    <a:pt x="8337" y="13968"/>
                    <a:pt x="8337" y="13968"/>
                    <a:pt x="8337" y="13968"/>
                  </a:cubicBezTo>
                  <a:lnTo>
                    <a:pt x="8337" y="13923"/>
                  </a:lnTo>
                  <a:close/>
                  <a:moveTo>
                    <a:pt x="8783" y="13983"/>
                  </a:moveTo>
                  <a:cubicBezTo>
                    <a:pt x="8790" y="13983"/>
                    <a:pt x="8790" y="13983"/>
                    <a:pt x="8790" y="13983"/>
                  </a:cubicBezTo>
                  <a:cubicBezTo>
                    <a:pt x="8791" y="13957"/>
                    <a:pt x="8791" y="13957"/>
                    <a:pt x="8791" y="13957"/>
                  </a:cubicBezTo>
                  <a:cubicBezTo>
                    <a:pt x="8799" y="13962"/>
                    <a:pt x="8812" y="13969"/>
                    <a:pt x="8825" y="13979"/>
                  </a:cubicBezTo>
                  <a:cubicBezTo>
                    <a:pt x="8847" y="13995"/>
                    <a:pt x="8867" y="14017"/>
                    <a:pt x="8867" y="14037"/>
                  </a:cubicBezTo>
                  <a:cubicBezTo>
                    <a:pt x="8867" y="14056"/>
                    <a:pt x="8846" y="14079"/>
                    <a:pt x="8824" y="14095"/>
                  </a:cubicBezTo>
                  <a:cubicBezTo>
                    <a:pt x="8811" y="14105"/>
                    <a:pt x="8798" y="14112"/>
                    <a:pt x="8789" y="14117"/>
                  </a:cubicBezTo>
                  <a:cubicBezTo>
                    <a:pt x="8789" y="14094"/>
                    <a:pt x="8789" y="14094"/>
                    <a:pt x="8789" y="14094"/>
                  </a:cubicBezTo>
                  <a:cubicBezTo>
                    <a:pt x="8319" y="14094"/>
                    <a:pt x="8319" y="14094"/>
                    <a:pt x="8319" y="14094"/>
                  </a:cubicBezTo>
                  <a:cubicBezTo>
                    <a:pt x="8319" y="14128"/>
                    <a:pt x="8319" y="14128"/>
                    <a:pt x="8319" y="14128"/>
                  </a:cubicBezTo>
                  <a:cubicBezTo>
                    <a:pt x="8309" y="14125"/>
                    <a:pt x="8292" y="14118"/>
                    <a:pt x="8276" y="14109"/>
                  </a:cubicBezTo>
                  <a:cubicBezTo>
                    <a:pt x="8250" y="14093"/>
                    <a:pt x="8226" y="14071"/>
                    <a:pt x="8226" y="14041"/>
                  </a:cubicBezTo>
                  <a:cubicBezTo>
                    <a:pt x="8225" y="14012"/>
                    <a:pt x="8251" y="13986"/>
                    <a:pt x="8278" y="13968"/>
                  </a:cubicBezTo>
                  <a:cubicBezTo>
                    <a:pt x="8295" y="13957"/>
                    <a:pt x="8312" y="13949"/>
                    <a:pt x="8322" y="13944"/>
                  </a:cubicBezTo>
                  <a:cubicBezTo>
                    <a:pt x="8322" y="13983"/>
                    <a:pt x="8322" y="13983"/>
                    <a:pt x="8322" y="13983"/>
                  </a:cubicBezTo>
                  <a:lnTo>
                    <a:pt x="8783" y="13983"/>
                  </a:lnTo>
                  <a:close/>
                  <a:moveTo>
                    <a:pt x="8312" y="11791"/>
                  </a:moveTo>
                  <a:cubicBezTo>
                    <a:pt x="8303" y="11789"/>
                    <a:pt x="8295" y="11789"/>
                    <a:pt x="8287" y="11789"/>
                  </a:cubicBezTo>
                  <a:cubicBezTo>
                    <a:pt x="8158" y="11790"/>
                    <a:pt x="8064" y="11919"/>
                    <a:pt x="8039" y="11956"/>
                  </a:cubicBezTo>
                  <a:cubicBezTo>
                    <a:pt x="7966" y="11842"/>
                    <a:pt x="7966" y="11842"/>
                    <a:pt x="7966" y="11842"/>
                  </a:cubicBezTo>
                  <a:cubicBezTo>
                    <a:pt x="7669" y="12452"/>
                    <a:pt x="7669" y="12452"/>
                    <a:pt x="7669" y="12452"/>
                  </a:cubicBezTo>
                  <a:cubicBezTo>
                    <a:pt x="7913" y="12404"/>
                    <a:pt x="7913" y="12404"/>
                    <a:pt x="7913" y="12404"/>
                  </a:cubicBezTo>
                  <a:cubicBezTo>
                    <a:pt x="7914" y="12425"/>
                    <a:pt x="7920" y="12485"/>
                    <a:pt x="7942" y="12546"/>
                  </a:cubicBezTo>
                  <a:cubicBezTo>
                    <a:pt x="7968" y="12621"/>
                    <a:pt x="8020" y="12699"/>
                    <a:pt x="8118" y="12699"/>
                  </a:cubicBezTo>
                  <a:cubicBezTo>
                    <a:pt x="8120" y="12699"/>
                    <a:pt x="8121" y="12699"/>
                    <a:pt x="8123" y="12699"/>
                  </a:cubicBezTo>
                  <a:cubicBezTo>
                    <a:pt x="8295" y="12694"/>
                    <a:pt x="8390" y="12506"/>
                    <a:pt x="8412" y="12455"/>
                  </a:cubicBezTo>
                  <a:cubicBezTo>
                    <a:pt x="8455" y="12516"/>
                    <a:pt x="8455" y="12516"/>
                    <a:pt x="8455" y="12516"/>
                  </a:cubicBezTo>
                  <a:cubicBezTo>
                    <a:pt x="8756" y="11921"/>
                    <a:pt x="8756" y="11921"/>
                    <a:pt x="8756" y="11921"/>
                  </a:cubicBezTo>
                  <a:cubicBezTo>
                    <a:pt x="8763" y="11908"/>
                    <a:pt x="8763" y="11908"/>
                    <a:pt x="8763" y="11908"/>
                  </a:cubicBezTo>
                  <a:cubicBezTo>
                    <a:pt x="8471" y="11964"/>
                    <a:pt x="8471" y="11964"/>
                    <a:pt x="8471" y="11964"/>
                  </a:cubicBezTo>
                  <a:cubicBezTo>
                    <a:pt x="8461" y="11934"/>
                    <a:pt x="8414" y="11805"/>
                    <a:pt x="8312" y="11791"/>
                  </a:cubicBezTo>
                  <a:close/>
                  <a:moveTo>
                    <a:pt x="8453" y="12487"/>
                  </a:moveTo>
                  <a:cubicBezTo>
                    <a:pt x="8409" y="12425"/>
                    <a:pt x="8409" y="12425"/>
                    <a:pt x="8409" y="12425"/>
                  </a:cubicBezTo>
                  <a:cubicBezTo>
                    <a:pt x="8404" y="12438"/>
                    <a:pt x="8404" y="12438"/>
                    <a:pt x="8404" y="12438"/>
                  </a:cubicBezTo>
                  <a:cubicBezTo>
                    <a:pt x="8404" y="12438"/>
                    <a:pt x="8380" y="12498"/>
                    <a:pt x="8333" y="12560"/>
                  </a:cubicBezTo>
                  <a:cubicBezTo>
                    <a:pt x="8285" y="12621"/>
                    <a:pt x="8215" y="12682"/>
                    <a:pt x="8123" y="12685"/>
                  </a:cubicBezTo>
                  <a:cubicBezTo>
                    <a:pt x="8121" y="12685"/>
                    <a:pt x="8120" y="12685"/>
                    <a:pt x="8118" y="12685"/>
                  </a:cubicBezTo>
                  <a:cubicBezTo>
                    <a:pt x="8029" y="12685"/>
                    <a:pt x="7982" y="12614"/>
                    <a:pt x="7956" y="12541"/>
                  </a:cubicBezTo>
                  <a:cubicBezTo>
                    <a:pt x="7930" y="12468"/>
                    <a:pt x="7927" y="12395"/>
                    <a:pt x="7927" y="12395"/>
                  </a:cubicBezTo>
                  <a:cubicBezTo>
                    <a:pt x="7927" y="12386"/>
                    <a:pt x="7927" y="12386"/>
                    <a:pt x="7927" y="12386"/>
                  </a:cubicBezTo>
                  <a:cubicBezTo>
                    <a:pt x="7695" y="12432"/>
                    <a:pt x="7695" y="12432"/>
                    <a:pt x="7695" y="12432"/>
                  </a:cubicBezTo>
                  <a:cubicBezTo>
                    <a:pt x="7967" y="11872"/>
                    <a:pt x="7967" y="11872"/>
                    <a:pt x="7967" y="11872"/>
                  </a:cubicBezTo>
                  <a:cubicBezTo>
                    <a:pt x="8040" y="11984"/>
                    <a:pt x="8040" y="11984"/>
                    <a:pt x="8040" y="11984"/>
                  </a:cubicBezTo>
                  <a:cubicBezTo>
                    <a:pt x="8046" y="11974"/>
                    <a:pt x="8046" y="11974"/>
                    <a:pt x="8046" y="11974"/>
                  </a:cubicBezTo>
                  <a:cubicBezTo>
                    <a:pt x="8046" y="11974"/>
                    <a:pt x="8071" y="11931"/>
                    <a:pt x="8114" y="11888"/>
                  </a:cubicBezTo>
                  <a:cubicBezTo>
                    <a:pt x="8157" y="11846"/>
                    <a:pt x="8218" y="11804"/>
                    <a:pt x="8287" y="11804"/>
                  </a:cubicBezTo>
                  <a:cubicBezTo>
                    <a:pt x="8294" y="11804"/>
                    <a:pt x="8302" y="11804"/>
                    <a:pt x="8310" y="11805"/>
                  </a:cubicBezTo>
                  <a:cubicBezTo>
                    <a:pt x="8361" y="11812"/>
                    <a:pt x="8398" y="11853"/>
                    <a:pt x="8423" y="11894"/>
                  </a:cubicBezTo>
                  <a:cubicBezTo>
                    <a:pt x="8447" y="11935"/>
                    <a:pt x="8459" y="11974"/>
                    <a:pt x="8459" y="11975"/>
                  </a:cubicBezTo>
                  <a:cubicBezTo>
                    <a:pt x="8460" y="11981"/>
                    <a:pt x="8460" y="11981"/>
                    <a:pt x="8460" y="11981"/>
                  </a:cubicBezTo>
                  <a:cubicBezTo>
                    <a:pt x="8736" y="11928"/>
                    <a:pt x="8736" y="11928"/>
                    <a:pt x="8736" y="11928"/>
                  </a:cubicBezTo>
                  <a:lnTo>
                    <a:pt x="8453" y="12487"/>
                  </a:lnTo>
                  <a:close/>
                  <a:moveTo>
                    <a:pt x="8275" y="11933"/>
                  </a:moveTo>
                  <a:cubicBezTo>
                    <a:pt x="8265" y="11930"/>
                    <a:pt x="8254" y="11928"/>
                    <a:pt x="8244" y="11928"/>
                  </a:cubicBezTo>
                  <a:cubicBezTo>
                    <a:pt x="8134" y="11930"/>
                    <a:pt x="8044" y="12089"/>
                    <a:pt x="8018" y="12188"/>
                  </a:cubicBezTo>
                  <a:cubicBezTo>
                    <a:pt x="8009" y="12225"/>
                    <a:pt x="8001" y="12273"/>
                    <a:pt x="8001" y="12322"/>
                  </a:cubicBezTo>
                  <a:cubicBezTo>
                    <a:pt x="8001" y="12420"/>
                    <a:pt x="8030" y="12526"/>
                    <a:pt x="8134" y="12556"/>
                  </a:cubicBezTo>
                  <a:cubicBezTo>
                    <a:pt x="8145" y="12559"/>
                    <a:pt x="8156" y="12560"/>
                    <a:pt x="8167" y="12560"/>
                  </a:cubicBezTo>
                  <a:cubicBezTo>
                    <a:pt x="8237" y="12560"/>
                    <a:pt x="8289" y="12498"/>
                    <a:pt x="8326" y="12435"/>
                  </a:cubicBezTo>
                  <a:cubicBezTo>
                    <a:pt x="8363" y="12371"/>
                    <a:pt x="8384" y="12304"/>
                    <a:pt x="8388" y="12290"/>
                  </a:cubicBezTo>
                  <a:cubicBezTo>
                    <a:pt x="8392" y="12277"/>
                    <a:pt x="8404" y="12221"/>
                    <a:pt x="8404" y="12157"/>
                  </a:cubicBezTo>
                  <a:cubicBezTo>
                    <a:pt x="8404" y="12070"/>
                    <a:pt x="8381" y="11964"/>
                    <a:pt x="8275" y="11933"/>
                  </a:cubicBezTo>
                  <a:close/>
                  <a:moveTo>
                    <a:pt x="8374" y="12286"/>
                  </a:moveTo>
                  <a:cubicBezTo>
                    <a:pt x="8370" y="12299"/>
                    <a:pt x="8349" y="12365"/>
                    <a:pt x="8313" y="12427"/>
                  </a:cubicBezTo>
                  <a:cubicBezTo>
                    <a:pt x="8278" y="12489"/>
                    <a:pt x="8227" y="12546"/>
                    <a:pt x="8167" y="12546"/>
                  </a:cubicBezTo>
                  <a:cubicBezTo>
                    <a:pt x="8157" y="12546"/>
                    <a:pt x="8148" y="12544"/>
                    <a:pt x="8138" y="12542"/>
                  </a:cubicBezTo>
                  <a:cubicBezTo>
                    <a:pt x="8044" y="12515"/>
                    <a:pt x="8016" y="12418"/>
                    <a:pt x="8016" y="12322"/>
                  </a:cubicBezTo>
                  <a:cubicBezTo>
                    <a:pt x="8016" y="12274"/>
                    <a:pt x="8023" y="12227"/>
                    <a:pt x="8032" y="12192"/>
                  </a:cubicBezTo>
                  <a:cubicBezTo>
                    <a:pt x="8056" y="12096"/>
                    <a:pt x="8149" y="11941"/>
                    <a:pt x="8244" y="11943"/>
                  </a:cubicBezTo>
                  <a:cubicBezTo>
                    <a:pt x="8253" y="11943"/>
                    <a:pt x="8262" y="11944"/>
                    <a:pt x="8271" y="11947"/>
                  </a:cubicBezTo>
                  <a:cubicBezTo>
                    <a:pt x="8273" y="11940"/>
                    <a:pt x="8273" y="11940"/>
                    <a:pt x="8273" y="11940"/>
                  </a:cubicBezTo>
                  <a:cubicBezTo>
                    <a:pt x="8271" y="11947"/>
                    <a:pt x="8271" y="11947"/>
                    <a:pt x="8271" y="11947"/>
                  </a:cubicBezTo>
                  <a:cubicBezTo>
                    <a:pt x="8367" y="11975"/>
                    <a:pt x="8389" y="12071"/>
                    <a:pt x="8389" y="12157"/>
                  </a:cubicBezTo>
                  <a:cubicBezTo>
                    <a:pt x="8389" y="12219"/>
                    <a:pt x="8377" y="12274"/>
                    <a:pt x="8374" y="12286"/>
                  </a:cubicBezTo>
                  <a:close/>
                  <a:moveTo>
                    <a:pt x="8862" y="11249"/>
                  </a:moveTo>
                  <a:cubicBezTo>
                    <a:pt x="8860" y="11128"/>
                    <a:pt x="8860" y="11128"/>
                    <a:pt x="8860" y="11128"/>
                  </a:cubicBezTo>
                  <a:cubicBezTo>
                    <a:pt x="8860" y="11121"/>
                    <a:pt x="8860" y="11121"/>
                    <a:pt x="8860" y="11121"/>
                  </a:cubicBezTo>
                  <a:cubicBezTo>
                    <a:pt x="8316" y="11121"/>
                    <a:pt x="8316" y="11121"/>
                    <a:pt x="8316" y="11121"/>
                  </a:cubicBezTo>
                  <a:cubicBezTo>
                    <a:pt x="8316" y="11251"/>
                    <a:pt x="8316" y="11251"/>
                    <a:pt x="8316" y="11251"/>
                  </a:cubicBezTo>
                  <a:cubicBezTo>
                    <a:pt x="8381" y="11251"/>
                    <a:pt x="8381" y="11251"/>
                    <a:pt x="8381" y="11251"/>
                  </a:cubicBezTo>
                  <a:cubicBezTo>
                    <a:pt x="8381" y="11342"/>
                    <a:pt x="8381" y="11342"/>
                    <a:pt x="8381" y="11342"/>
                  </a:cubicBezTo>
                  <a:cubicBezTo>
                    <a:pt x="8318" y="11342"/>
                    <a:pt x="8318" y="11342"/>
                    <a:pt x="8318" y="11342"/>
                  </a:cubicBezTo>
                  <a:cubicBezTo>
                    <a:pt x="8318" y="11473"/>
                    <a:pt x="8318" y="11473"/>
                    <a:pt x="8318" y="11473"/>
                  </a:cubicBezTo>
                  <a:cubicBezTo>
                    <a:pt x="8861" y="11473"/>
                    <a:pt x="8861" y="11473"/>
                    <a:pt x="8861" y="11473"/>
                  </a:cubicBezTo>
                  <a:cubicBezTo>
                    <a:pt x="8861" y="11341"/>
                    <a:pt x="8861" y="11341"/>
                    <a:pt x="8861" y="11341"/>
                  </a:cubicBezTo>
                  <a:cubicBezTo>
                    <a:pt x="8796" y="11341"/>
                    <a:pt x="8796" y="11341"/>
                    <a:pt x="8796" y="11341"/>
                  </a:cubicBezTo>
                  <a:cubicBezTo>
                    <a:pt x="8796" y="11249"/>
                    <a:pt x="8796" y="11249"/>
                    <a:pt x="8796" y="11249"/>
                  </a:cubicBezTo>
                  <a:lnTo>
                    <a:pt x="8862" y="11249"/>
                  </a:lnTo>
                  <a:close/>
                  <a:moveTo>
                    <a:pt x="8847" y="11356"/>
                  </a:moveTo>
                  <a:cubicBezTo>
                    <a:pt x="8847" y="11458"/>
                    <a:pt x="8847" y="11458"/>
                    <a:pt x="8847" y="11458"/>
                  </a:cubicBezTo>
                  <a:cubicBezTo>
                    <a:pt x="8332" y="11458"/>
                    <a:pt x="8332" y="11458"/>
                    <a:pt x="8332" y="11458"/>
                  </a:cubicBezTo>
                  <a:cubicBezTo>
                    <a:pt x="8332" y="11357"/>
                    <a:pt x="8332" y="11357"/>
                    <a:pt x="8332" y="11357"/>
                  </a:cubicBezTo>
                  <a:cubicBezTo>
                    <a:pt x="8396" y="11357"/>
                    <a:pt x="8396" y="11357"/>
                    <a:pt x="8396" y="11357"/>
                  </a:cubicBezTo>
                  <a:cubicBezTo>
                    <a:pt x="8396" y="11237"/>
                    <a:pt x="8396" y="11237"/>
                    <a:pt x="8396" y="11237"/>
                  </a:cubicBezTo>
                  <a:cubicBezTo>
                    <a:pt x="8331" y="11237"/>
                    <a:pt x="8331" y="11237"/>
                    <a:pt x="8331" y="11237"/>
                  </a:cubicBezTo>
                  <a:cubicBezTo>
                    <a:pt x="8331" y="11135"/>
                    <a:pt x="8331" y="11135"/>
                    <a:pt x="8331" y="11135"/>
                  </a:cubicBezTo>
                  <a:cubicBezTo>
                    <a:pt x="8846" y="11135"/>
                    <a:pt x="8846" y="11135"/>
                    <a:pt x="8846" y="11135"/>
                  </a:cubicBezTo>
                  <a:cubicBezTo>
                    <a:pt x="8847" y="11234"/>
                    <a:pt x="8847" y="11234"/>
                    <a:pt x="8847" y="11234"/>
                  </a:cubicBezTo>
                  <a:cubicBezTo>
                    <a:pt x="8782" y="11234"/>
                    <a:pt x="8782" y="11234"/>
                    <a:pt x="8782" y="11234"/>
                  </a:cubicBezTo>
                  <a:cubicBezTo>
                    <a:pt x="8782" y="11356"/>
                    <a:pt x="8782" y="11356"/>
                    <a:pt x="8782" y="11356"/>
                  </a:cubicBezTo>
                  <a:lnTo>
                    <a:pt x="8847" y="11356"/>
                  </a:lnTo>
                  <a:close/>
                  <a:moveTo>
                    <a:pt x="8719" y="11237"/>
                  </a:moveTo>
                  <a:cubicBezTo>
                    <a:pt x="8460" y="11237"/>
                    <a:pt x="8460" y="11237"/>
                    <a:pt x="8460" y="11237"/>
                  </a:cubicBezTo>
                  <a:cubicBezTo>
                    <a:pt x="8460" y="11354"/>
                    <a:pt x="8460" y="11354"/>
                    <a:pt x="8460" y="11354"/>
                  </a:cubicBezTo>
                  <a:cubicBezTo>
                    <a:pt x="8724" y="11354"/>
                    <a:pt x="8724" y="11354"/>
                    <a:pt x="8724" y="11354"/>
                  </a:cubicBezTo>
                  <a:cubicBezTo>
                    <a:pt x="8719" y="11244"/>
                    <a:pt x="8719" y="11244"/>
                    <a:pt x="8719" y="11244"/>
                  </a:cubicBezTo>
                  <a:lnTo>
                    <a:pt x="8719" y="11237"/>
                  </a:lnTo>
                  <a:close/>
                  <a:moveTo>
                    <a:pt x="8474" y="11339"/>
                  </a:moveTo>
                  <a:cubicBezTo>
                    <a:pt x="8474" y="11251"/>
                    <a:pt x="8474" y="11251"/>
                    <a:pt x="8474" y="11251"/>
                  </a:cubicBezTo>
                  <a:cubicBezTo>
                    <a:pt x="8705" y="11251"/>
                    <a:pt x="8705" y="11251"/>
                    <a:pt x="8705" y="11251"/>
                  </a:cubicBezTo>
                  <a:cubicBezTo>
                    <a:pt x="8708" y="11339"/>
                    <a:pt x="8708" y="11339"/>
                    <a:pt x="8708" y="11339"/>
                  </a:cubicBezTo>
                  <a:lnTo>
                    <a:pt x="8474" y="11339"/>
                  </a:lnTo>
                  <a:close/>
                  <a:moveTo>
                    <a:pt x="8162" y="10706"/>
                  </a:moveTo>
                  <a:cubicBezTo>
                    <a:pt x="8133" y="10764"/>
                    <a:pt x="8133" y="10764"/>
                    <a:pt x="8133" y="10764"/>
                  </a:cubicBezTo>
                  <a:cubicBezTo>
                    <a:pt x="8051" y="10721"/>
                    <a:pt x="8051" y="10721"/>
                    <a:pt x="8051" y="10721"/>
                  </a:cubicBezTo>
                  <a:cubicBezTo>
                    <a:pt x="8080" y="10663"/>
                    <a:pt x="8080" y="10663"/>
                    <a:pt x="8080" y="10663"/>
                  </a:cubicBezTo>
                  <a:cubicBezTo>
                    <a:pt x="7972" y="10609"/>
                    <a:pt x="7972" y="10609"/>
                    <a:pt x="7972" y="10609"/>
                  </a:cubicBezTo>
                  <a:cubicBezTo>
                    <a:pt x="7966" y="10606"/>
                    <a:pt x="7966" y="10606"/>
                    <a:pt x="7966" y="10606"/>
                  </a:cubicBezTo>
                  <a:cubicBezTo>
                    <a:pt x="7717" y="11090"/>
                    <a:pt x="7717" y="11090"/>
                    <a:pt x="7717" y="11090"/>
                  </a:cubicBezTo>
                  <a:cubicBezTo>
                    <a:pt x="7833" y="11149"/>
                    <a:pt x="7833" y="11149"/>
                    <a:pt x="7833" y="11149"/>
                  </a:cubicBezTo>
                  <a:cubicBezTo>
                    <a:pt x="7863" y="11092"/>
                    <a:pt x="7863" y="11092"/>
                    <a:pt x="7863" y="11092"/>
                  </a:cubicBezTo>
                  <a:cubicBezTo>
                    <a:pt x="7944" y="11133"/>
                    <a:pt x="7944" y="11133"/>
                    <a:pt x="7944" y="11133"/>
                  </a:cubicBezTo>
                  <a:cubicBezTo>
                    <a:pt x="7915" y="11190"/>
                    <a:pt x="7915" y="11190"/>
                    <a:pt x="7915" y="11190"/>
                  </a:cubicBezTo>
                  <a:cubicBezTo>
                    <a:pt x="8031" y="11250"/>
                    <a:pt x="8031" y="11250"/>
                    <a:pt x="8031" y="11250"/>
                  </a:cubicBezTo>
                  <a:cubicBezTo>
                    <a:pt x="8280" y="10766"/>
                    <a:pt x="8280" y="10766"/>
                    <a:pt x="8280" y="10766"/>
                  </a:cubicBezTo>
                  <a:lnTo>
                    <a:pt x="8162" y="10706"/>
                  </a:lnTo>
                  <a:close/>
                  <a:moveTo>
                    <a:pt x="8024" y="11230"/>
                  </a:moveTo>
                  <a:cubicBezTo>
                    <a:pt x="7934" y="11184"/>
                    <a:pt x="7934" y="11184"/>
                    <a:pt x="7934" y="11184"/>
                  </a:cubicBezTo>
                  <a:cubicBezTo>
                    <a:pt x="7964" y="11127"/>
                    <a:pt x="7964" y="11127"/>
                    <a:pt x="7964" y="11127"/>
                  </a:cubicBezTo>
                  <a:cubicBezTo>
                    <a:pt x="7857" y="11072"/>
                    <a:pt x="7857" y="11072"/>
                    <a:pt x="7857" y="11072"/>
                  </a:cubicBezTo>
                  <a:cubicBezTo>
                    <a:pt x="7827" y="11130"/>
                    <a:pt x="7827" y="11130"/>
                    <a:pt x="7827" y="11130"/>
                  </a:cubicBezTo>
                  <a:cubicBezTo>
                    <a:pt x="7737" y="11083"/>
                    <a:pt x="7737" y="11083"/>
                    <a:pt x="7737" y="11083"/>
                  </a:cubicBezTo>
                  <a:cubicBezTo>
                    <a:pt x="7972" y="10626"/>
                    <a:pt x="7972" y="10626"/>
                    <a:pt x="7972" y="10626"/>
                  </a:cubicBezTo>
                  <a:cubicBezTo>
                    <a:pt x="8061" y="10670"/>
                    <a:pt x="8061" y="10670"/>
                    <a:pt x="8061" y="10670"/>
                  </a:cubicBezTo>
                  <a:cubicBezTo>
                    <a:pt x="8031" y="10728"/>
                    <a:pt x="8031" y="10728"/>
                    <a:pt x="8031" y="10728"/>
                  </a:cubicBezTo>
                  <a:cubicBezTo>
                    <a:pt x="8139" y="10783"/>
                    <a:pt x="8139" y="10783"/>
                    <a:pt x="8139" y="10783"/>
                  </a:cubicBezTo>
                  <a:cubicBezTo>
                    <a:pt x="8169" y="10726"/>
                    <a:pt x="8169" y="10726"/>
                    <a:pt x="8169" y="10726"/>
                  </a:cubicBezTo>
                  <a:cubicBezTo>
                    <a:pt x="8260" y="10772"/>
                    <a:pt x="8260" y="10772"/>
                    <a:pt x="8260" y="10772"/>
                  </a:cubicBezTo>
                  <a:lnTo>
                    <a:pt x="8024" y="11230"/>
                  </a:lnTo>
                  <a:close/>
                  <a:moveTo>
                    <a:pt x="8005" y="10785"/>
                  </a:moveTo>
                  <a:cubicBezTo>
                    <a:pt x="7886" y="11015"/>
                    <a:pt x="7886" y="11015"/>
                    <a:pt x="7886" y="11015"/>
                  </a:cubicBezTo>
                  <a:cubicBezTo>
                    <a:pt x="7990" y="11069"/>
                    <a:pt x="7990" y="11069"/>
                    <a:pt x="7990" y="11069"/>
                  </a:cubicBezTo>
                  <a:cubicBezTo>
                    <a:pt x="8111" y="10834"/>
                    <a:pt x="8111" y="10834"/>
                    <a:pt x="8111" y="10834"/>
                  </a:cubicBezTo>
                  <a:cubicBezTo>
                    <a:pt x="8011" y="10787"/>
                    <a:pt x="8011" y="10787"/>
                    <a:pt x="8011" y="10787"/>
                  </a:cubicBezTo>
                  <a:lnTo>
                    <a:pt x="8005" y="10785"/>
                  </a:lnTo>
                  <a:close/>
                  <a:moveTo>
                    <a:pt x="8091" y="10841"/>
                  </a:moveTo>
                  <a:cubicBezTo>
                    <a:pt x="7984" y="11049"/>
                    <a:pt x="7984" y="11049"/>
                    <a:pt x="7984" y="11049"/>
                  </a:cubicBezTo>
                  <a:cubicBezTo>
                    <a:pt x="7906" y="11009"/>
                    <a:pt x="7906" y="11009"/>
                    <a:pt x="7906" y="11009"/>
                  </a:cubicBezTo>
                  <a:cubicBezTo>
                    <a:pt x="8011" y="10804"/>
                    <a:pt x="8011" y="10804"/>
                    <a:pt x="8011" y="10804"/>
                  </a:cubicBezTo>
                  <a:lnTo>
                    <a:pt x="8091" y="10841"/>
                  </a:lnTo>
                  <a:close/>
                  <a:moveTo>
                    <a:pt x="2594" y="11320"/>
                  </a:moveTo>
                  <a:cubicBezTo>
                    <a:pt x="2594" y="11320"/>
                    <a:pt x="2594" y="11320"/>
                    <a:pt x="2594" y="11320"/>
                  </a:cubicBezTo>
                  <a:cubicBezTo>
                    <a:pt x="2594" y="11320"/>
                    <a:pt x="2594" y="11320"/>
                    <a:pt x="2594" y="11320"/>
                  </a:cubicBezTo>
                  <a:close/>
                  <a:moveTo>
                    <a:pt x="4144" y="6826"/>
                  </a:moveTo>
                  <a:cubicBezTo>
                    <a:pt x="4192" y="6821"/>
                    <a:pt x="4192" y="6821"/>
                    <a:pt x="4192" y="6821"/>
                  </a:cubicBezTo>
                  <a:cubicBezTo>
                    <a:pt x="4218" y="6755"/>
                    <a:pt x="4218" y="6755"/>
                    <a:pt x="4218" y="6755"/>
                  </a:cubicBezTo>
                  <a:cubicBezTo>
                    <a:pt x="4132" y="6715"/>
                    <a:pt x="4132" y="6715"/>
                    <a:pt x="4132" y="6715"/>
                  </a:cubicBezTo>
                  <a:cubicBezTo>
                    <a:pt x="4108" y="6759"/>
                    <a:pt x="4108" y="6759"/>
                    <a:pt x="4108" y="6759"/>
                  </a:cubicBezTo>
                  <a:cubicBezTo>
                    <a:pt x="4064" y="6773"/>
                    <a:pt x="4064" y="6773"/>
                    <a:pt x="4064" y="6773"/>
                  </a:cubicBezTo>
                  <a:cubicBezTo>
                    <a:pt x="4034" y="6838"/>
                    <a:pt x="4034" y="6838"/>
                    <a:pt x="4034" y="6838"/>
                  </a:cubicBezTo>
                  <a:cubicBezTo>
                    <a:pt x="4121" y="6878"/>
                    <a:pt x="4121" y="6878"/>
                    <a:pt x="4121" y="6878"/>
                  </a:cubicBezTo>
                  <a:lnTo>
                    <a:pt x="4144" y="6826"/>
                  </a:lnTo>
                  <a:close/>
                  <a:moveTo>
                    <a:pt x="4052" y="6831"/>
                  </a:moveTo>
                  <a:cubicBezTo>
                    <a:pt x="4074" y="6784"/>
                    <a:pt x="4074" y="6784"/>
                    <a:pt x="4074" y="6784"/>
                  </a:cubicBezTo>
                  <a:cubicBezTo>
                    <a:pt x="4112" y="6773"/>
                    <a:pt x="4112" y="6773"/>
                    <a:pt x="4112" y="6773"/>
                  </a:cubicBezTo>
                  <a:cubicBezTo>
                    <a:pt x="4118" y="6771"/>
                    <a:pt x="4118" y="6771"/>
                    <a:pt x="4118" y="6771"/>
                  </a:cubicBezTo>
                  <a:cubicBezTo>
                    <a:pt x="4121" y="6766"/>
                    <a:pt x="4121" y="6766"/>
                    <a:pt x="4121" y="6766"/>
                  </a:cubicBezTo>
                  <a:cubicBezTo>
                    <a:pt x="4138" y="6733"/>
                    <a:pt x="4138" y="6733"/>
                    <a:pt x="4138" y="6733"/>
                  </a:cubicBezTo>
                  <a:cubicBezTo>
                    <a:pt x="4200" y="6762"/>
                    <a:pt x="4200" y="6762"/>
                    <a:pt x="4200" y="6762"/>
                  </a:cubicBezTo>
                  <a:cubicBezTo>
                    <a:pt x="4182" y="6808"/>
                    <a:pt x="4182" y="6808"/>
                    <a:pt x="4182" y="6808"/>
                  </a:cubicBezTo>
                  <a:cubicBezTo>
                    <a:pt x="4142" y="6812"/>
                    <a:pt x="4142" y="6812"/>
                    <a:pt x="4142" y="6812"/>
                  </a:cubicBezTo>
                  <a:cubicBezTo>
                    <a:pt x="4134" y="6813"/>
                    <a:pt x="4134" y="6813"/>
                    <a:pt x="4134" y="6813"/>
                  </a:cubicBezTo>
                  <a:cubicBezTo>
                    <a:pt x="4131" y="6820"/>
                    <a:pt x="4131" y="6820"/>
                    <a:pt x="4131" y="6820"/>
                  </a:cubicBezTo>
                  <a:cubicBezTo>
                    <a:pt x="4114" y="6860"/>
                    <a:pt x="4114" y="6860"/>
                    <a:pt x="4114" y="6860"/>
                  </a:cubicBezTo>
                  <a:lnTo>
                    <a:pt x="4052" y="6831"/>
                  </a:lnTo>
                  <a:close/>
                  <a:moveTo>
                    <a:pt x="4048" y="7137"/>
                  </a:moveTo>
                  <a:cubicBezTo>
                    <a:pt x="4034" y="7066"/>
                    <a:pt x="4034" y="7066"/>
                    <a:pt x="4034" y="7066"/>
                  </a:cubicBezTo>
                  <a:cubicBezTo>
                    <a:pt x="3941" y="7076"/>
                    <a:pt x="3941" y="7076"/>
                    <a:pt x="3941" y="7076"/>
                  </a:cubicBezTo>
                  <a:cubicBezTo>
                    <a:pt x="3946" y="7130"/>
                    <a:pt x="3946" y="7130"/>
                    <a:pt x="3946" y="7130"/>
                  </a:cubicBezTo>
                  <a:cubicBezTo>
                    <a:pt x="3911" y="7167"/>
                    <a:pt x="3911" y="7167"/>
                    <a:pt x="3911" y="7167"/>
                  </a:cubicBezTo>
                  <a:cubicBezTo>
                    <a:pt x="3926" y="7240"/>
                    <a:pt x="3926" y="7240"/>
                    <a:pt x="3926" y="7240"/>
                  </a:cubicBezTo>
                  <a:cubicBezTo>
                    <a:pt x="4024" y="7225"/>
                    <a:pt x="4024" y="7225"/>
                    <a:pt x="4024" y="7225"/>
                  </a:cubicBezTo>
                  <a:cubicBezTo>
                    <a:pt x="4015" y="7163"/>
                    <a:pt x="4015" y="7163"/>
                    <a:pt x="4015" y="7163"/>
                  </a:cubicBezTo>
                  <a:lnTo>
                    <a:pt x="4048" y="7137"/>
                  </a:lnTo>
                  <a:close/>
                  <a:moveTo>
                    <a:pt x="3937" y="7224"/>
                  </a:moveTo>
                  <a:cubicBezTo>
                    <a:pt x="3926" y="7171"/>
                    <a:pt x="3926" y="7171"/>
                    <a:pt x="3926" y="7171"/>
                  </a:cubicBezTo>
                  <a:cubicBezTo>
                    <a:pt x="3956" y="7140"/>
                    <a:pt x="3956" y="7140"/>
                    <a:pt x="3956" y="7140"/>
                  </a:cubicBezTo>
                  <a:cubicBezTo>
                    <a:pt x="3960" y="7135"/>
                    <a:pt x="3960" y="7135"/>
                    <a:pt x="3960" y="7135"/>
                  </a:cubicBezTo>
                  <a:cubicBezTo>
                    <a:pt x="3960" y="7129"/>
                    <a:pt x="3960" y="7129"/>
                    <a:pt x="3960" y="7129"/>
                  </a:cubicBezTo>
                  <a:cubicBezTo>
                    <a:pt x="3956" y="7089"/>
                    <a:pt x="3956" y="7089"/>
                    <a:pt x="3956" y="7089"/>
                  </a:cubicBezTo>
                  <a:cubicBezTo>
                    <a:pt x="4023" y="7081"/>
                    <a:pt x="4023" y="7081"/>
                    <a:pt x="4023" y="7081"/>
                  </a:cubicBezTo>
                  <a:cubicBezTo>
                    <a:pt x="4032" y="7131"/>
                    <a:pt x="4032" y="7131"/>
                    <a:pt x="4032" y="7131"/>
                  </a:cubicBezTo>
                  <a:cubicBezTo>
                    <a:pt x="4006" y="7152"/>
                    <a:pt x="4006" y="7152"/>
                    <a:pt x="4006" y="7152"/>
                  </a:cubicBezTo>
                  <a:cubicBezTo>
                    <a:pt x="4000" y="7157"/>
                    <a:pt x="4000" y="7157"/>
                    <a:pt x="4000" y="7157"/>
                  </a:cubicBezTo>
                  <a:cubicBezTo>
                    <a:pt x="4001" y="7165"/>
                    <a:pt x="4001" y="7165"/>
                    <a:pt x="4001" y="7165"/>
                  </a:cubicBezTo>
                  <a:cubicBezTo>
                    <a:pt x="4008" y="7213"/>
                    <a:pt x="4008" y="7213"/>
                    <a:pt x="4008" y="7213"/>
                  </a:cubicBezTo>
                  <a:lnTo>
                    <a:pt x="3937" y="7224"/>
                  </a:lnTo>
                  <a:close/>
                  <a:moveTo>
                    <a:pt x="3958" y="7004"/>
                  </a:moveTo>
                  <a:cubicBezTo>
                    <a:pt x="4047" y="7040"/>
                    <a:pt x="4047" y="7040"/>
                    <a:pt x="4047" y="7040"/>
                  </a:cubicBezTo>
                  <a:cubicBezTo>
                    <a:pt x="4069" y="6978"/>
                    <a:pt x="4069" y="6978"/>
                    <a:pt x="4069" y="6978"/>
                  </a:cubicBezTo>
                  <a:cubicBezTo>
                    <a:pt x="4051" y="6938"/>
                    <a:pt x="4051" y="6938"/>
                    <a:pt x="4051" y="6938"/>
                  </a:cubicBezTo>
                  <a:cubicBezTo>
                    <a:pt x="4068" y="6889"/>
                    <a:pt x="4068" y="6889"/>
                    <a:pt x="4068" y="6889"/>
                  </a:cubicBezTo>
                  <a:cubicBezTo>
                    <a:pt x="3980" y="6849"/>
                    <a:pt x="3980" y="6849"/>
                    <a:pt x="3980" y="6849"/>
                  </a:cubicBezTo>
                  <a:cubicBezTo>
                    <a:pt x="3951" y="6914"/>
                    <a:pt x="3951" y="6914"/>
                    <a:pt x="3951" y="6914"/>
                  </a:cubicBezTo>
                  <a:cubicBezTo>
                    <a:pt x="3981" y="6951"/>
                    <a:pt x="3981" y="6951"/>
                    <a:pt x="3981" y="6951"/>
                  </a:cubicBezTo>
                  <a:lnTo>
                    <a:pt x="3958" y="7004"/>
                  </a:lnTo>
                  <a:close/>
                  <a:moveTo>
                    <a:pt x="3967" y="6912"/>
                  </a:moveTo>
                  <a:cubicBezTo>
                    <a:pt x="3987" y="6867"/>
                    <a:pt x="3987" y="6867"/>
                    <a:pt x="3987" y="6867"/>
                  </a:cubicBezTo>
                  <a:cubicBezTo>
                    <a:pt x="4051" y="6896"/>
                    <a:pt x="4051" y="6896"/>
                    <a:pt x="4051" y="6896"/>
                  </a:cubicBezTo>
                  <a:cubicBezTo>
                    <a:pt x="4038" y="6933"/>
                    <a:pt x="4038" y="6933"/>
                    <a:pt x="4038" y="6933"/>
                  </a:cubicBezTo>
                  <a:cubicBezTo>
                    <a:pt x="4036" y="6938"/>
                    <a:pt x="4036" y="6938"/>
                    <a:pt x="4036" y="6938"/>
                  </a:cubicBezTo>
                  <a:cubicBezTo>
                    <a:pt x="4038" y="6944"/>
                    <a:pt x="4038" y="6944"/>
                    <a:pt x="4038" y="6944"/>
                  </a:cubicBezTo>
                  <a:cubicBezTo>
                    <a:pt x="4054" y="6979"/>
                    <a:pt x="4054" y="6979"/>
                    <a:pt x="4054" y="6979"/>
                  </a:cubicBezTo>
                  <a:cubicBezTo>
                    <a:pt x="4039" y="7021"/>
                    <a:pt x="4039" y="7021"/>
                    <a:pt x="4039" y="7021"/>
                  </a:cubicBezTo>
                  <a:cubicBezTo>
                    <a:pt x="3977" y="6997"/>
                    <a:pt x="3977" y="6997"/>
                    <a:pt x="3977" y="6997"/>
                  </a:cubicBezTo>
                  <a:cubicBezTo>
                    <a:pt x="3993" y="6957"/>
                    <a:pt x="3993" y="6957"/>
                    <a:pt x="3993" y="6957"/>
                  </a:cubicBezTo>
                  <a:cubicBezTo>
                    <a:pt x="3997" y="6949"/>
                    <a:pt x="3997" y="6949"/>
                    <a:pt x="3997" y="6949"/>
                  </a:cubicBezTo>
                  <a:cubicBezTo>
                    <a:pt x="3992" y="6943"/>
                    <a:pt x="3992" y="6943"/>
                    <a:pt x="3992" y="6943"/>
                  </a:cubicBezTo>
                  <a:lnTo>
                    <a:pt x="3967" y="6912"/>
                  </a:lnTo>
                  <a:close/>
                  <a:moveTo>
                    <a:pt x="4144" y="7335"/>
                  </a:moveTo>
                  <a:cubicBezTo>
                    <a:pt x="4190" y="7163"/>
                    <a:pt x="4190" y="7163"/>
                    <a:pt x="4190" y="7163"/>
                  </a:cubicBezTo>
                  <a:cubicBezTo>
                    <a:pt x="4234" y="7089"/>
                    <a:pt x="4234" y="7089"/>
                    <a:pt x="4234" y="7089"/>
                  </a:cubicBezTo>
                  <a:cubicBezTo>
                    <a:pt x="4190" y="7063"/>
                    <a:pt x="4190" y="7063"/>
                    <a:pt x="4190" y="7063"/>
                  </a:cubicBezTo>
                  <a:cubicBezTo>
                    <a:pt x="4033" y="7320"/>
                    <a:pt x="4033" y="7320"/>
                    <a:pt x="4033" y="7320"/>
                  </a:cubicBezTo>
                  <a:cubicBezTo>
                    <a:pt x="4076" y="7350"/>
                    <a:pt x="4076" y="7350"/>
                    <a:pt x="4076" y="7350"/>
                  </a:cubicBezTo>
                  <a:cubicBezTo>
                    <a:pt x="4089" y="7329"/>
                    <a:pt x="4089" y="7329"/>
                    <a:pt x="4089" y="7329"/>
                  </a:cubicBezTo>
                  <a:lnTo>
                    <a:pt x="4144" y="7335"/>
                  </a:lnTo>
                  <a:close/>
                  <a:moveTo>
                    <a:pt x="4077" y="7322"/>
                  </a:moveTo>
                  <a:cubicBezTo>
                    <a:pt x="4072" y="7330"/>
                    <a:pt x="4072" y="7330"/>
                    <a:pt x="4072" y="7330"/>
                  </a:cubicBezTo>
                  <a:cubicBezTo>
                    <a:pt x="4052" y="7316"/>
                    <a:pt x="4052" y="7316"/>
                    <a:pt x="4052" y="7316"/>
                  </a:cubicBezTo>
                  <a:cubicBezTo>
                    <a:pt x="4194" y="7082"/>
                    <a:pt x="4194" y="7082"/>
                    <a:pt x="4194" y="7082"/>
                  </a:cubicBezTo>
                  <a:cubicBezTo>
                    <a:pt x="4215" y="7094"/>
                    <a:pt x="4215" y="7094"/>
                    <a:pt x="4215" y="7094"/>
                  </a:cubicBezTo>
                  <a:cubicBezTo>
                    <a:pt x="4178" y="7156"/>
                    <a:pt x="4178" y="7156"/>
                    <a:pt x="4178" y="7156"/>
                  </a:cubicBezTo>
                  <a:cubicBezTo>
                    <a:pt x="4177" y="7158"/>
                    <a:pt x="4177" y="7158"/>
                    <a:pt x="4177" y="7158"/>
                  </a:cubicBezTo>
                  <a:cubicBezTo>
                    <a:pt x="4176" y="7160"/>
                    <a:pt x="4176" y="7160"/>
                    <a:pt x="4176" y="7160"/>
                  </a:cubicBezTo>
                  <a:cubicBezTo>
                    <a:pt x="4133" y="7320"/>
                    <a:pt x="4133" y="7320"/>
                    <a:pt x="4133" y="7320"/>
                  </a:cubicBezTo>
                  <a:cubicBezTo>
                    <a:pt x="4090" y="7315"/>
                    <a:pt x="4090" y="7315"/>
                    <a:pt x="4090" y="7315"/>
                  </a:cubicBezTo>
                  <a:cubicBezTo>
                    <a:pt x="4082" y="7314"/>
                    <a:pt x="4082" y="7314"/>
                    <a:pt x="4082" y="7314"/>
                  </a:cubicBezTo>
                  <a:lnTo>
                    <a:pt x="4077" y="7322"/>
                  </a:lnTo>
                  <a:close/>
                  <a:moveTo>
                    <a:pt x="3953" y="7599"/>
                  </a:moveTo>
                  <a:cubicBezTo>
                    <a:pt x="4001" y="7551"/>
                    <a:pt x="4001" y="7551"/>
                    <a:pt x="4001" y="7551"/>
                  </a:cubicBezTo>
                  <a:cubicBezTo>
                    <a:pt x="3983" y="7529"/>
                    <a:pt x="3983" y="7529"/>
                    <a:pt x="3983" y="7529"/>
                  </a:cubicBezTo>
                  <a:cubicBezTo>
                    <a:pt x="4021" y="7487"/>
                    <a:pt x="4021" y="7487"/>
                    <a:pt x="4021" y="7487"/>
                  </a:cubicBezTo>
                  <a:cubicBezTo>
                    <a:pt x="4046" y="7507"/>
                    <a:pt x="4046" y="7507"/>
                    <a:pt x="4046" y="7507"/>
                  </a:cubicBezTo>
                  <a:cubicBezTo>
                    <a:pt x="4093" y="7461"/>
                    <a:pt x="4093" y="7461"/>
                    <a:pt x="4093" y="7461"/>
                  </a:cubicBezTo>
                  <a:cubicBezTo>
                    <a:pt x="4030" y="7396"/>
                    <a:pt x="4030" y="7396"/>
                    <a:pt x="4030" y="7396"/>
                  </a:cubicBezTo>
                  <a:cubicBezTo>
                    <a:pt x="3984" y="7436"/>
                    <a:pt x="3984" y="7436"/>
                    <a:pt x="3984" y="7436"/>
                  </a:cubicBezTo>
                  <a:cubicBezTo>
                    <a:pt x="3966" y="7420"/>
                    <a:pt x="3966" y="7420"/>
                    <a:pt x="3966" y="7420"/>
                  </a:cubicBezTo>
                  <a:cubicBezTo>
                    <a:pt x="3917" y="7465"/>
                    <a:pt x="3917" y="7465"/>
                    <a:pt x="3917" y="7465"/>
                  </a:cubicBezTo>
                  <a:cubicBezTo>
                    <a:pt x="3936" y="7490"/>
                    <a:pt x="3936" y="7490"/>
                    <a:pt x="3936" y="7490"/>
                  </a:cubicBezTo>
                  <a:cubicBezTo>
                    <a:pt x="3893" y="7535"/>
                    <a:pt x="3893" y="7535"/>
                    <a:pt x="3893" y="7535"/>
                  </a:cubicBezTo>
                  <a:lnTo>
                    <a:pt x="3953" y="7599"/>
                  </a:lnTo>
                  <a:close/>
                  <a:moveTo>
                    <a:pt x="3947" y="7482"/>
                  </a:moveTo>
                  <a:cubicBezTo>
                    <a:pt x="3936" y="7467"/>
                    <a:pt x="3936" y="7467"/>
                    <a:pt x="3936" y="7467"/>
                  </a:cubicBezTo>
                  <a:cubicBezTo>
                    <a:pt x="3966" y="7439"/>
                    <a:pt x="3966" y="7439"/>
                    <a:pt x="3966" y="7439"/>
                  </a:cubicBezTo>
                  <a:cubicBezTo>
                    <a:pt x="3975" y="7447"/>
                    <a:pt x="3975" y="7447"/>
                    <a:pt x="3975" y="7447"/>
                  </a:cubicBezTo>
                  <a:cubicBezTo>
                    <a:pt x="3984" y="7455"/>
                    <a:pt x="3984" y="7455"/>
                    <a:pt x="3984" y="7455"/>
                  </a:cubicBezTo>
                  <a:cubicBezTo>
                    <a:pt x="3993" y="7447"/>
                    <a:pt x="3993" y="7447"/>
                    <a:pt x="3993" y="7447"/>
                  </a:cubicBezTo>
                  <a:cubicBezTo>
                    <a:pt x="4029" y="7416"/>
                    <a:pt x="4029" y="7416"/>
                    <a:pt x="4029" y="7416"/>
                  </a:cubicBezTo>
                  <a:cubicBezTo>
                    <a:pt x="4073" y="7460"/>
                    <a:pt x="4073" y="7460"/>
                    <a:pt x="4073" y="7460"/>
                  </a:cubicBezTo>
                  <a:cubicBezTo>
                    <a:pt x="4045" y="7489"/>
                    <a:pt x="4045" y="7489"/>
                    <a:pt x="4045" y="7489"/>
                  </a:cubicBezTo>
                  <a:cubicBezTo>
                    <a:pt x="4030" y="7476"/>
                    <a:pt x="4030" y="7476"/>
                    <a:pt x="4030" y="7476"/>
                  </a:cubicBezTo>
                  <a:cubicBezTo>
                    <a:pt x="4019" y="7468"/>
                    <a:pt x="4019" y="7468"/>
                    <a:pt x="4019" y="7468"/>
                  </a:cubicBezTo>
                  <a:cubicBezTo>
                    <a:pt x="4010" y="7478"/>
                    <a:pt x="4010" y="7478"/>
                    <a:pt x="4010" y="7478"/>
                  </a:cubicBezTo>
                  <a:cubicBezTo>
                    <a:pt x="3973" y="7520"/>
                    <a:pt x="3973" y="7520"/>
                    <a:pt x="3973" y="7520"/>
                  </a:cubicBezTo>
                  <a:cubicBezTo>
                    <a:pt x="3965" y="7529"/>
                    <a:pt x="3965" y="7529"/>
                    <a:pt x="3965" y="7529"/>
                  </a:cubicBezTo>
                  <a:cubicBezTo>
                    <a:pt x="3972" y="7538"/>
                    <a:pt x="3972" y="7538"/>
                    <a:pt x="3972" y="7538"/>
                  </a:cubicBezTo>
                  <a:cubicBezTo>
                    <a:pt x="3982" y="7550"/>
                    <a:pt x="3982" y="7550"/>
                    <a:pt x="3982" y="7550"/>
                  </a:cubicBezTo>
                  <a:cubicBezTo>
                    <a:pt x="3954" y="7579"/>
                    <a:pt x="3954" y="7579"/>
                    <a:pt x="3954" y="7579"/>
                  </a:cubicBezTo>
                  <a:cubicBezTo>
                    <a:pt x="3912" y="7535"/>
                    <a:pt x="3912" y="7535"/>
                    <a:pt x="3912" y="7535"/>
                  </a:cubicBezTo>
                  <a:cubicBezTo>
                    <a:pt x="3946" y="7500"/>
                    <a:pt x="3946" y="7500"/>
                    <a:pt x="3946" y="7500"/>
                  </a:cubicBezTo>
                  <a:cubicBezTo>
                    <a:pt x="3955" y="7491"/>
                    <a:pt x="3955" y="7491"/>
                    <a:pt x="3955" y="7491"/>
                  </a:cubicBezTo>
                  <a:lnTo>
                    <a:pt x="3947" y="7482"/>
                  </a:lnTo>
                  <a:close/>
                  <a:moveTo>
                    <a:pt x="3914" y="7361"/>
                  </a:moveTo>
                  <a:cubicBezTo>
                    <a:pt x="3958" y="7317"/>
                    <a:pt x="3958" y="7317"/>
                    <a:pt x="3958" y="7317"/>
                  </a:cubicBezTo>
                  <a:cubicBezTo>
                    <a:pt x="3895" y="7251"/>
                    <a:pt x="3895" y="7251"/>
                    <a:pt x="3895" y="7251"/>
                  </a:cubicBezTo>
                  <a:cubicBezTo>
                    <a:pt x="3843" y="7297"/>
                    <a:pt x="3843" y="7297"/>
                    <a:pt x="3843" y="7297"/>
                  </a:cubicBezTo>
                  <a:cubicBezTo>
                    <a:pt x="3867" y="7322"/>
                    <a:pt x="3867" y="7322"/>
                    <a:pt x="3867" y="7322"/>
                  </a:cubicBezTo>
                  <a:cubicBezTo>
                    <a:pt x="3829" y="7363"/>
                    <a:pt x="3829" y="7363"/>
                    <a:pt x="3829" y="7363"/>
                  </a:cubicBezTo>
                  <a:cubicBezTo>
                    <a:pt x="3804" y="7342"/>
                    <a:pt x="3804" y="7342"/>
                    <a:pt x="3804" y="7342"/>
                  </a:cubicBezTo>
                  <a:cubicBezTo>
                    <a:pt x="3756" y="7388"/>
                    <a:pt x="3756" y="7388"/>
                    <a:pt x="3756" y="7388"/>
                  </a:cubicBezTo>
                  <a:cubicBezTo>
                    <a:pt x="3818" y="7454"/>
                    <a:pt x="3818" y="7454"/>
                    <a:pt x="3818" y="7454"/>
                  </a:cubicBezTo>
                  <a:cubicBezTo>
                    <a:pt x="3865" y="7414"/>
                    <a:pt x="3865" y="7414"/>
                    <a:pt x="3865" y="7414"/>
                  </a:cubicBezTo>
                  <a:cubicBezTo>
                    <a:pt x="3883" y="7431"/>
                    <a:pt x="3883" y="7431"/>
                    <a:pt x="3883" y="7431"/>
                  </a:cubicBezTo>
                  <a:cubicBezTo>
                    <a:pt x="3933" y="7387"/>
                    <a:pt x="3933" y="7387"/>
                    <a:pt x="3933" y="7387"/>
                  </a:cubicBezTo>
                  <a:lnTo>
                    <a:pt x="3914" y="7361"/>
                  </a:lnTo>
                  <a:close/>
                  <a:moveTo>
                    <a:pt x="3874" y="7404"/>
                  </a:moveTo>
                  <a:cubicBezTo>
                    <a:pt x="3865" y="7396"/>
                    <a:pt x="3865" y="7396"/>
                    <a:pt x="3865" y="7396"/>
                  </a:cubicBezTo>
                  <a:cubicBezTo>
                    <a:pt x="3856" y="7404"/>
                    <a:pt x="3856" y="7404"/>
                    <a:pt x="3856" y="7404"/>
                  </a:cubicBezTo>
                  <a:cubicBezTo>
                    <a:pt x="3819" y="7434"/>
                    <a:pt x="3819" y="7434"/>
                    <a:pt x="3819" y="7434"/>
                  </a:cubicBezTo>
                  <a:cubicBezTo>
                    <a:pt x="3776" y="7389"/>
                    <a:pt x="3776" y="7389"/>
                    <a:pt x="3776" y="7389"/>
                  </a:cubicBezTo>
                  <a:cubicBezTo>
                    <a:pt x="3805" y="7361"/>
                    <a:pt x="3805" y="7361"/>
                    <a:pt x="3805" y="7361"/>
                  </a:cubicBezTo>
                  <a:cubicBezTo>
                    <a:pt x="3820" y="7374"/>
                    <a:pt x="3820" y="7374"/>
                    <a:pt x="3820" y="7374"/>
                  </a:cubicBezTo>
                  <a:cubicBezTo>
                    <a:pt x="3830" y="7383"/>
                    <a:pt x="3830" y="7383"/>
                    <a:pt x="3830" y="7383"/>
                  </a:cubicBezTo>
                  <a:cubicBezTo>
                    <a:pt x="3839" y="7373"/>
                    <a:pt x="3839" y="7373"/>
                    <a:pt x="3839" y="7373"/>
                  </a:cubicBezTo>
                  <a:cubicBezTo>
                    <a:pt x="3878" y="7331"/>
                    <a:pt x="3878" y="7331"/>
                    <a:pt x="3878" y="7331"/>
                  </a:cubicBezTo>
                  <a:cubicBezTo>
                    <a:pt x="3887" y="7321"/>
                    <a:pt x="3887" y="7321"/>
                    <a:pt x="3887" y="7321"/>
                  </a:cubicBezTo>
                  <a:cubicBezTo>
                    <a:pt x="3877" y="7312"/>
                    <a:pt x="3877" y="7312"/>
                    <a:pt x="3877" y="7312"/>
                  </a:cubicBezTo>
                  <a:cubicBezTo>
                    <a:pt x="3863" y="7298"/>
                    <a:pt x="3863" y="7298"/>
                    <a:pt x="3863" y="7298"/>
                  </a:cubicBezTo>
                  <a:cubicBezTo>
                    <a:pt x="3894" y="7270"/>
                    <a:pt x="3894" y="7270"/>
                    <a:pt x="3894" y="7270"/>
                  </a:cubicBezTo>
                  <a:cubicBezTo>
                    <a:pt x="3938" y="7317"/>
                    <a:pt x="3938" y="7317"/>
                    <a:pt x="3938" y="7317"/>
                  </a:cubicBezTo>
                  <a:cubicBezTo>
                    <a:pt x="3904" y="7351"/>
                    <a:pt x="3904" y="7351"/>
                    <a:pt x="3904" y="7351"/>
                  </a:cubicBezTo>
                  <a:cubicBezTo>
                    <a:pt x="3895" y="7360"/>
                    <a:pt x="3895" y="7360"/>
                    <a:pt x="3895" y="7360"/>
                  </a:cubicBezTo>
                  <a:cubicBezTo>
                    <a:pt x="3903" y="7370"/>
                    <a:pt x="3903" y="7370"/>
                    <a:pt x="3903" y="7370"/>
                  </a:cubicBezTo>
                  <a:cubicBezTo>
                    <a:pt x="3914" y="7385"/>
                    <a:pt x="3914" y="7385"/>
                    <a:pt x="3914" y="7385"/>
                  </a:cubicBezTo>
                  <a:cubicBezTo>
                    <a:pt x="3883" y="7412"/>
                    <a:pt x="3883" y="7412"/>
                    <a:pt x="3883" y="7412"/>
                  </a:cubicBezTo>
                  <a:lnTo>
                    <a:pt x="3874" y="7404"/>
                  </a:lnTo>
                  <a:close/>
                  <a:moveTo>
                    <a:pt x="3589" y="7674"/>
                  </a:moveTo>
                  <a:cubicBezTo>
                    <a:pt x="3765" y="7647"/>
                    <a:pt x="3765" y="7647"/>
                    <a:pt x="3765" y="7647"/>
                  </a:cubicBezTo>
                  <a:cubicBezTo>
                    <a:pt x="3751" y="7563"/>
                    <a:pt x="3751" y="7563"/>
                    <a:pt x="3751" y="7563"/>
                  </a:cubicBezTo>
                  <a:cubicBezTo>
                    <a:pt x="3677" y="7575"/>
                    <a:pt x="3677" y="7575"/>
                    <a:pt x="3677" y="7575"/>
                  </a:cubicBezTo>
                  <a:cubicBezTo>
                    <a:pt x="3660" y="7496"/>
                    <a:pt x="3660" y="7496"/>
                    <a:pt x="3660" y="7496"/>
                  </a:cubicBezTo>
                  <a:cubicBezTo>
                    <a:pt x="3578" y="7512"/>
                    <a:pt x="3578" y="7512"/>
                    <a:pt x="3578" y="7512"/>
                  </a:cubicBezTo>
                  <a:cubicBezTo>
                    <a:pt x="3592" y="7589"/>
                    <a:pt x="3592" y="7589"/>
                    <a:pt x="3592" y="7589"/>
                  </a:cubicBezTo>
                  <a:cubicBezTo>
                    <a:pt x="3592" y="7589"/>
                    <a:pt x="3570" y="7592"/>
                    <a:pt x="3573" y="7594"/>
                  </a:cubicBezTo>
                  <a:cubicBezTo>
                    <a:pt x="3575" y="7595"/>
                    <a:pt x="3589" y="7674"/>
                    <a:pt x="3589" y="7674"/>
                  </a:cubicBezTo>
                  <a:close/>
                  <a:moveTo>
                    <a:pt x="3594" y="7603"/>
                  </a:moveTo>
                  <a:cubicBezTo>
                    <a:pt x="3608" y="7601"/>
                    <a:pt x="3608" y="7601"/>
                    <a:pt x="3608" y="7601"/>
                  </a:cubicBezTo>
                  <a:cubicBezTo>
                    <a:pt x="3606" y="7587"/>
                    <a:pt x="3606" y="7587"/>
                    <a:pt x="3606" y="7587"/>
                  </a:cubicBezTo>
                  <a:cubicBezTo>
                    <a:pt x="3595" y="7523"/>
                    <a:pt x="3595" y="7523"/>
                    <a:pt x="3595" y="7523"/>
                  </a:cubicBezTo>
                  <a:cubicBezTo>
                    <a:pt x="3649" y="7513"/>
                    <a:pt x="3649" y="7513"/>
                    <a:pt x="3649" y="7513"/>
                  </a:cubicBezTo>
                  <a:cubicBezTo>
                    <a:pt x="3663" y="7578"/>
                    <a:pt x="3663" y="7578"/>
                    <a:pt x="3663" y="7578"/>
                  </a:cubicBezTo>
                  <a:cubicBezTo>
                    <a:pt x="3666" y="7591"/>
                    <a:pt x="3666" y="7591"/>
                    <a:pt x="3666" y="7591"/>
                  </a:cubicBezTo>
                  <a:cubicBezTo>
                    <a:pt x="3679" y="7589"/>
                    <a:pt x="3679" y="7589"/>
                    <a:pt x="3679" y="7589"/>
                  </a:cubicBezTo>
                  <a:cubicBezTo>
                    <a:pt x="3740" y="7579"/>
                    <a:pt x="3740" y="7579"/>
                    <a:pt x="3740" y="7579"/>
                  </a:cubicBezTo>
                  <a:cubicBezTo>
                    <a:pt x="3749" y="7636"/>
                    <a:pt x="3749" y="7636"/>
                    <a:pt x="3749" y="7636"/>
                  </a:cubicBezTo>
                  <a:cubicBezTo>
                    <a:pt x="3600" y="7658"/>
                    <a:pt x="3600" y="7658"/>
                    <a:pt x="3600" y="7658"/>
                  </a:cubicBezTo>
                  <a:cubicBezTo>
                    <a:pt x="3595" y="7631"/>
                    <a:pt x="3592" y="7614"/>
                    <a:pt x="3590" y="7604"/>
                  </a:cubicBezTo>
                  <a:cubicBezTo>
                    <a:pt x="3591" y="7603"/>
                    <a:pt x="3593" y="7603"/>
                    <a:pt x="3594" y="7603"/>
                  </a:cubicBezTo>
                  <a:close/>
                  <a:moveTo>
                    <a:pt x="3708" y="7876"/>
                  </a:moveTo>
                  <a:cubicBezTo>
                    <a:pt x="3790" y="7866"/>
                    <a:pt x="3790" y="7866"/>
                    <a:pt x="3790" y="7866"/>
                  </a:cubicBezTo>
                  <a:cubicBezTo>
                    <a:pt x="3775" y="7784"/>
                    <a:pt x="3775" y="7784"/>
                    <a:pt x="3775" y="7784"/>
                  </a:cubicBezTo>
                  <a:cubicBezTo>
                    <a:pt x="3850" y="7773"/>
                    <a:pt x="3850" y="7773"/>
                    <a:pt x="3850" y="7773"/>
                  </a:cubicBezTo>
                  <a:cubicBezTo>
                    <a:pt x="3836" y="7688"/>
                    <a:pt x="3836" y="7688"/>
                    <a:pt x="3836" y="7688"/>
                  </a:cubicBezTo>
                  <a:cubicBezTo>
                    <a:pt x="3656" y="7724"/>
                    <a:pt x="3656" y="7724"/>
                    <a:pt x="3656" y="7724"/>
                  </a:cubicBezTo>
                  <a:cubicBezTo>
                    <a:pt x="3656" y="7724"/>
                    <a:pt x="3672" y="7798"/>
                    <a:pt x="3671" y="7800"/>
                  </a:cubicBezTo>
                  <a:cubicBezTo>
                    <a:pt x="3669" y="7802"/>
                    <a:pt x="3690" y="7798"/>
                    <a:pt x="3690" y="7798"/>
                  </a:cubicBezTo>
                  <a:lnTo>
                    <a:pt x="3708" y="7876"/>
                  </a:lnTo>
                  <a:close/>
                  <a:moveTo>
                    <a:pt x="3683" y="7785"/>
                  </a:moveTo>
                  <a:cubicBezTo>
                    <a:pt x="3681" y="7775"/>
                    <a:pt x="3678" y="7759"/>
                    <a:pt x="3673" y="7735"/>
                  </a:cubicBezTo>
                  <a:cubicBezTo>
                    <a:pt x="3824" y="7704"/>
                    <a:pt x="3824" y="7704"/>
                    <a:pt x="3824" y="7704"/>
                  </a:cubicBezTo>
                  <a:cubicBezTo>
                    <a:pt x="3834" y="7761"/>
                    <a:pt x="3834" y="7761"/>
                    <a:pt x="3834" y="7761"/>
                  </a:cubicBezTo>
                  <a:cubicBezTo>
                    <a:pt x="3773" y="7770"/>
                    <a:pt x="3773" y="7770"/>
                    <a:pt x="3773" y="7770"/>
                  </a:cubicBezTo>
                  <a:cubicBezTo>
                    <a:pt x="3759" y="7773"/>
                    <a:pt x="3759" y="7773"/>
                    <a:pt x="3759" y="7773"/>
                  </a:cubicBezTo>
                  <a:cubicBezTo>
                    <a:pt x="3761" y="7787"/>
                    <a:pt x="3761" y="7787"/>
                    <a:pt x="3761" y="7787"/>
                  </a:cubicBezTo>
                  <a:cubicBezTo>
                    <a:pt x="3773" y="7854"/>
                    <a:pt x="3773" y="7854"/>
                    <a:pt x="3773" y="7854"/>
                  </a:cubicBezTo>
                  <a:cubicBezTo>
                    <a:pt x="3718" y="7861"/>
                    <a:pt x="3718" y="7861"/>
                    <a:pt x="3718" y="7861"/>
                  </a:cubicBezTo>
                  <a:cubicBezTo>
                    <a:pt x="3704" y="7795"/>
                    <a:pt x="3704" y="7795"/>
                    <a:pt x="3704" y="7795"/>
                  </a:cubicBezTo>
                  <a:cubicBezTo>
                    <a:pt x="3701" y="7782"/>
                    <a:pt x="3701" y="7782"/>
                    <a:pt x="3701" y="7782"/>
                  </a:cubicBezTo>
                  <a:cubicBezTo>
                    <a:pt x="3688" y="7784"/>
                    <a:pt x="3688" y="7784"/>
                    <a:pt x="3688" y="7784"/>
                  </a:cubicBezTo>
                  <a:cubicBezTo>
                    <a:pt x="3686" y="7785"/>
                    <a:pt x="3685" y="7785"/>
                    <a:pt x="3683" y="7785"/>
                  </a:cubicBezTo>
                  <a:close/>
                  <a:moveTo>
                    <a:pt x="1052" y="9215"/>
                  </a:moveTo>
                  <a:cubicBezTo>
                    <a:pt x="1542" y="8889"/>
                    <a:pt x="1542" y="8889"/>
                    <a:pt x="1542" y="8889"/>
                  </a:cubicBezTo>
                  <a:cubicBezTo>
                    <a:pt x="1479" y="8756"/>
                    <a:pt x="1479" y="8756"/>
                    <a:pt x="1479" y="8756"/>
                  </a:cubicBezTo>
                  <a:cubicBezTo>
                    <a:pt x="1063" y="9152"/>
                    <a:pt x="1063" y="9152"/>
                    <a:pt x="1063" y="9152"/>
                  </a:cubicBezTo>
                  <a:lnTo>
                    <a:pt x="1052" y="9215"/>
                  </a:lnTo>
                  <a:close/>
                  <a:moveTo>
                    <a:pt x="1076" y="9159"/>
                  </a:moveTo>
                  <a:cubicBezTo>
                    <a:pt x="1475" y="8779"/>
                    <a:pt x="1475" y="8779"/>
                    <a:pt x="1475" y="8779"/>
                  </a:cubicBezTo>
                  <a:cubicBezTo>
                    <a:pt x="1524" y="8884"/>
                    <a:pt x="1524" y="8884"/>
                    <a:pt x="1524" y="8884"/>
                  </a:cubicBezTo>
                  <a:cubicBezTo>
                    <a:pt x="1071" y="9186"/>
                    <a:pt x="1071" y="9186"/>
                    <a:pt x="1071" y="9186"/>
                  </a:cubicBezTo>
                  <a:lnTo>
                    <a:pt x="1076" y="9159"/>
                  </a:lnTo>
                  <a:close/>
                  <a:moveTo>
                    <a:pt x="1701" y="7730"/>
                  </a:moveTo>
                  <a:cubicBezTo>
                    <a:pt x="1710" y="7667"/>
                    <a:pt x="1710" y="7667"/>
                    <a:pt x="1710" y="7667"/>
                  </a:cubicBezTo>
                  <a:cubicBezTo>
                    <a:pt x="1675" y="7632"/>
                    <a:pt x="1675" y="7632"/>
                    <a:pt x="1675" y="7632"/>
                  </a:cubicBezTo>
                  <a:cubicBezTo>
                    <a:pt x="1730" y="7473"/>
                    <a:pt x="1730" y="7473"/>
                    <a:pt x="1730" y="7473"/>
                  </a:cubicBezTo>
                  <a:cubicBezTo>
                    <a:pt x="1691" y="7431"/>
                    <a:pt x="1691" y="7431"/>
                    <a:pt x="1691" y="7431"/>
                  </a:cubicBezTo>
                  <a:cubicBezTo>
                    <a:pt x="1546" y="7647"/>
                    <a:pt x="1546" y="7647"/>
                    <a:pt x="1546" y="7647"/>
                  </a:cubicBezTo>
                  <a:cubicBezTo>
                    <a:pt x="1606" y="7724"/>
                    <a:pt x="1606" y="7724"/>
                    <a:pt x="1606" y="7724"/>
                  </a:cubicBezTo>
                  <a:lnTo>
                    <a:pt x="1701" y="7730"/>
                  </a:lnTo>
                  <a:close/>
                  <a:moveTo>
                    <a:pt x="1693" y="7454"/>
                  </a:moveTo>
                  <a:cubicBezTo>
                    <a:pt x="1714" y="7477"/>
                    <a:pt x="1714" y="7477"/>
                    <a:pt x="1714" y="7477"/>
                  </a:cubicBezTo>
                  <a:cubicBezTo>
                    <a:pt x="1661" y="7628"/>
                    <a:pt x="1661" y="7628"/>
                    <a:pt x="1661" y="7628"/>
                  </a:cubicBezTo>
                  <a:cubicBezTo>
                    <a:pt x="1658" y="7636"/>
                    <a:pt x="1658" y="7636"/>
                    <a:pt x="1658" y="7636"/>
                  </a:cubicBezTo>
                  <a:cubicBezTo>
                    <a:pt x="1665" y="7642"/>
                    <a:pt x="1665" y="7642"/>
                    <a:pt x="1665" y="7642"/>
                  </a:cubicBezTo>
                  <a:cubicBezTo>
                    <a:pt x="1696" y="7672"/>
                    <a:pt x="1696" y="7672"/>
                    <a:pt x="1696" y="7672"/>
                  </a:cubicBezTo>
                  <a:cubicBezTo>
                    <a:pt x="1689" y="7715"/>
                    <a:pt x="1689" y="7715"/>
                    <a:pt x="1689" y="7715"/>
                  </a:cubicBezTo>
                  <a:cubicBezTo>
                    <a:pt x="1613" y="7711"/>
                    <a:pt x="1613" y="7711"/>
                    <a:pt x="1613" y="7711"/>
                  </a:cubicBezTo>
                  <a:cubicBezTo>
                    <a:pt x="1564" y="7646"/>
                    <a:pt x="1564" y="7646"/>
                    <a:pt x="1564" y="7646"/>
                  </a:cubicBezTo>
                  <a:lnTo>
                    <a:pt x="1693" y="7454"/>
                  </a:lnTo>
                  <a:close/>
                  <a:moveTo>
                    <a:pt x="1600" y="8107"/>
                  </a:moveTo>
                  <a:cubicBezTo>
                    <a:pt x="1600" y="8107"/>
                    <a:pt x="1693" y="8230"/>
                    <a:pt x="1695" y="8230"/>
                  </a:cubicBezTo>
                  <a:cubicBezTo>
                    <a:pt x="1697" y="8230"/>
                    <a:pt x="1942" y="8221"/>
                    <a:pt x="1945" y="8221"/>
                  </a:cubicBezTo>
                  <a:cubicBezTo>
                    <a:pt x="1948" y="8221"/>
                    <a:pt x="2014" y="8174"/>
                    <a:pt x="2014" y="8174"/>
                  </a:cubicBezTo>
                  <a:cubicBezTo>
                    <a:pt x="2014" y="8174"/>
                    <a:pt x="1826" y="8083"/>
                    <a:pt x="1829" y="8083"/>
                  </a:cubicBezTo>
                  <a:cubicBezTo>
                    <a:pt x="1832" y="8083"/>
                    <a:pt x="1846" y="8033"/>
                    <a:pt x="1846" y="8033"/>
                  </a:cubicBezTo>
                  <a:cubicBezTo>
                    <a:pt x="1744" y="7983"/>
                    <a:pt x="1744" y="7983"/>
                    <a:pt x="1744" y="7983"/>
                  </a:cubicBezTo>
                  <a:lnTo>
                    <a:pt x="1600" y="8107"/>
                  </a:lnTo>
                  <a:close/>
                  <a:moveTo>
                    <a:pt x="1829" y="8040"/>
                  </a:moveTo>
                  <a:cubicBezTo>
                    <a:pt x="1826" y="8051"/>
                    <a:pt x="1823" y="8062"/>
                    <a:pt x="1821" y="8069"/>
                  </a:cubicBezTo>
                  <a:cubicBezTo>
                    <a:pt x="1818" y="8069"/>
                    <a:pt x="1818" y="8069"/>
                    <a:pt x="1818" y="8069"/>
                  </a:cubicBezTo>
                  <a:cubicBezTo>
                    <a:pt x="1816" y="8080"/>
                    <a:pt x="1816" y="8080"/>
                    <a:pt x="1816" y="8080"/>
                  </a:cubicBezTo>
                  <a:cubicBezTo>
                    <a:pt x="1813" y="8092"/>
                    <a:pt x="1813" y="8092"/>
                    <a:pt x="1915" y="8142"/>
                  </a:cubicBezTo>
                  <a:cubicBezTo>
                    <a:pt x="1942" y="8155"/>
                    <a:pt x="1969" y="8168"/>
                    <a:pt x="1987" y="8177"/>
                  </a:cubicBezTo>
                  <a:cubicBezTo>
                    <a:pt x="1967" y="8191"/>
                    <a:pt x="1948" y="8204"/>
                    <a:pt x="1942" y="8208"/>
                  </a:cubicBezTo>
                  <a:cubicBezTo>
                    <a:pt x="1930" y="8208"/>
                    <a:pt x="1889" y="8209"/>
                    <a:pt x="1801" y="8212"/>
                  </a:cubicBezTo>
                  <a:cubicBezTo>
                    <a:pt x="1757" y="8214"/>
                    <a:pt x="1716" y="8215"/>
                    <a:pt x="1701" y="8216"/>
                  </a:cubicBezTo>
                  <a:cubicBezTo>
                    <a:pt x="1689" y="8200"/>
                    <a:pt x="1648" y="8148"/>
                    <a:pt x="1619" y="8109"/>
                  </a:cubicBezTo>
                  <a:cubicBezTo>
                    <a:pt x="1746" y="7999"/>
                    <a:pt x="1746" y="7999"/>
                    <a:pt x="1746" y="7999"/>
                  </a:cubicBezTo>
                  <a:lnTo>
                    <a:pt x="1829" y="8040"/>
                  </a:lnTo>
                  <a:close/>
                  <a:moveTo>
                    <a:pt x="968" y="7880"/>
                  </a:moveTo>
                  <a:cubicBezTo>
                    <a:pt x="1000" y="7871"/>
                    <a:pt x="1000" y="7871"/>
                    <a:pt x="1000" y="7871"/>
                  </a:cubicBezTo>
                  <a:cubicBezTo>
                    <a:pt x="1006" y="7889"/>
                    <a:pt x="1006" y="7889"/>
                    <a:pt x="1006" y="7889"/>
                  </a:cubicBezTo>
                  <a:cubicBezTo>
                    <a:pt x="950" y="7915"/>
                    <a:pt x="950" y="7915"/>
                    <a:pt x="950" y="7915"/>
                  </a:cubicBezTo>
                  <a:cubicBezTo>
                    <a:pt x="985" y="8009"/>
                    <a:pt x="985" y="8009"/>
                    <a:pt x="985" y="8009"/>
                  </a:cubicBezTo>
                  <a:cubicBezTo>
                    <a:pt x="1073" y="7974"/>
                    <a:pt x="1073" y="7974"/>
                    <a:pt x="1073" y="7974"/>
                  </a:cubicBezTo>
                  <a:cubicBezTo>
                    <a:pt x="1060" y="7932"/>
                    <a:pt x="1060" y="7932"/>
                    <a:pt x="1060" y="7932"/>
                  </a:cubicBezTo>
                  <a:cubicBezTo>
                    <a:pt x="1117" y="7908"/>
                    <a:pt x="1117" y="7908"/>
                    <a:pt x="1117" y="7908"/>
                  </a:cubicBezTo>
                  <a:cubicBezTo>
                    <a:pt x="1084" y="7809"/>
                    <a:pt x="1084" y="7809"/>
                    <a:pt x="1084" y="7809"/>
                  </a:cubicBezTo>
                  <a:cubicBezTo>
                    <a:pt x="1053" y="7820"/>
                    <a:pt x="1053" y="7820"/>
                    <a:pt x="1053" y="7820"/>
                  </a:cubicBezTo>
                  <a:cubicBezTo>
                    <a:pt x="1046" y="7800"/>
                    <a:pt x="1046" y="7800"/>
                    <a:pt x="1046" y="7800"/>
                  </a:cubicBezTo>
                  <a:cubicBezTo>
                    <a:pt x="1102" y="7778"/>
                    <a:pt x="1102" y="7778"/>
                    <a:pt x="1102" y="7778"/>
                  </a:cubicBezTo>
                  <a:cubicBezTo>
                    <a:pt x="1068" y="7679"/>
                    <a:pt x="1068" y="7679"/>
                    <a:pt x="1068" y="7679"/>
                  </a:cubicBezTo>
                  <a:cubicBezTo>
                    <a:pt x="977" y="7716"/>
                    <a:pt x="977" y="7716"/>
                    <a:pt x="977" y="7716"/>
                  </a:cubicBezTo>
                  <a:cubicBezTo>
                    <a:pt x="992" y="7759"/>
                    <a:pt x="992" y="7759"/>
                    <a:pt x="992" y="7759"/>
                  </a:cubicBezTo>
                  <a:cubicBezTo>
                    <a:pt x="937" y="7785"/>
                    <a:pt x="937" y="7785"/>
                    <a:pt x="937" y="7785"/>
                  </a:cubicBezTo>
                  <a:lnTo>
                    <a:pt x="968" y="7880"/>
                  </a:lnTo>
                  <a:close/>
                  <a:moveTo>
                    <a:pt x="1005" y="7755"/>
                  </a:moveTo>
                  <a:cubicBezTo>
                    <a:pt x="994" y="7724"/>
                    <a:pt x="994" y="7724"/>
                    <a:pt x="994" y="7724"/>
                  </a:cubicBezTo>
                  <a:cubicBezTo>
                    <a:pt x="1059" y="7698"/>
                    <a:pt x="1059" y="7698"/>
                    <a:pt x="1059" y="7698"/>
                  </a:cubicBezTo>
                  <a:cubicBezTo>
                    <a:pt x="1084" y="7770"/>
                    <a:pt x="1084" y="7770"/>
                    <a:pt x="1084" y="7770"/>
                  </a:cubicBezTo>
                  <a:cubicBezTo>
                    <a:pt x="1041" y="7787"/>
                    <a:pt x="1041" y="7787"/>
                    <a:pt x="1041" y="7787"/>
                  </a:cubicBezTo>
                  <a:cubicBezTo>
                    <a:pt x="1029" y="7792"/>
                    <a:pt x="1029" y="7792"/>
                    <a:pt x="1029" y="7792"/>
                  </a:cubicBezTo>
                  <a:cubicBezTo>
                    <a:pt x="1033" y="7805"/>
                    <a:pt x="1033" y="7805"/>
                    <a:pt x="1033" y="7805"/>
                  </a:cubicBezTo>
                  <a:cubicBezTo>
                    <a:pt x="1040" y="7825"/>
                    <a:pt x="1040" y="7825"/>
                    <a:pt x="1040" y="7825"/>
                  </a:cubicBezTo>
                  <a:cubicBezTo>
                    <a:pt x="1045" y="7837"/>
                    <a:pt x="1045" y="7837"/>
                    <a:pt x="1045" y="7837"/>
                  </a:cubicBezTo>
                  <a:cubicBezTo>
                    <a:pt x="1058" y="7833"/>
                    <a:pt x="1058" y="7833"/>
                    <a:pt x="1058" y="7833"/>
                  </a:cubicBezTo>
                  <a:cubicBezTo>
                    <a:pt x="1075" y="7827"/>
                    <a:pt x="1075" y="7827"/>
                    <a:pt x="1075" y="7827"/>
                  </a:cubicBezTo>
                  <a:cubicBezTo>
                    <a:pt x="1100" y="7900"/>
                    <a:pt x="1100" y="7900"/>
                    <a:pt x="1100" y="7900"/>
                  </a:cubicBezTo>
                  <a:cubicBezTo>
                    <a:pt x="1054" y="7920"/>
                    <a:pt x="1054" y="7920"/>
                    <a:pt x="1054" y="7920"/>
                  </a:cubicBezTo>
                  <a:cubicBezTo>
                    <a:pt x="1043" y="7925"/>
                    <a:pt x="1043" y="7925"/>
                    <a:pt x="1043" y="7925"/>
                  </a:cubicBezTo>
                  <a:cubicBezTo>
                    <a:pt x="1046" y="7937"/>
                    <a:pt x="1046" y="7937"/>
                    <a:pt x="1046" y="7937"/>
                  </a:cubicBezTo>
                  <a:cubicBezTo>
                    <a:pt x="1056" y="7966"/>
                    <a:pt x="1056" y="7966"/>
                    <a:pt x="1056" y="7966"/>
                  </a:cubicBezTo>
                  <a:cubicBezTo>
                    <a:pt x="993" y="7991"/>
                    <a:pt x="993" y="7991"/>
                    <a:pt x="993" y="7991"/>
                  </a:cubicBezTo>
                  <a:cubicBezTo>
                    <a:pt x="968" y="7922"/>
                    <a:pt x="968" y="7922"/>
                    <a:pt x="968" y="7922"/>
                  </a:cubicBezTo>
                  <a:cubicBezTo>
                    <a:pt x="1012" y="7902"/>
                    <a:pt x="1012" y="7902"/>
                    <a:pt x="1012" y="7902"/>
                  </a:cubicBezTo>
                  <a:cubicBezTo>
                    <a:pt x="1024" y="7897"/>
                    <a:pt x="1024" y="7897"/>
                    <a:pt x="1024" y="7897"/>
                  </a:cubicBezTo>
                  <a:cubicBezTo>
                    <a:pt x="1020" y="7885"/>
                    <a:pt x="1020" y="7885"/>
                    <a:pt x="1020" y="7885"/>
                  </a:cubicBezTo>
                  <a:cubicBezTo>
                    <a:pt x="1013" y="7867"/>
                    <a:pt x="1013" y="7867"/>
                    <a:pt x="1013" y="7867"/>
                  </a:cubicBezTo>
                  <a:cubicBezTo>
                    <a:pt x="1009" y="7854"/>
                    <a:pt x="1009" y="7854"/>
                    <a:pt x="1009" y="7854"/>
                  </a:cubicBezTo>
                  <a:cubicBezTo>
                    <a:pt x="996" y="7858"/>
                    <a:pt x="996" y="7858"/>
                    <a:pt x="996" y="7858"/>
                  </a:cubicBezTo>
                  <a:cubicBezTo>
                    <a:pt x="977" y="7863"/>
                    <a:pt x="977" y="7863"/>
                    <a:pt x="977" y="7863"/>
                  </a:cubicBezTo>
                  <a:cubicBezTo>
                    <a:pt x="954" y="7792"/>
                    <a:pt x="954" y="7792"/>
                    <a:pt x="954" y="7792"/>
                  </a:cubicBezTo>
                  <a:cubicBezTo>
                    <a:pt x="998" y="7772"/>
                    <a:pt x="998" y="7772"/>
                    <a:pt x="998" y="7772"/>
                  </a:cubicBezTo>
                  <a:cubicBezTo>
                    <a:pt x="1009" y="7767"/>
                    <a:pt x="1009" y="7767"/>
                    <a:pt x="1009" y="7767"/>
                  </a:cubicBezTo>
                  <a:lnTo>
                    <a:pt x="1005" y="7755"/>
                  </a:lnTo>
                  <a:close/>
                  <a:moveTo>
                    <a:pt x="1124" y="7661"/>
                  </a:moveTo>
                  <a:cubicBezTo>
                    <a:pt x="1198" y="7865"/>
                    <a:pt x="1198" y="7865"/>
                    <a:pt x="1198" y="7865"/>
                  </a:cubicBezTo>
                  <a:cubicBezTo>
                    <a:pt x="1263" y="7819"/>
                    <a:pt x="1263" y="7819"/>
                    <a:pt x="1263" y="7819"/>
                  </a:cubicBezTo>
                  <a:cubicBezTo>
                    <a:pt x="1326" y="7724"/>
                    <a:pt x="1326" y="7724"/>
                    <a:pt x="1326" y="7724"/>
                  </a:cubicBezTo>
                  <a:cubicBezTo>
                    <a:pt x="1313" y="7649"/>
                    <a:pt x="1313" y="7649"/>
                    <a:pt x="1313" y="7649"/>
                  </a:cubicBezTo>
                  <a:cubicBezTo>
                    <a:pt x="1345" y="7604"/>
                    <a:pt x="1345" y="7604"/>
                    <a:pt x="1345" y="7604"/>
                  </a:cubicBezTo>
                  <a:cubicBezTo>
                    <a:pt x="1419" y="7604"/>
                    <a:pt x="1419" y="7604"/>
                    <a:pt x="1419" y="7604"/>
                  </a:cubicBezTo>
                  <a:cubicBezTo>
                    <a:pt x="1506" y="7478"/>
                    <a:pt x="1506" y="7478"/>
                    <a:pt x="1506" y="7478"/>
                  </a:cubicBezTo>
                  <a:cubicBezTo>
                    <a:pt x="1363" y="7385"/>
                    <a:pt x="1363" y="7385"/>
                    <a:pt x="1363" y="7385"/>
                  </a:cubicBezTo>
                  <a:cubicBezTo>
                    <a:pt x="1245" y="7524"/>
                    <a:pt x="1245" y="7524"/>
                    <a:pt x="1245" y="7524"/>
                  </a:cubicBezTo>
                  <a:cubicBezTo>
                    <a:pt x="1042" y="7350"/>
                    <a:pt x="1042" y="7350"/>
                    <a:pt x="1042" y="7350"/>
                  </a:cubicBezTo>
                  <a:cubicBezTo>
                    <a:pt x="976" y="7531"/>
                    <a:pt x="976" y="7531"/>
                    <a:pt x="976" y="7531"/>
                  </a:cubicBezTo>
                  <a:lnTo>
                    <a:pt x="1124" y="7661"/>
                  </a:lnTo>
                  <a:close/>
                  <a:moveTo>
                    <a:pt x="1048" y="7374"/>
                  </a:moveTo>
                  <a:cubicBezTo>
                    <a:pt x="1236" y="7534"/>
                    <a:pt x="1236" y="7534"/>
                    <a:pt x="1236" y="7534"/>
                  </a:cubicBezTo>
                  <a:cubicBezTo>
                    <a:pt x="1247" y="7543"/>
                    <a:pt x="1247" y="7543"/>
                    <a:pt x="1247" y="7543"/>
                  </a:cubicBezTo>
                  <a:cubicBezTo>
                    <a:pt x="1256" y="7533"/>
                    <a:pt x="1256" y="7533"/>
                    <a:pt x="1256" y="7533"/>
                  </a:cubicBezTo>
                  <a:cubicBezTo>
                    <a:pt x="1366" y="7403"/>
                    <a:pt x="1366" y="7403"/>
                    <a:pt x="1366" y="7403"/>
                  </a:cubicBezTo>
                  <a:cubicBezTo>
                    <a:pt x="1487" y="7482"/>
                    <a:pt x="1487" y="7482"/>
                    <a:pt x="1487" y="7482"/>
                  </a:cubicBezTo>
                  <a:cubicBezTo>
                    <a:pt x="1412" y="7590"/>
                    <a:pt x="1412" y="7590"/>
                    <a:pt x="1412" y="7590"/>
                  </a:cubicBezTo>
                  <a:cubicBezTo>
                    <a:pt x="1345" y="7590"/>
                    <a:pt x="1345" y="7590"/>
                    <a:pt x="1345" y="7590"/>
                  </a:cubicBezTo>
                  <a:cubicBezTo>
                    <a:pt x="1337" y="7590"/>
                    <a:pt x="1337" y="7590"/>
                    <a:pt x="1337" y="7590"/>
                  </a:cubicBezTo>
                  <a:cubicBezTo>
                    <a:pt x="1333" y="7596"/>
                    <a:pt x="1333" y="7596"/>
                    <a:pt x="1333" y="7596"/>
                  </a:cubicBezTo>
                  <a:cubicBezTo>
                    <a:pt x="1301" y="7641"/>
                    <a:pt x="1301" y="7641"/>
                    <a:pt x="1301" y="7641"/>
                  </a:cubicBezTo>
                  <a:cubicBezTo>
                    <a:pt x="1298" y="7645"/>
                    <a:pt x="1298" y="7645"/>
                    <a:pt x="1298" y="7645"/>
                  </a:cubicBezTo>
                  <a:cubicBezTo>
                    <a:pt x="1299" y="7651"/>
                    <a:pt x="1299" y="7651"/>
                    <a:pt x="1299" y="7651"/>
                  </a:cubicBezTo>
                  <a:cubicBezTo>
                    <a:pt x="1311" y="7721"/>
                    <a:pt x="1311" y="7721"/>
                    <a:pt x="1311" y="7721"/>
                  </a:cubicBezTo>
                  <a:cubicBezTo>
                    <a:pt x="1253" y="7809"/>
                    <a:pt x="1253" y="7809"/>
                    <a:pt x="1253" y="7809"/>
                  </a:cubicBezTo>
                  <a:cubicBezTo>
                    <a:pt x="1205" y="7843"/>
                    <a:pt x="1205" y="7843"/>
                    <a:pt x="1205" y="7843"/>
                  </a:cubicBezTo>
                  <a:cubicBezTo>
                    <a:pt x="1137" y="7657"/>
                    <a:pt x="1137" y="7657"/>
                    <a:pt x="1137" y="7657"/>
                  </a:cubicBezTo>
                  <a:cubicBezTo>
                    <a:pt x="1136" y="7653"/>
                    <a:pt x="1136" y="7653"/>
                    <a:pt x="1136" y="7653"/>
                  </a:cubicBezTo>
                  <a:cubicBezTo>
                    <a:pt x="1133" y="7651"/>
                    <a:pt x="1133" y="7651"/>
                    <a:pt x="1133" y="7651"/>
                  </a:cubicBezTo>
                  <a:cubicBezTo>
                    <a:pt x="992" y="7527"/>
                    <a:pt x="992" y="7527"/>
                    <a:pt x="992" y="7527"/>
                  </a:cubicBezTo>
                  <a:lnTo>
                    <a:pt x="1048" y="7374"/>
                  </a:lnTo>
                  <a:close/>
                  <a:moveTo>
                    <a:pt x="1298" y="7387"/>
                  </a:moveTo>
                  <a:cubicBezTo>
                    <a:pt x="1165" y="7268"/>
                    <a:pt x="1165" y="7268"/>
                    <a:pt x="1165" y="7268"/>
                  </a:cubicBezTo>
                  <a:cubicBezTo>
                    <a:pt x="1110" y="7335"/>
                    <a:pt x="1110" y="7335"/>
                    <a:pt x="1110" y="7335"/>
                  </a:cubicBezTo>
                  <a:cubicBezTo>
                    <a:pt x="1110" y="7335"/>
                    <a:pt x="1239" y="7451"/>
                    <a:pt x="1241" y="7451"/>
                  </a:cubicBezTo>
                  <a:lnTo>
                    <a:pt x="1298" y="7387"/>
                  </a:lnTo>
                  <a:close/>
                  <a:moveTo>
                    <a:pt x="1129" y="7334"/>
                  </a:moveTo>
                  <a:cubicBezTo>
                    <a:pt x="1167" y="7288"/>
                    <a:pt x="1167" y="7288"/>
                    <a:pt x="1167" y="7288"/>
                  </a:cubicBezTo>
                  <a:cubicBezTo>
                    <a:pt x="1279" y="7388"/>
                    <a:pt x="1279" y="7388"/>
                    <a:pt x="1279" y="7388"/>
                  </a:cubicBezTo>
                  <a:cubicBezTo>
                    <a:pt x="1240" y="7432"/>
                    <a:pt x="1240" y="7432"/>
                    <a:pt x="1240" y="7432"/>
                  </a:cubicBezTo>
                  <a:cubicBezTo>
                    <a:pt x="1219" y="7413"/>
                    <a:pt x="1167" y="7368"/>
                    <a:pt x="1129" y="7334"/>
                  </a:cubicBezTo>
                  <a:close/>
                  <a:moveTo>
                    <a:pt x="1762" y="7627"/>
                  </a:moveTo>
                  <a:cubicBezTo>
                    <a:pt x="1765" y="7627"/>
                    <a:pt x="1741" y="7667"/>
                    <a:pt x="1741" y="7667"/>
                  </a:cubicBezTo>
                  <a:cubicBezTo>
                    <a:pt x="1733" y="7730"/>
                    <a:pt x="1733" y="7730"/>
                    <a:pt x="1733" y="7730"/>
                  </a:cubicBezTo>
                  <a:cubicBezTo>
                    <a:pt x="1813" y="7736"/>
                    <a:pt x="1813" y="7736"/>
                    <a:pt x="1813" y="7736"/>
                  </a:cubicBezTo>
                  <a:cubicBezTo>
                    <a:pt x="1825" y="7570"/>
                    <a:pt x="1825" y="7570"/>
                    <a:pt x="1825" y="7570"/>
                  </a:cubicBezTo>
                  <a:cubicBezTo>
                    <a:pt x="1764" y="7498"/>
                    <a:pt x="1764" y="7498"/>
                    <a:pt x="1764" y="7498"/>
                  </a:cubicBezTo>
                  <a:cubicBezTo>
                    <a:pt x="1764" y="7498"/>
                    <a:pt x="1730" y="7596"/>
                    <a:pt x="1733" y="7596"/>
                  </a:cubicBezTo>
                  <a:cubicBezTo>
                    <a:pt x="1736" y="7596"/>
                    <a:pt x="1759" y="7627"/>
                    <a:pt x="1762" y="7627"/>
                  </a:cubicBezTo>
                  <a:close/>
                  <a:moveTo>
                    <a:pt x="1769" y="7526"/>
                  </a:moveTo>
                  <a:cubicBezTo>
                    <a:pt x="1811" y="7574"/>
                    <a:pt x="1811" y="7574"/>
                    <a:pt x="1811" y="7574"/>
                  </a:cubicBezTo>
                  <a:cubicBezTo>
                    <a:pt x="1800" y="7721"/>
                    <a:pt x="1800" y="7721"/>
                    <a:pt x="1800" y="7721"/>
                  </a:cubicBezTo>
                  <a:cubicBezTo>
                    <a:pt x="1749" y="7717"/>
                    <a:pt x="1749" y="7717"/>
                    <a:pt x="1749" y="7717"/>
                  </a:cubicBezTo>
                  <a:cubicBezTo>
                    <a:pt x="1755" y="7672"/>
                    <a:pt x="1755" y="7672"/>
                    <a:pt x="1755" y="7672"/>
                  </a:cubicBezTo>
                  <a:cubicBezTo>
                    <a:pt x="1779" y="7630"/>
                    <a:pt x="1778" y="7627"/>
                    <a:pt x="1774" y="7620"/>
                  </a:cubicBezTo>
                  <a:cubicBezTo>
                    <a:pt x="1770" y="7613"/>
                    <a:pt x="1770" y="7613"/>
                    <a:pt x="1770" y="7613"/>
                  </a:cubicBezTo>
                  <a:cubicBezTo>
                    <a:pt x="1767" y="7613"/>
                    <a:pt x="1767" y="7613"/>
                    <a:pt x="1767" y="7613"/>
                  </a:cubicBezTo>
                  <a:cubicBezTo>
                    <a:pt x="1764" y="7610"/>
                    <a:pt x="1761" y="7606"/>
                    <a:pt x="1758" y="7603"/>
                  </a:cubicBezTo>
                  <a:cubicBezTo>
                    <a:pt x="1754" y="7598"/>
                    <a:pt x="1751" y="7594"/>
                    <a:pt x="1748" y="7591"/>
                  </a:cubicBezTo>
                  <a:cubicBezTo>
                    <a:pt x="1751" y="7579"/>
                    <a:pt x="1760" y="7553"/>
                    <a:pt x="1769" y="7526"/>
                  </a:cubicBezTo>
                  <a:close/>
                  <a:moveTo>
                    <a:pt x="2964" y="7817"/>
                  </a:moveTo>
                  <a:cubicBezTo>
                    <a:pt x="2705" y="8001"/>
                    <a:pt x="2705" y="8001"/>
                    <a:pt x="2705" y="8001"/>
                  </a:cubicBezTo>
                  <a:cubicBezTo>
                    <a:pt x="2705" y="8001"/>
                    <a:pt x="3038" y="8436"/>
                    <a:pt x="3037" y="8436"/>
                  </a:cubicBezTo>
                  <a:cubicBezTo>
                    <a:pt x="3036" y="8436"/>
                    <a:pt x="3160" y="8352"/>
                    <a:pt x="3160" y="8352"/>
                  </a:cubicBezTo>
                  <a:cubicBezTo>
                    <a:pt x="3089" y="8219"/>
                    <a:pt x="3089" y="8219"/>
                    <a:pt x="3089" y="8219"/>
                  </a:cubicBezTo>
                  <a:cubicBezTo>
                    <a:pt x="3050" y="8286"/>
                    <a:pt x="3050" y="8286"/>
                    <a:pt x="3050" y="8286"/>
                  </a:cubicBezTo>
                  <a:cubicBezTo>
                    <a:pt x="2842" y="8028"/>
                    <a:pt x="2842" y="8028"/>
                    <a:pt x="2842" y="8028"/>
                  </a:cubicBezTo>
                  <a:cubicBezTo>
                    <a:pt x="2972" y="7931"/>
                    <a:pt x="2972" y="7931"/>
                    <a:pt x="2972" y="7931"/>
                  </a:cubicBezTo>
                  <a:cubicBezTo>
                    <a:pt x="3203" y="8161"/>
                    <a:pt x="3203" y="8161"/>
                    <a:pt x="3203" y="8161"/>
                  </a:cubicBezTo>
                  <a:cubicBezTo>
                    <a:pt x="3149" y="8187"/>
                    <a:pt x="3149" y="8187"/>
                    <a:pt x="3149" y="8187"/>
                  </a:cubicBezTo>
                  <a:cubicBezTo>
                    <a:pt x="3214" y="8306"/>
                    <a:pt x="3214" y="8306"/>
                    <a:pt x="3214" y="8306"/>
                  </a:cubicBezTo>
                  <a:cubicBezTo>
                    <a:pt x="3319" y="8152"/>
                    <a:pt x="3319" y="8152"/>
                    <a:pt x="3319" y="8152"/>
                  </a:cubicBezTo>
                  <a:cubicBezTo>
                    <a:pt x="3317" y="8151"/>
                    <a:pt x="2964" y="7817"/>
                    <a:pt x="2964" y="7817"/>
                  </a:cubicBezTo>
                  <a:close/>
                  <a:moveTo>
                    <a:pt x="3169" y="8193"/>
                  </a:moveTo>
                  <a:cubicBezTo>
                    <a:pt x="3209" y="8174"/>
                    <a:pt x="3209" y="8174"/>
                    <a:pt x="3209" y="8174"/>
                  </a:cubicBezTo>
                  <a:cubicBezTo>
                    <a:pt x="3226" y="8165"/>
                    <a:pt x="3226" y="8165"/>
                    <a:pt x="3226" y="8165"/>
                  </a:cubicBezTo>
                  <a:cubicBezTo>
                    <a:pt x="3212" y="8151"/>
                    <a:pt x="3212" y="8151"/>
                    <a:pt x="3212" y="8151"/>
                  </a:cubicBezTo>
                  <a:cubicBezTo>
                    <a:pt x="2982" y="7922"/>
                    <a:pt x="2982" y="7922"/>
                    <a:pt x="2982" y="7922"/>
                  </a:cubicBezTo>
                  <a:cubicBezTo>
                    <a:pt x="2973" y="7913"/>
                    <a:pt x="2973" y="7913"/>
                    <a:pt x="2973" y="7913"/>
                  </a:cubicBezTo>
                  <a:cubicBezTo>
                    <a:pt x="2964" y="7920"/>
                    <a:pt x="2964" y="7920"/>
                    <a:pt x="2964" y="7920"/>
                  </a:cubicBezTo>
                  <a:cubicBezTo>
                    <a:pt x="2834" y="8017"/>
                    <a:pt x="2834" y="8017"/>
                    <a:pt x="2834" y="8017"/>
                  </a:cubicBezTo>
                  <a:cubicBezTo>
                    <a:pt x="2822" y="8025"/>
                    <a:pt x="2822" y="8025"/>
                    <a:pt x="2822" y="8025"/>
                  </a:cubicBezTo>
                  <a:cubicBezTo>
                    <a:pt x="2831" y="8036"/>
                    <a:pt x="2831" y="8036"/>
                    <a:pt x="2831" y="8036"/>
                  </a:cubicBezTo>
                  <a:cubicBezTo>
                    <a:pt x="3039" y="8295"/>
                    <a:pt x="3039" y="8295"/>
                    <a:pt x="3039" y="8295"/>
                  </a:cubicBezTo>
                  <a:cubicBezTo>
                    <a:pt x="3052" y="8311"/>
                    <a:pt x="3052" y="8311"/>
                    <a:pt x="3052" y="8311"/>
                  </a:cubicBezTo>
                  <a:cubicBezTo>
                    <a:pt x="3062" y="8293"/>
                    <a:pt x="3062" y="8293"/>
                    <a:pt x="3062" y="8293"/>
                  </a:cubicBezTo>
                  <a:cubicBezTo>
                    <a:pt x="3088" y="8248"/>
                    <a:pt x="3088" y="8248"/>
                    <a:pt x="3088" y="8248"/>
                  </a:cubicBezTo>
                  <a:cubicBezTo>
                    <a:pt x="3141" y="8347"/>
                    <a:pt x="3141" y="8347"/>
                    <a:pt x="3141" y="8347"/>
                  </a:cubicBezTo>
                  <a:cubicBezTo>
                    <a:pt x="3082" y="8387"/>
                    <a:pt x="3054" y="8407"/>
                    <a:pt x="3040" y="8416"/>
                  </a:cubicBezTo>
                  <a:cubicBezTo>
                    <a:pt x="3018" y="8388"/>
                    <a:pt x="2949" y="8297"/>
                    <a:pt x="2724" y="8004"/>
                  </a:cubicBezTo>
                  <a:cubicBezTo>
                    <a:pt x="2963" y="7835"/>
                    <a:pt x="2963" y="7835"/>
                    <a:pt x="2963" y="7835"/>
                  </a:cubicBezTo>
                  <a:cubicBezTo>
                    <a:pt x="3203" y="8062"/>
                    <a:pt x="3277" y="8132"/>
                    <a:pt x="3301" y="8154"/>
                  </a:cubicBezTo>
                  <a:cubicBezTo>
                    <a:pt x="3215" y="8279"/>
                    <a:pt x="3215" y="8279"/>
                    <a:pt x="3215" y="8279"/>
                  </a:cubicBezTo>
                  <a:lnTo>
                    <a:pt x="3169" y="8193"/>
                  </a:lnTo>
                  <a:close/>
                  <a:moveTo>
                    <a:pt x="2511" y="8239"/>
                  </a:moveTo>
                  <a:cubicBezTo>
                    <a:pt x="2369" y="8061"/>
                    <a:pt x="2369" y="8061"/>
                    <a:pt x="2369" y="8061"/>
                  </a:cubicBezTo>
                  <a:cubicBezTo>
                    <a:pt x="2310" y="8104"/>
                    <a:pt x="2310" y="8104"/>
                    <a:pt x="2310" y="8104"/>
                  </a:cubicBezTo>
                  <a:cubicBezTo>
                    <a:pt x="2443" y="8365"/>
                    <a:pt x="2443" y="8365"/>
                    <a:pt x="2443" y="8365"/>
                  </a:cubicBezTo>
                  <a:cubicBezTo>
                    <a:pt x="2621" y="8295"/>
                    <a:pt x="2621" y="8295"/>
                    <a:pt x="2621" y="8295"/>
                  </a:cubicBezTo>
                  <a:cubicBezTo>
                    <a:pt x="2595" y="8214"/>
                    <a:pt x="2595" y="8214"/>
                    <a:pt x="2595" y="8214"/>
                  </a:cubicBezTo>
                  <a:lnTo>
                    <a:pt x="2511" y="8239"/>
                  </a:lnTo>
                  <a:close/>
                  <a:moveTo>
                    <a:pt x="2450" y="8347"/>
                  </a:moveTo>
                  <a:cubicBezTo>
                    <a:pt x="2328" y="8108"/>
                    <a:pt x="2328" y="8108"/>
                    <a:pt x="2328" y="8108"/>
                  </a:cubicBezTo>
                  <a:cubicBezTo>
                    <a:pt x="2367" y="8080"/>
                    <a:pt x="2367" y="8080"/>
                    <a:pt x="2367" y="8080"/>
                  </a:cubicBezTo>
                  <a:cubicBezTo>
                    <a:pt x="2500" y="8248"/>
                    <a:pt x="2500" y="8248"/>
                    <a:pt x="2500" y="8248"/>
                  </a:cubicBezTo>
                  <a:cubicBezTo>
                    <a:pt x="2506" y="8255"/>
                    <a:pt x="2506" y="8255"/>
                    <a:pt x="2506" y="8255"/>
                  </a:cubicBezTo>
                  <a:cubicBezTo>
                    <a:pt x="2515" y="8252"/>
                    <a:pt x="2515" y="8252"/>
                    <a:pt x="2515" y="8252"/>
                  </a:cubicBezTo>
                  <a:cubicBezTo>
                    <a:pt x="2586" y="8232"/>
                    <a:pt x="2586" y="8232"/>
                    <a:pt x="2586" y="8232"/>
                  </a:cubicBezTo>
                  <a:cubicBezTo>
                    <a:pt x="2603" y="8287"/>
                    <a:pt x="2603" y="8287"/>
                    <a:pt x="2603" y="8287"/>
                  </a:cubicBezTo>
                  <a:lnTo>
                    <a:pt x="2450" y="8347"/>
                  </a:lnTo>
                  <a:close/>
                  <a:moveTo>
                    <a:pt x="1046" y="7515"/>
                  </a:moveTo>
                  <a:cubicBezTo>
                    <a:pt x="1167" y="7623"/>
                    <a:pt x="1167" y="7623"/>
                    <a:pt x="1167" y="7623"/>
                  </a:cubicBezTo>
                  <a:cubicBezTo>
                    <a:pt x="1182" y="7636"/>
                    <a:pt x="1182" y="7636"/>
                    <a:pt x="1182" y="7636"/>
                  </a:cubicBezTo>
                  <a:cubicBezTo>
                    <a:pt x="1189" y="7618"/>
                    <a:pt x="1189" y="7618"/>
                    <a:pt x="1189" y="7618"/>
                  </a:cubicBezTo>
                  <a:cubicBezTo>
                    <a:pt x="1208" y="7569"/>
                    <a:pt x="1208" y="7569"/>
                    <a:pt x="1208" y="7569"/>
                  </a:cubicBezTo>
                  <a:cubicBezTo>
                    <a:pt x="1212" y="7559"/>
                    <a:pt x="1212" y="7559"/>
                    <a:pt x="1212" y="7559"/>
                  </a:cubicBezTo>
                  <a:cubicBezTo>
                    <a:pt x="1204" y="7553"/>
                    <a:pt x="1204" y="7553"/>
                    <a:pt x="1204" y="7553"/>
                  </a:cubicBezTo>
                  <a:cubicBezTo>
                    <a:pt x="1080" y="7444"/>
                    <a:pt x="1080" y="7444"/>
                    <a:pt x="1080" y="7444"/>
                  </a:cubicBezTo>
                  <a:cubicBezTo>
                    <a:pt x="1064" y="7430"/>
                    <a:pt x="1064" y="7430"/>
                    <a:pt x="1064" y="7430"/>
                  </a:cubicBezTo>
                  <a:cubicBezTo>
                    <a:pt x="1058" y="7451"/>
                    <a:pt x="1058" y="7451"/>
                    <a:pt x="1058" y="7451"/>
                  </a:cubicBezTo>
                  <a:cubicBezTo>
                    <a:pt x="1042" y="7500"/>
                    <a:pt x="1042" y="7500"/>
                    <a:pt x="1042" y="7500"/>
                  </a:cubicBezTo>
                  <a:cubicBezTo>
                    <a:pt x="1039" y="7509"/>
                    <a:pt x="1039" y="7509"/>
                    <a:pt x="1039" y="7509"/>
                  </a:cubicBezTo>
                  <a:lnTo>
                    <a:pt x="1046" y="7515"/>
                  </a:lnTo>
                  <a:close/>
                  <a:moveTo>
                    <a:pt x="1071" y="7455"/>
                  </a:moveTo>
                  <a:cubicBezTo>
                    <a:pt x="1195" y="7563"/>
                    <a:pt x="1195" y="7563"/>
                    <a:pt x="1195" y="7563"/>
                  </a:cubicBezTo>
                  <a:cubicBezTo>
                    <a:pt x="1176" y="7613"/>
                    <a:pt x="1176" y="7613"/>
                    <a:pt x="1176" y="7613"/>
                  </a:cubicBezTo>
                  <a:cubicBezTo>
                    <a:pt x="1055" y="7505"/>
                    <a:pt x="1055" y="7505"/>
                    <a:pt x="1055" y="7505"/>
                  </a:cubicBezTo>
                  <a:lnTo>
                    <a:pt x="1071" y="7455"/>
                  </a:lnTo>
                  <a:close/>
                  <a:moveTo>
                    <a:pt x="2662" y="8055"/>
                  </a:moveTo>
                  <a:cubicBezTo>
                    <a:pt x="2476" y="8107"/>
                    <a:pt x="2476" y="8107"/>
                    <a:pt x="2476" y="8107"/>
                  </a:cubicBezTo>
                  <a:cubicBezTo>
                    <a:pt x="2542" y="8188"/>
                    <a:pt x="2542" y="8188"/>
                    <a:pt x="2542" y="8188"/>
                  </a:cubicBezTo>
                  <a:cubicBezTo>
                    <a:pt x="2630" y="8166"/>
                    <a:pt x="2630" y="8166"/>
                    <a:pt x="2630" y="8166"/>
                  </a:cubicBezTo>
                  <a:cubicBezTo>
                    <a:pt x="2711" y="8389"/>
                    <a:pt x="2711" y="8389"/>
                    <a:pt x="2711" y="8389"/>
                  </a:cubicBezTo>
                  <a:cubicBezTo>
                    <a:pt x="2711" y="8389"/>
                    <a:pt x="2928" y="8431"/>
                    <a:pt x="2927" y="8431"/>
                  </a:cubicBezTo>
                  <a:lnTo>
                    <a:pt x="2662" y="8055"/>
                  </a:lnTo>
                  <a:close/>
                  <a:moveTo>
                    <a:pt x="2643" y="8161"/>
                  </a:moveTo>
                  <a:cubicBezTo>
                    <a:pt x="2639" y="8150"/>
                    <a:pt x="2639" y="8150"/>
                    <a:pt x="2639" y="8150"/>
                  </a:cubicBezTo>
                  <a:cubicBezTo>
                    <a:pt x="2626" y="8153"/>
                    <a:pt x="2626" y="8153"/>
                    <a:pt x="2626" y="8153"/>
                  </a:cubicBezTo>
                  <a:cubicBezTo>
                    <a:pt x="2547" y="8172"/>
                    <a:pt x="2547" y="8172"/>
                    <a:pt x="2547" y="8172"/>
                  </a:cubicBezTo>
                  <a:cubicBezTo>
                    <a:pt x="2500" y="8114"/>
                    <a:pt x="2500" y="8114"/>
                    <a:pt x="2500" y="8114"/>
                  </a:cubicBezTo>
                  <a:cubicBezTo>
                    <a:pt x="2656" y="8072"/>
                    <a:pt x="2656" y="8072"/>
                    <a:pt x="2656" y="8072"/>
                  </a:cubicBezTo>
                  <a:cubicBezTo>
                    <a:pt x="2895" y="8410"/>
                    <a:pt x="2895" y="8410"/>
                    <a:pt x="2895" y="8410"/>
                  </a:cubicBezTo>
                  <a:cubicBezTo>
                    <a:pt x="2867" y="8405"/>
                    <a:pt x="2815" y="8394"/>
                    <a:pt x="2721" y="8376"/>
                  </a:cubicBezTo>
                  <a:lnTo>
                    <a:pt x="2643" y="8161"/>
                  </a:lnTo>
                  <a:close/>
                  <a:moveTo>
                    <a:pt x="2163" y="8301"/>
                  </a:moveTo>
                  <a:cubicBezTo>
                    <a:pt x="2147" y="8267"/>
                    <a:pt x="2147" y="8267"/>
                    <a:pt x="2147" y="8267"/>
                  </a:cubicBezTo>
                  <a:cubicBezTo>
                    <a:pt x="2117" y="8285"/>
                    <a:pt x="2117" y="8285"/>
                    <a:pt x="2117" y="8285"/>
                  </a:cubicBezTo>
                  <a:cubicBezTo>
                    <a:pt x="2143" y="8333"/>
                    <a:pt x="2143" y="8333"/>
                    <a:pt x="2143" y="8333"/>
                  </a:cubicBezTo>
                  <a:cubicBezTo>
                    <a:pt x="2129" y="8343"/>
                    <a:pt x="2129" y="8343"/>
                    <a:pt x="2129" y="8343"/>
                  </a:cubicBezTo>
                  <a:cubicBezTo>
                    <a:pt x="2136" y="8372"/>
                    <a:pt x="2136" y="8372"/>
                    <a:pt x="2136" y="8372"/>
                  </a:cubicBezTo>
                  <a:cubicBezTo>
                    <a:pt x="2019" y="8426"/>
                    <a:pt x="2019" y="8426"/>
                    <a:pt x="2019" y="8426"/>
                  </a:cubicBezTo>
                  <a:cubicBezTo>
                    <a:pt x="2072" y="8538"/>
                    <a:pt x="2072" y="8538"/>
                    <a:pt x="2072" y="8538"/>
                  </a:cubicBezTo>
                  <a:cubicBezTo>
                    <a:pt x="2347" y="8404"/>
                    <a:pt x="2347" y="8404"/>
                    <a:pt x="2347" y="8404"/>
                  </a:cubicBezTo>
                  <a:cubicBezTo>
                    <a:pt x="2294" y="8297"/>
                    <a:pt x="2294" y="8297"/>
                    <a:pt x="2294" y="8297"/>
                  </a:cubicBezTo>
                  <a:cubicBezTo>
                    <a:pt x="2270" y="8307"/>
                    <a:pt x="2270" y="8307"/>
                    <a:pt x="2270" y="8307"/>
                  </a:cubicBezTo>
                  <a:cubicBezTo>
                    <a:pt x="2247" y="8262"/>
                    <a:pt x="2247" y="8262"/>
                    <a:pt x="2247" y="8262"/>
                  </a:cubicBezTo>
                  <a:lnTo>
                    <a:pt x="2163" y="8301"/>
                  </a:lnTo>
                  <a:close/>
                  <a:moveTo>
                    <a:pt x="2263" y="8324"/>
                  </a:moveTo>
                  <a:cubicBezTo>
                    <a:pt x="2275" y="8320"/>
                    <a:pt x="2275" y="8320"/>
                    <a:pt x="2275" y="8320"/>
                  </a:cubicBezTo>
                  <a:cubicBezTo>
                    <a:pt x="2287" y="8315"/>
                    <a:pt x="2287" y="8315"/>
                    <a:pt x="2287" y="8315"/>
                  </a:cubicBezTo>
                  <a:cubicBezTo>
                    <a:pt x="2328" y="8397"/>
                    <a:pt x="2328" y="8397"/>
                    <a:pt x="2328" y="8397"/>
                  </a:cubicBezTo>
                  <a:cubicBezTo>
                    <a:pt x="2079" y="8519"/>
                    <a:pt x="2079" y="8519"/>
                    <a:pt x="2079" y="8519"/>
                  </a:cubicBezTo>
                  <a:cubicBezTo>
                    <a:pt x="2038" y="8433"/>
                    <a:pt x="2038" y="8433"/>
                    <a:pt x="2038" y="8433"/>
                  </a:cubicBezTo>
                  <a:cubicBezTo>
                    <a:pt x="2142" y="8385"/>
                    <a:pt x="2142" y="8385"/>
                    <a:pt x="2142" y="8385"/>
                  </a:cubicBezTo>
                  <a:cubicBezTo>
                    <a:pt x="2152" y="8380"/>
                    <a:pt x="2152" y="8380"/>
                    <a:pt x="2152" y="8380"/>
                  </a:cubicBezTo>
                  <a:cubicBezTo>
                    <a:pt x="2149" y="8369"/>
                    <a:pt x="2149" y="8369"/>
                    <a:pt x="2149" y="8369"/>
                  </a:cubicBezTo>
                  <a:cubicBezTo>
                    <a:pt x="2144" y="8349"/>
                    <a:pt x="2144" y="8349"/>
                    <a:pt x="2144" y="8349"/>
                  </a:cubicBezTo>
                  <a:cubicBezTo>
                    <a:pt x="2151" y="8345"/>
                    <a:pt x="2151" y="8345"/>
                    <a:pt x="2151" y="8345"/>
                  </a:cubicBezTo>
                  <a:cubicBezTo>
                    <a:pt x="2161" y="8337"/>
                    <a:pt x="2161" y="8337"/>
                    <a:pt x="2161" y="8337"/>
                  </a:cubicBezTo>
                  <a:cubicBezTo>
                    <a:pt x="2155" y="8327"/>
                    <a:pt x="2155" y="8327"/>
                    <a:pt x="2155" y="8327"/>
                  </a:cubicBezTo>
                  <a:cubicBezTo>
                    <a:pt x="2136" y="8290"/>
                    <a:pt x="2136" y="8290"/>
                    <a:pt x="2136" y="8290"/>
                  </a:cubicBezTo>
                  <a:cubicBezTo>
                    <a:pt x="2141" y="8287"/>
                    <a:pt x="2141" y="8287"/>
                    <a:pt x="2141" y="8287"/>
                  </a:cubicBezTo>
                  <a:cubicBezTo>
                    <a:pt x="2151" y="8307"/>
                    <a:pt x="2151" y="8307"/>
                    <a:pt x="2151" y="8307"/>
                  </a:cubicBezTo>
                  <a:cubicBezTo>
                    <a:pt x="2157" y="8320"/>
                    <a:pt x="2157" y="8320"/>
                    <a:pt x="2157" y="8320"/>
                  </a:cubicBezTo>
                  <a:cubicBezTo>
                    <a:pt x="2169" y="8314"/>
                    <a:pt x="2169" y="8314"/>
                    <a:pt x="2169" y="8314"/>
                  </a:cubicBezTo>
                  <a:cubicBezTo>
                    <a:pt x="2241" y="8281"/>
                    <a:pt x="2241" y="8281"/>
                    <a:pt x="2241" y="8281"/>
                  </a:cubicBezTo>
                  <a:cubicBezTo>
                    <a:pt x="2258" y="8313"/>
                    <a:pt x="2258" y="8313"/>
                    <a:pt x="2258" y="8313"/>
                  </a:cubicBezTo>
                  <a:lnTo>
                    <a:pt x="2263" y="8324"/>
                  </a:lnTo>
                  <a:close/>
                  <a:moveTo>
                    <a:pt x="1241" y="8861"/>
                  </a:moveTo>
                  <a:cubicBezTo>
                    <a:pt x="1295" y="8793"/>
                    <a:pt x="1295" y="8793"/>
                    <a:pt x="1295" y="8793"/>
                  </a:cubicBezTo>
                  <a:cubicBezTo>
                    <a:pt x="1155" y="8683"/>
                    <a:pt x="1155" y="8683"/>
                    <a:pt x="1155" y="8683"/>
                  </a:cubicBezTo>
                  <a:cubicBezTo>
                    <a:pt x="1103" y="8750"/>
                    <a:pt x="1103" y="8750"/>
                    <a:pt x="1103" y="8750"/>
                  </a:cubicBezTo>
                  <a:lnTo>
                    <a:pt x="1241" y="8861"/>
                  </a:lnTo>
                  <a:close/>
                  <a:moveTo>
                    <a:pt x="1157" y="8702"/>
                  </a:moveTo>
                  <a:cubicBezTo>
                    <a:pt x="1275" y="8795"/>
                    <a:pt x="1275" y="8795"/>
                    <a:pt x="1275" y="8795"/>
                  </a:cubicBezTo>
                  <a:cubicBezTo>
                    <a:pt x="1238" y="8841"/>
                    <a:pt x="1238" y="8841"/>
                    <a:pt x="1238" y="8841"/>
                  </a:cubicBezTo>
                  <a:cubicBezTo>
                    <a:pt x="1123" y="8748"/>
                    <a:pt x="1123" y="8748"/>
                    <a:pt x="1123" y="8748"/>
                  </a:cubicBezTo>
                  <a:lnTo>
                    <a:pt x="1157" y="8702"/>
                  </a:lnTo>
                  <a:close/>
                  <a:moveTo>
                    <a:pt x="1092" y="8693"/>
                  </a:moveTo>
                  <a:cubicBezTo>
                    <a:pt x="1147" y="8625"/>
                    <a:pt x="1147" y="8625"/>
                    <a:pt x="1147" y="8625"/>
                  </a:cubicBezTo>
                  <a:cubicBezTo>
                    <a:pt x="1007" y="8515"/>
                    <a:pt x="1007" y="8515"/>
                    <a:pt x="1007" y="8515"/>
                  </a:cubicBezTo>
                  <a:cubicBezTo>
                    <a:pt x="955" y="8582"/>
                    <a:pt x="955" y="8582"/>
                    <a:pt x="955" y="8582"/>
                  </a:cubicBezTo>
                  <a:lnTo>
                    <a:pt x="1092" y="8693"/>
                  </a:lnTo>
                  <a:close/>
                  <a:moveTo>
                    <a:pt x="1009" y="8534"/>
                  </a:moveTo>
                  <a:cubicBezTo>
                    <a:pt x="1127" y="8627"/>
                    <a:pt x="1127" y="8627"/>
                    <a:pt x="1127" y="8627"/>
                  </a:cubicBezTo>
                  <a:cubicBezTo>
                    <a:pt x="1090" y="8674"/>
                    <a:pt x="1090" y="8674"/>
                    <a:pt x="1090" y="8674"/>
                  </a:cubicBezTo>
                  <a:cubicBezTo>
                    <a:pt x="975" y="8580"/>
                    <a:pt x="975" y="8580"/>
                    <a:pt x="975" y="8580"/>
                  </a:cubicBezTo>
                  <a:lnTo>
                    <a:pt x="1009" y="8534"/>
                  </a:lnTo>
                  <a:close/>
                  <a:moveTo>
                    <a:pt x="1534" y="8065"/>
                  </a:moveTo>
                  <a:cubicBezTo>
                    <a:pt x="1632" y="7980"/>
                    <a:pt x="1632" y="7980"/>
                    <a:pt x="1632" y="7980"/>
                  </a:cubicBezTo>
                  <a:cubicBezTo>
                    <a:pt x="1584" y="7923"/>
                    <a:pt x="1584" y="7923"/>
                    <a:pt x="1584" y="7923"/>
                  </a:cubicBezTo>
                  <a:cubicBezTo>
                    <a:pt x="1616" y="7901"/>
                    <a:pt x="1616" y="7901"/>
                    <a:pt x="1616" y="7901"/>
                  </a:cubicBezTo>
                  <a:cubicBezTo>
                    <a:pt x="1616" y="7901"/>
                    <a:pt x="1726" y="7904"/>
                    <a:pt x="1723" y="7904"/>
                  </a:cubicBezTo>
                  <a:cubicBezTo>
                    <a:pt x="1720" y="7904"/>
                    <a:pt x="1767" y="7865"/>
                    <a:pt x="1767" y="7865"/>
                  </a:cubicBezTo>
                  <a:cubicBezTo>
                    <a:pt x="1773" y="7813"/>
                    <a:pt x="1773" y="7813"/>
                    <a:pt x="1773" y="7813"/>
                  </a:cubicBezTo>
                  <a:cubicBezTo>
                    <a:pt x="1769" y="7813"/>
                    <a:pt x="1567" y="7799"/>
                    <a:pt x="1567" y="7799"/>
                  </a:cubicBezTo>
                  <a:cubicBezTo>
                    <a:pt x="1491" y="7711"/>
                    <a:pt x="1491" y="7711"/>
                    <a:pt x="1491" y="7711"/>
                  </a:cubicBezTo>
                  <a:cubicBezTo>
                    <a:pt x="1376" y="7878"/>
                    <a:pt x="1376" y="7878"/>
                    <a:pt x="1376" y="7878"/>
                  </a:cubicBezTo>
                  <a:lnTo>
                    <a:pt x="1534" y="8065"/>
                  </a:lnTo>
                  <a:close/>
                  <a:moveTo>
                    <a:pt x="1492" y="7734"/>
                  </a:moveTo>
                  <a:cubicBezTo>
                    <a:pt x="1556" y="7808"/>
                    <a:pt x="1556" y="7808"/>
                    <a:pt x="1556" y="7808"/>
                  </a:cubicBezTo>
                  <a:cubicBezTo>
                    <a:pt x="1560" y="7813"/>
                    <a:pt x="1560" y="7813"/>
                    <a:pt x="1560" y="7813"/>
                  </a:cubicBezTo>
                  <a:cubicBezTo>
                    <a:pt x="1566" y="7813"/>
                    <a:pt x="1566" y="7813"/>
                    <a:pt x="1566" y="7813"/>
                  </a:cubicBezTo>
                  <a:cubicBezTo>
                    <a:pt x="1615" y="7816"/>
                    <a:pt x="1718" y="7823"/>
                    <a:pt x="1757" y="7826"/>
                  </a:cubicBezTo>
                  <a:cubicBezTo>
                    <a:pt x="1754" y="7858"/>
                    <a:pt x="1754" y="7858"/>
                    <a:pt x="1754" y="7858"/>
                  </a:cubicBezTo>
                  <a:cubicBezTo>
                    <a:pt x="1734" y="7874"/>
                    <a:pt x="1723" y="7883"/>
                    <a:pt x="1716" y="7890"/>
                  </a:cubicBezTo>
                  <a:cubicBezTo>
                    <a:pt x="1693" y="7889"/>
                    <a:pt x="1617" y="7887"/>
                    <a:pt x="1617" y="7887"/>
                  </a:cubicBezTo>
                  <a:cubicBezTo>
                    <a:pt x="1612" y="7887"/>
                    <a:pt x="1612" y="7887"/>
                    <a:pt x="1612" y="7887"/>
                  </a:cubicBezTo>
                  <a:cubicBezTo>
                    <a:pt x="1608" y="7889"/>
                    <a:pt x="1608" y="7889"/>
                    <a:pt x="1608" y="7889"/>
                  </a:cubicBezTo>
                  <a:cubicBezTo>
                    <a:pt x="1576" y="7912"/>
                    <a:pt x="1576" y="7912"/>
                    <a:pt x="1576" y="7912"/>
                  </a:cubicBezTo>
                  <a:cubicBezTo>
                    <a:pt x="1564" y="7921"/>
                    <a:pt x="1564" y="7921"/>
                    <a:pt x="1564" y="7921"/>
                  </a:cubicBezTo>
                  <a:cubicBezTo>
                    <a:pt x="1574" y="7932"/>
                    <a:pt x="1574" y="7932"/>
                    <a:pt x="1574" y="7932"/>
                  </a:cubicBezTo>
                  <a:cubicBezTo>
                    <a:pt x="1612" y="7978"/>
                    <a:pt x="1612" y="7978"/>
                    <a:pt x="1612" y="7978"/>
                  </a:cubicBezTo>
                  <a:cubicBezTo>
                    <a:pt x="1536" y="8045"/>
                    <a:pt x="1536" y="8045"/>
                    <a:pt x="1536" y="8045"/>
                  </a:cubicBezTo>
                  <a:cubicBezTo>
                    <a:pt x="1394" y="7877"/>
                    <a:pt x="1394" y="7877"/>
                    <a:pt x="1394" y="7877"/>
                  </a:cubicBezTo>
                  <a:lnTo>
                    <a:pt x="1492" y="7734"/>
                  </a:lnTo>
                  <a:close/>
                  <a:moveTo>
                    <a:pt x="1128" y="8083"/>
                  </a:moveTo>
                  <a:cubicBezTo>
                    <a:pt x="1120" y="8277"/>
                    <a:pt x="1120" y="8277"/>
                    <a:pt x="1120" y="8277"/>
                  </a:cubicBezTo>
                  <a:cubicBezTo>
                    <a:pt x="1275" y="8276"/>
                    <a:pt x="1275" y="8276"/>
                    <a:pt x="1275" y="8276"/>
                  </a:cubicBezTo>
                  <a:cubicBezTo>
                    <a:pt x="1292" y="8164"/>
                    <a:pt x="1292" y="8164"/>
                    <a:pt x="1292" y="8164"/>
                  </a:cubicBezTo>
                  <a:cubicBezTo>
                    <a:pt x="1197" y="8025"/>
                    <a:pt x="1197" y="8025"/>
                    <a:pt x="1197" y="8025"/>
                  </a:cubicBezTo>
                  <a:lnTo>
                    <a:pt x="1128" y="8083"/>
                  </a:lnTo>
                  <a:close/>
                  <a:moveTo>
                    <a:pt x="1263" y="8262"/>
                  </a:moveTo>
                  <a:cubicBezTo>
                    <a:pt x="1134" y="8263"/>
                    <a:pt x="1134" y="8263"/>
                    <a:pt x="1134" y="8263"/>
                  </a:cubicBezTo>
                  <a:cubicBezTo>
                    <a:pt x="1142" y="8090"/>
                    <a:pt x="1142" y="8090"/>
                    <a:pt x="1142" y="8090"/>
                  </a:cubicBezTo>
                  <a:cubicBezTo>
                    <a:pt x="1195" y="8046"/>
                    <a:pt x="1195" y="8046"/>
                    <a:pt x="1195" y="8046"/>
                  </a:cubicBezTo>
                  <a:cubicBezTo>
                    <a:pt x="1278" y="8167"/>
                    <a:pt x="1278" y="8167"/>
                    <a:pt x="1278" y="8167"/>
                  </a:cubicBezTo>
                  <a:lnTo>
                    <a:pt x="1263" y="8262"/>
                  </a:lnTo>
                  <a:close/>
                  <a:moveTo>
                    <a:pt x="1346" y="8478"/>
                  </a:moveTo>
                  <a:cubicBezTo>
                    <a:pt x="1448" y="8551"/>
                    <a:pt x="1448" y="8551"/>
                    <a:pt x="1448" y="8551"/>
                  </a:cubicBezTo>
                  <a:cubicBezTo>
                    <a:pt x="1488" y="8483"/>
                    <a:pt x="1488" y="8483"/>
                    <a:pt x="1488" y="8483"/>
                  </a:cubicBezTo>
                  <a:cubicBezTo>
                    <a:pt x="1336" y="8370"/>
                    <a:pt x="1336" y="8370"/>
                    <a:pt x="1336" y="8370"/>
                  </a:cubicBezTo>
                  <a:cubicBezTo>
                    <a:pt x="1206" y="8451"/>
                    <a:pt x="1206" y="8451"/>
                    <a:pt x="1206" y="8451"/>
                  </a:cubicBezTo>
                  <a:cubicBezTo>
                    <a:pt x="1292" y="8512"/>
                    <a:pt x="1292" y="8512"/>
                    <a:pt x="1292" y="8512"/>
                  </a:cubicBezTo>
                  <a:lnTo>
                    <a:pt x="1346" y="8478"/>
                  </a:lnTo>
                  <a:close/>
                  <a:moveTo>
                    <a:pt x="1335" y="8386"/>
                  </a:moveTo>
                  <a:cubicBezTo>
                    <a:pt x="1470" y="8487"/>
                    <a:pt x="1470" y="8487"/>
                    <a:pt x="1470" y="8487"/>
                  </a:cubicBezTo>
                  <a:cubicBezTo>
                    <a:pt x="1443" y="8531"/>
                    <a:pt x="1443" y="8531"/>
                    <a:pt x="1443" y="8531"/>
                  </a:cubicBezTo>
                  <a:cubicBezTo>
                    <a:pt x="1354" y="8467"/>
                    <a:pt x="1354" y="8467"/>
                    <a:pt x="1354" y="8467"/>
                  </a:cubicBezTo>
                  <a:cubicBezTo>
                    <a:pt x="1346" y="8461"/>
                    <a:pt x="1346" y="8461"/>
                    <a:pt x="1346" y="8461"/>
                  </a:cubicBezTo>
                  <a:cubicBezTo>
                    <a:pt x="1338" y="8466"/>
                    <a:pt x="1338" y="8466"/>
                    <a:pt x="1338" y="8466"/>
                  </a:cubicBezTo>
                  <a:cubicBezTo>
                    <a:pt x="1292" y="8495"/>
                    <a:pt x="1292" y="8495"/>
                    <a:pt x="1292" y="8495"/>
                  </a:cubicBezTo>
                  <a:cubicBezTo>
                    <a:pt x="1231" y="8451"/>
                    <a:pt x="1231" y="8451"/>
                    <a:pt x="1231" y="8451"/>
                  </a:cubicBezTo>
                  <a:lnTo>
                    <a:pt x="1335" y="8386"/>
                  </a:lnTo>
                  <a:close/>
                  <a:moveTo>
                    <a:pt x="1041" y="8457"/>
                  </a:moveTo>
                  <a:cubicBezTo>
                    <a:pt x="1363" y="8699"/>
                    <a:pt x="1363" y="8699"/>
                    <a:pt x="1363" y="8699"/>
                  </a:cubicBezTo>
                  <a:cubicBezTo>
                    <a:pt x="1428" y="8593"/>
                    <a:pt x="1428" y="8593"/>
                    <a:pt x="1428" y="8593"/>
                  </a:cubicBezTo>
                  <a:cubicBezTo>
                    <a:pt x="1341" y="8533"/>
                    <a:pt x="1341" y="8533"/>
                    <a:pt x="1341" y="8533"/>
                  </a:cubicBezTo>
                  <a:cubicBezTo>
                    <a:pt x="1316" y="8573"/>
                    <a:pt x="1316" y="8573"/>
                    <a:pt x="1316" y="8573"/>
                  </a:cubicBezTo>
                  <a:cubicBezTo>
                    <a:pt x="1079" y="8395"/>
                    <a:pt x="1079" y="8395"/>
                    <a:pt x="1079" y="8395"/>
                  </a:cubicBezTo>
                  <a:lnTo>
                    <a:pt x="1041" y="8457"/>
                  </a:lnTo>
                  <a:close/>
                  <a:moveTo>
                    <a:pt x="1308" y="8584"/>
                  </a:moveTo>
                  <a:cubicBezTo>
                    <a:pt x="1320" y="8593"/>
                    <a:pt x="1320" y="8593"/>
                    <a:pt x="1320" y="8593"/>
                  </a:cubicBezTo>
                  <a:cubicBezTo>
                    <a:pt x="1328" y="8580"/>
                    <a:pt x="1328" y="8580"/>
                    <a:pt x="1328" y="8580"/>
                  </a:cubicBezTo>
                  <a:cubicBezTo>
                    <a:pt x="1345" y="8553"/>
                    <a:pt x="1345" y="8553"/>
                    <a:pt x="1345" y="8553"/>
                  </a:cubicBezTo>
                  <a:cubicBezTo>
                    <a:pt x="1409" y="8597"/>
                    <a:pt x="1409" y="8597"/>
                    <a:pt x="1409" y="8597"/>
                  </a:cubicBezTo>
                  <a:cubicBezTo>
                    <a:pt x="1359" y="8678"/>
                    <a:pt x="1359" y="8678"/>
                    <a:pt x="1359" y="8678"/>
                  </a:cubicBezTo>
                  <a:cubicBezTo>
                    <a:pt x="1060" y="8454"/>
                    <a:pt x="1060" y="8454"/>
                    <a:pt x="1060" y="8454"/>
                  </a:cubicBezTo>
                  <a:cubicBezTo>
                    <a:pt x="1083" y="8416"/>
                    <a:pt x="1083" y="8416"/>
                    <a:pt x="1083" y="8416"/>
                  </a:cubicBezTo>
                  <a:lnTo>
                    <a:pt x="1308" y="8584"/>
                  </a:lnTo>
                  <a:close/>
                  <a:moveTo>
                    <a:pt x="486" y="9095"/>
                  </a:moveTo>
                  <a:cubicBezTo>
                    <a:pt x="541" y="9107"/>
                    <a:pt x="541" y="9107"/>
                    <a:pt x="541" y="9107"/>
                  </a:cubicBezTo>
                  <a:cubicBezTo>
                    <a:pt x="566" y="9019"/>
                    <a:pt x="566" y="9019"/>
                    <a:pt x="566" y="9019"/>
                  </a:cubicBezTo>
                  <a:cubicBezTo>
                    <a:pt x="522" y="8979"/>
                    <a:pt x="522" y="8979"/>
                    <a:pt x="522" y="8979"/>
                  </a:cubicBezTo>
                  <a:cubicBezTo>
                    <a:pt x="369" y="9048"/>
                    <a:pt x="369" y="9048"/>
                    <a:pt x="369" y="9048"/>
                  </a:cubicBezTo>
                  <a:cubicBezTo>
                    <a:pt x="319" y="9183"/>
                    <a:pt x="319" y="9183"/>
                    <a:pt x="319" y="9183"/>
                  </a:cubicBezTo>
                  <a:cubicBezTo>
                    <a:pt x="449" y="9213"/>
                    <a:pt x="449" y="9213"/>
                    <a:pt x="449" y="9213"/>
                  </a:cubicBezTo>
                  <a:lnTo>
                    <a:pt x="486" y="9095"/>
                  </a:lnTo>
                  <a:close/>
                  <a:moveTo>
                    <a:pt x="337" y="9173"/>
                  </a:moveTo>
                  <a:cubicBezTo>
                    <a:pt x="380" y="9059"/>
                    <a:pt x="380" y="9059"/>
                    <a:pt x="380" y="9059"/>
                  </a:cubicBezTo>
                  <a:cubicBezTo>
                    <a:pt x="520" y="8995"/>
                    <a:pt x="520" y="8995"/>
                    <a:pt x="520" y="8995"/>
                  </a:cubicBezTo>
                  <a:cubicBezTo>
                    <a:pt x="551" y="9023"/>
                    <a:pt x="551" y="9023"/>
                    <a:pt x="551" y="9023"/>
                  </a:cubicBezTo>
                  <a:cubicBezTo>
                    <a:pt x="532" y="9091"/>
                    <a:pt x="532" y="9091"/>
                    <a:pt x="532" y="9091"/>
                  </a:cubicBezTo>
                  <a:cubicBezTo>
                    <a:pt x="489" y="9081"/>
                    <a:pt x="489" y="9081"/>
                    <a:pt x="489" y="9081"/>
                  </a:cubicBezTo>
                  <a:cubicBezTo>
                    <a:pt x="476" y="9079"/>
                    <a:pt x="476" y="9079"/>
                    <a:pt x="476" y="9079"/>
                  </a:cubicBezTo>
                  <a:cubicBezTo>
                    <a:pt x="473" y="9091"/>
                    <a:pt x="473" y="9091"/>
                    <a:pt x="473" y="9091"/>
                  </a:cubicBezTo>
                  <a:cubicBezTo>
                    <a:pt x="439" y="9197"/>
                    <a:pt x="439" y="9197"/>
                    <a:pt x="439" y="9197"/>
                  </a:cubicBezTo>
                  <a:lnTo>
                    <a:pt x="337" y="9173"/>
                  </a:lnTo>
                  <a:close/>
                  <a:moveTo>
                    <a:pt x="445" y="9869"/>
                  </a:moveTo>
                  <a:cubicBezTo>
                    <a:pt x="513" y="9839"/>
                    <a:pt x="513" y="9839"/>
                    <a:pt x="513" y="9839"/>
                  </a:cubicBezTo>
                  <a:cubicBezTo>
                    <a:pt x="383" y="9566"/>
                    <a:pt x="383" y="9566"/>
                    <a:pt x="383" y="9566"/>
                  </a:cubicBezTo>
                  <a:cubicBezTo>
                    <a:pt x="396" y="9457"/>
                    <a:pt x="396" y="9457"/>
                    <a:pt x="396" y="9457"/>
                  </a:cubicBezTo>
                  <a:cubicBezTo>
                    <a:pt x="292" y="9456"/>
                    <a:pt x="292" y="9456"/>
                    <a:pt x="292" y="9456"/>
                  </a:cubicBezTo>
                  <a:cubicBezTo>
                    <a:pt x="299" y="9388"/>
                    <a:pt x="299" y="9388"/>
                    <a:pt x="299" y="9388"/>
                  </a:cubicBezTo>
                  <a:cubicBezTo>
                    <a:pt x="398" y="9387"/>
                    <a:pt x="398" y="9387"/>
                    <a:pt x="398" y="9387"/>
                  </a:cubicBezTo>
                  <a:cubicBezTo>
                    <a:pt x="358" y="9316"/>
                    <a:pt x="358" y="9316"/>
                    <a:pt x="358" y="9316"/>
                  </a:cubicBezTo>
                  <a:cubicBezTo>
                    <a:pt x="225" y="9364"/>
                    <a:pt x="225" y="9364"/>
                    <a:pt x="225" y="9364"/>
                  </a:cubicBezTo>
                  <a:cubicBezTo>
                    <a:pt x="213" y="9450"/>
                    <a:pt x="213" y="9450"/>
                    <a:pt x="213" y="9450"/>
                  </a:cubicBezTo>
                  <a:cubicBezTo>
                    <a:pt x="260" y="9537"/>
                    <a:pt x="260" y="9537"/>
                    <a:pt x="260" y="9537"/>
                  </a:cubicBezTo>
                  <a:cubicBezTo>
                    <a:pt x="302" y="9538"/>
                    <a:pt x="302" y="9538"/>
                    <a:pt x="302" y="9538"/>
                  </a:cubicBezTo>
                  <a:cubicBezTo>
                    <a:pt x="299" y="9592"/>
                    <a:pt x="299" y="9592"/>
                    <a:pt x="299" y="9592"/>
                  </a:cubicBezTo>
                  <a:lnTo>
                    <a:pt x="445" y="9869"/>
                  </a:lnTo>
                  <a:close/>
                  <a:moveTo>
                    <a:pt x="269" y="9523"/>
                  </a:moveTo>
                  <a:cubicBezTo>
                    <a:pt x="227" y="9448"/>
                    <a:pt x="227" y="9448"/>
                    <a:pt x="227" y="9448"/>
                  </a:cubicBezTo>
                  <a:cubicBezTo>
                    <a:pt x="238" y="9375"/>
                    <a:pt x="238" y="9375"/>
                    <a:pt x="238" y="9375"/>
                  </a:cubicBezTo>
                  <a:cubicBezTo>
                    <a:pt x="352" y="9333"/>
                    <a:pt x="352" y="9333"/>
                    <a:pt x="352" y="9333"/>
                  </a:cubicBezTo>
                  <a:cubicBezTo>
                    <a:pt x="375" y="9374"/>
                    <a:pt x="375" y="9374"/>
                    <a:pt x="375" y="9374"/>
                  </a:cubicBezTo>
                  <a:cubicBezTo>
                    <a:pt x="299" y="9374"/>
                    <a:pt x="299" y="9374"/>
                    <a:pt x="299" y="9374"/>
                  </a:cubicBezTo>
                  <a:cubicBezTo>
                    <a:pt x="286" y="9375"/>
                    <a:pt x="286" y="9375"/>
                    <a:pt x="286" y="9375"/>
                  </a:cubicBezTo>
                  <a:cubicBezTo>
                    <a:pt x="285" y="9387"/>
                    <a:pt x="285" y="9387"/>
                    <a:pt x="285" y="9387"/>
                  </a:cubicBezTo>
                  <a:cubicBezTo>
                    <a:pt x="278" y="9455"/>
                    <a:pt x="278" y="9455"/>
                    <a:pt x="278" y="9455"/>
                  </a:cubicBezTo>
                  <a:cubicBezTo>
                    <a:pt x="276" y="9470"/>
                    <a:pt x="276" y="9470"/>
                    <a:pt x="276" y="9470"/>
                  </a:cubicBezTo>
                  <a:cubicBezTo>
                    <a:pt x="292" y="9470"/>
                    <a:pt x="292" y="9470"/>
                    <a:pt x="292" y="9470"/>
                  </a:cubicBezTo>
                  <a:cubicBezTo>
                    <a:pt x="380" y="9470"/>
                    <a:pt x="380" y="9470"/>
                    <a:pt x="380" y="9470"/>
                  </a:cubicBezTo>
                  <a:cubicBezTo>
                    <a:pt x="369" y="9565"/>
                    <a:pt x="369" y="9565"/>
                    <a:pt x="369" y="9565"/>
                  </a:cubicBezTo>
                  <a:cubicBezTo>
                    <a:pt x="368" y="9569"/>
                    <a:pt x="368" y="9569"/>
                    <a:pt x="368" y="9569"/>
                  </a:cubicBezTo>
                  <a:cubicBezTo>
                    <a:pt x="370" y="9572"/>
                    <a:pt x="370" y="9572"/>
                    <a:pt x="370" y="9572"/>
                  </a:cubicBezTo>
                  <a:cubicBezTo>
                    <a:pt x="494" y="9832"/>
                    <a:pt x="494" y="9832"/>
                    <a:pt x="494" y="9832"/>
                  </a:cubicBezTo>
                  <a:cubicBezTo>
                    <a:pt x="451" y="9851"/>
                    <a:pt x="451" y="9851"/>
                    <a:pt x="451" y="9851"/>
                  </a:cubicBezTo>
                  <a:cubicBezTo>
                    <a:pt x="313" y="9589"/>
                    <a:pt x="313" y="9589"/>
                    <a:pt x="313" y="9589"/>
                  </a:cubicBezTo>
                  <a:cubicBezTo>
                    <a:pt x="316" y="9539"/>
                    <a:pt x="316" y="9539"/>
                    <a:pt x="316" y="9539"/>
                  </a:cubicBezTo>
                  <a:cubicBezTo>
                    <a:pt x="317" y="9525"/>
                    <a:pt x="317" y="9525"/>
                    <a:pt x="317" y="9525"/>
                  </a:cubicBezTo>
                  <a:cubicBezTo>
                    <a:pt x="303" y="9524"/>
                    <a:pt x="303" y="9524"/>
                    <a:pt x="303" y="9524"/>
                  </a:cubicBezTo>
                  <a:lnTo>
                    <a:pt x="269" y="9523"/>
                  </a:lnTo>
                  <a:close/>
                  <a:moveTo>
                    <a:pt x="57" y="9583"/>
                  </a:moveTo>
                  <a:cubicBezTo>
                    <a:pt x="140" y="9741"/>
                    <a:pt x="140" y="9741"/>
                    <a:pt x="140" y="9741"/>
                  </a:cubicBezTo>
                  <a:cubicBezTo>
                    <a:pt x="215" y="9702"/>
                    <a:pt x="215" y="9702"/>
                    <a:pt x="215" y="9702"/>
                  </a:cubicBezTo>
                  <a:cubicBezTo>
                    <a:pt x="131" y="9543"/>
                    <a:pt x="131" y="9543"/>
                    <a:pt x="131" y="9543"/>
                  </a:cubicBezTo>
                  <a:lnTo>
                    <a:pt x="57" y="9583"/>
                  </a:lnTo>
                  <a:close/>
                  <a:moveTo>
                    <a:pt x="146" y="9722"/>
                  </a:moveTo>
                  <a:cubicBezTo>
                    <a:pt x="76" y="9588"/>
                    <a:pt x="76" y="9588"/>
                    <a:pt x="76" y="9588"/>
                  </a:cubicBezTo>
                  <a:cubicBezTo>
                    <a:pt x="126" y="9562"/>
                    <a:pt x="126" y="9562"/>
                    <a:pt x="126" y="9562"/>
                  </a:cubicBezTo>
                  <a:cubicBezTo>
                    <a:pt x="196" y="9696"/>
                    <a:pt x="196" y="9696"/>
                    <a:pt x="196" y="9696"/>
                  </a:cubicBezTo>
                  <a:lnTo>
                    <a:pt x="146" y="9722"/>
                  </a:lnTo>
                  <a:close/>
                  <a:moveTo>
                    <a:pt x="766" y="8917"/>
                  </a:moveTo>
                  <a:cubicBezTo>
                    <a:pt x="696" y="8852"/>
                    <a:pt x="696" y="8852"/>
                    <a:pt x="696" y="8852"/>
                  </a:cubicBezTo>
                  <a:cubicBezTo>
                    <a:pt x="591" y="8917"/>
                    <a:pt x="591" y="8917"/>
                    <a:pt x="591" y="8917"/>
                  </a:cubicBezTo>
                  <a:cubicBezTo>
                    <a:pt x="659" y="8980"/>
                    <a:pt x="659" y="8980"/>
                    <a:pt x="659" y="8980"/>
                  </a:cubicBezTo>
                  <a:lnTo>
                    <a:pt x="766" y="8917"/>
                  </a:lnTo>
                  <a:close/>
                  <a:moveTo>
                    <a:pt x="694" y="8869"/>
                  </a:moveTo>
                  <a:cubicBezTo>
                    <a:pt x="743" y="8914"/>
                    <a:pt x="743" y="8914"/>
                    <a:pt x="743" y="8914"/>
                  </a:cubicBezTo>
                  <a:cubicBezTo>
                    <a:pt x="660" y="8962"/>
                    <a:pt x="660" y="8962"/>
                    <a:pt x="660" y="8962"/>
                  </a:cubicBezTo>
                  <a:cubicBezTo>
                    <a:pt x="614" y="8919"/>
                    <a:pt x="614" y="8919"/>
                    <a:pt x="614" y="8919"/>
                  </a:cubicBezTo>
                  <a:lnTo>
                    <a:pt x="694" y="8869"/>
                  </a:lnTo>
                  <a:close/>
                  <a:moveTo>
                    <a:pt x="804" y="9234"/>
                  </a:moveTo>
                  <a:cubicBezTo>
                    <a:pt x="643" y="9072"/>
                    <a:pt x="643" y="9072"/>
                    <a:pt x="643" y="9072"/>
                  </a:cubicBezTo>
                  <a:cubicBezTo>
                    <a:pt x="597" y="9247"/>
                    <a:pt x="597" y="9247"/>
                    <a:pt x="597" y="9247"/>
                  </a:cubicBezTo>
                  <a:lnTo>
                    <a:pt x="804" y="9234"/>
                  </a:lnTo>
                  <a:close/>
                  <a:moveTo>
                    <a:pt x="651" y="9099"/>
                  </a:moveTo>
                  <a:cubicBezTo>
                    <a:pt x="772" y="9222"/>
                    <a:pt x="772" y="9222"/>
                    <a:pt x="772" y="9222"/>
                  </a:cubicBezTo>
                  <a:cubicBezTo>
                    <a:pt x="616" y="9232"/>
                    <a:pt x="616" y="9232"/>
                    <a:pt x="616" y="9232"/>
                  </a:cubicBezTo>
                  <a:lnTo>
                    <a:pt x="651" y="9099"/>
                  </a:lnTo>
                  <a:close/>
                  <a:moveTo>
                    <a:pt x="878" y="9194"/>
                  </a:moveTo>
                  <a:cubicBezTo>
                    <a:pt x="1029" y="9051"/>
                    <a:pt x="1029" y="9051"/>
                    <a:pt x="1029" y="9051"/>
                  </a:cubicBezTo>
                  <a:cubicBezTo>
                    <a:pt x="966" y="8970"/>
                    <a:pt x="966" y="8970"/>
                    <a:pt x="966" y="8970"/>
                  </a:cubicBezTo>
                  <a:cubicBezTo>
                    <a:pt x="890" y="9035"/>
                    <a:pt x="890" y="9035"/>
                    <a:pt x="890" y="9035"/>
                  </a:cubicBezTo>
                  <a:cubicBezTo>
                    <a:pt x="817" y="8967"/>
                    <a:pt x="817" y="8967"/>
                    <a:pt x="817" y="8967"/>
                  </a:cubicBezTo>
                  <a:cubicBezTo>
                    <a:pt x="716" y="9037"/>
                    <a:pt x="716" y="9037"/>
                    <a:pt x="716" y="9037"/>
                  </a:cubicBezTo>
                  <a:lnTo>
                    <a:pt x="878" y="9194"/>
                  </a:lnTo>
                  <a:close/>
                  <a:moveTo>
                    <a:pt x="881" y="9045"/>
                  </a:moveTo>
                  <a:cubicBezTo>
                    <a:pt x="890" y="9054"/>
                    <a:pt x="890" y="9054"/>
                    <a:pt x="890" y="9054"/>
                  </a:cubicBezTo>
                  <a:cubicBezTo>
                    <a:pt x="899" y="9046"/>
                    <a:pt x="899" y="9046"/>
                    <a:pt x="899" y="9046"/>
                  </a:cubicBezTo>
                  <a:cubicBezTo>
                    <a:pt x="964" y="8990"/>
                    <a:pt x="964" y="8990"/>
                    <a:pt x="964" y="8990"/>
                  </a:cubicBezTo>
                  <a:cubicBezTo>
                    <a:pt x="1010" y="9050"/>
                    <a:pt x="1010" y="9050"/>
                    <a:pt x="1010" y="9050"/>
                  </a:cubicBezTo>
                  <a:cubicBezTo>
                    <a:pt x="878" y="9175"/>
                    <a:pt x="878" y="9175"/>
                    <a:pt x="878" y="9175"/>
                  </a:cubicBezTo>
                  <a:cubicBezTo>
                    <a:pt x="738" y="9039"/>
                    <a:pt x="738" y="9039"/>
                    <a:pt x="738" y="9039"/>
                  </a:cubicBezTo>
                  <a:cubicBezTo>
                    <a:pt x="815" y="8985"/>
                    <a:pt x="815" y="8985"/>
                    <a:pt x="815" y="8985"/>
                  </a:cubicBezTo>
                  <a:lnTo>
                    <a:pt x="881" y="9045"/>
                  </a:lnTo>
                  <a:close/>
                  <a:moveTo>
                    <a:pt x="936" y="10035"/>
                  </a:moveTo>
                  <a:cubicBezTo>
                    <a:pt x="1002" y="10140"/>
                    <a:pt x="1002" y="10140"/>
                    <a:pt x="1002" y="10140"/>
                  </a:cubicBezTo>
                  <a:cubicBezTo>
                    <a:pt x="1128" y="10080"/>
                    <a:pt x="1128" y="10080"/>
                    <a:pt x="1128" y="10080"/>
                  </a:cubicBezTo>
                  <a:cubicBezTo>
                    <a:pt x="1108" y="10044"/>
                    <a:pt x="1108" y="10044"/>
                    <a:pt x="1108" y="10044"/>
                  </a:cubicBezTo>
                  <a:cubicBezTo>
                    <a:pt x="1157" y="10017"/>
                    <a:pt x="1157" y="10017"/>
                    <a:pt x="1157" y="10017"/>
                  </a:cubicBezTo>
                  <a:cubicBezTo>
                    <a:pt x="1328" y="10182"/>
                    <a:pt x="1328" y="10182"/>
                    <a:pt x="1328" y="10182"/>
                  </a:cubicBezTo>
                  <a:cubicBezTo>
                    <a:pt x="1308" y="10198"/>
                    <a:pt x="1308" y="10198"/>
                    <a:pt x="1308" y="10198"/>
                  </a:cubicBezTo>
                  <a:cubicBezTo>
                    <a:pt x="1415" y="10303"/>
                    <a:pt x="1415" y="10303"/>
                    <a:pt x="1415" y="10303"/>
                  </a:cubicBezTo>
                  <a:cubicBezTo>
                    <a:pt x="1562" y="10316"/>
                    <a:pt x="1562" y="10316"/>
                    <a:pt x="1562" y="10316"/>
                  </a:cubicBezTo>
                  <a:cubicBezTo>
                    <a:pt x="1572" y="10193"/>
                    <a:pt x="1572" y="10193"/>
                    <a:pt x="1572" y="10193"/>
                  </a:cubicBezTo>
                  <a:cubicBezTo>
                    <a:pt x="1216" y="9886"/>
                    <a:pt x="1216" y="9886"/>
                    <a:pt x="1216" y="9886"/>
                  </a:cubicBezTo>
                  <a:lnTo>
                    <a:pt x="936" y="10035"/>
                  </a:lnTo>
                  <a:close/>
                  <a:moveTo>
                    <a:pt x="1549" y="10301"/>
                  </a:moveTo>
                  <a:cubicBezTo>
                    <a:pt x="1421" y="10290"/>
                    <a:pt x="1421" y="10290"/>
                    <a:pt x="1421" y="10290"/>
                  </a:cubicBezTo>
                  <a:cubicBezTo>
                    <a:pt x="1329" y="10200"/>
                    <a:pt x="1329" y="10200"/>
                    <a:pt x="1329" y="10200"/>
                  </a:cubicBezTo>
                  <a:cubicBezTo>
                    <a:pt x="1337" y="10193"/>
                    <a:pt x="1337" y="10193"/>
                    <a:pt x="1337" y="10193"/>
                  </a:cubicBezTo>
                  <a:cubicBezTo>
                    <a:pt x="1350" y="10183"/>
                    <a:pt x="1350" y="10183"/>
                    <a:pt x="1350" y="10183"/>
                  </a:cubicBezTo>
                  <a:cubicBezTo>
                    <a:pt x="1338" y="10172"/>
                    <a:pt x="1338" y="10172"/>
                    <a:pt x="1338" y="10172"/>
                  </a:cubicBezTo>
                  <a:cubicBezTo>
                    <a:pt x="1167" y="10007"/>
                    <a:pt x="1167" y="10007"/>
                    <a:pt x="1167" y="10007"/>
                  </a:cubicBezTo>
                  <a:cubicBezTo>
                    <a:pt x="1159" y="10000"/>
                    <a:pt x="1159" y="10000"/>
                    <a:pt x="1159" y="10000"/>
                  </a:cubicBezTo>
                  <a:cubicBezTo>
                    <a:pt x="1150" y="10005"/>
                    <a:pt x="1150" y="10005"/>
                    <a:pt x="1150" y="10005"/>
                  </a:cubicBezTo>
                  <a:cubicBezTo>
                    <a:pt x="1102" y="10032"/>
                    <a:pt x="1102" y="10032"/>
                    <a:pt x="1102" y="10032"/>
                  </a:cubicBezTo>
                  <a:cubicBezTo>
                    <a:pt x="1089" y="10039"/>
                    <a:pt x="1089" y="10039"/>
                    <a:pt x="1089" y="10039"/>
                  </a:cubicBezTo>
                  <a:cubicBezTo>
                    <a:pt x="1096" y="10051"/>
                    <a:pt x="1096" y="10051"/>
                    <a:pt x="1096" y="10051"/>
                  </a:cubicBezTo>
                  <a:cubicBezTo>
                    <a:pt x="1109" y="10073"/>
                    <a:pt x="1109" y="10073"/>
                    <a:pt x="1109" y="10073"/>
                  </a:cubicBezTo>
                  <a:cubicBezTo>
                    <a:pt x="1007" y="10122"/>
                    <a:pt x="1007" y="10122"/>
                    <a:pt x="1007" y="10122"/>
                  </a:cubicBezTo>
                  <a:cubicBezTo>
                    <a:pt x="956" y="10040"/>
                    <a:pt x="956" y="10040"/>
                    <a:pt x="956" y="10040"/>
                  </a:cubicBezTo>
                  <a:cubicBezTo>
                    <a:pt x="1215" y="9902"/>
                    <a:pt x="1215" y="9902"/>
                    <a:pt x="1215" y="9902"/>
                  </a:cubicBezTo>
                  <a:cubicBezTo>
                    <a:pt x="1557" y="10199"/>
                    <a:pt x="1557" y="10199"/>
                    <a:pt x="1557" y="10199"/>
                  </a:cubicBezTo>
                  <a:lnTo>
                    <a:pt x="1549" y="10301"/>
                  </a:lnTo>
                  <a:close/>
                  <a:moveTo>
                    <a:pt x="817" y="10720"/>
                  </a:moveTo>
                  <a:cubicBezTo>
                    <a:pt x="694" y="10497"/>
                    <a:pt x="694" y="10497"/>
                    <a:pt x="694" y="10497"/>
                  </a:cubicBezTo>
                  <a:cubicBezTo>
                    <a:pt x="636" y="10529"/>
                    <a:pt x="636" y="10529"/>
                    <a:pt x="636" y="10529"/>
                  </a:cubicBezTo>
                  <a:cubicBezTo>
                    <a:pt x="758" y="10751"/>
                    <a:pt x="758" y="10751"/>
                    <a:pt x="758" y="10751"/>
                  </a:cubicBezTo>
                  <a:lnTo>
                    <a:pt x="817" y="10720"/>
                  </a:lnTo>
                  <a:close/>
                  <a:moveTo>
                    <a:pt x="688" y="10516"/>
                  </a:moveTo>
                  <a:cubicBezTo>
                    <a:pt x="798" y="10714"/>
                    <a:pt x="798" y="10714"/>
                    <a:pt x="798" y="10714"/>
                  </a:cubicBezTo>
                  <a:cubicBezTo>
                    <a:pt x="763" y="10733"/>
                    <a:pt x="763" y="10733"/>
                    <a:pt x="763" y="10733"/>
                  </a:cubicBezTo>
                  <a:cubicBezTo>
                    <a:pt x="654" y="10535"/>
                    <a:pt x="654" y="10535"/>
                    <a:pt x="654" y="10535"/>
                  </a:cubicBezTo>
                  <a:lnTo>
                    <a:pt x="688" y="10516"/>
                  </a:lnTo>
                  <a:close/>
                  <a:moveTo>
                    <a:pt x="1872" y="9598"/>
                  </a:moveTo>
                  <a:cubicBezTo>
                    <a:pt x="1935" y="9568"/>
                    <a:pt x="1935" y="9568"/>
                    <a:pt x="1935" y="9568"/>
                  </a:cubicBezTo>
                  <a:cubicBezTo>
                    <a:pt x="1903" y="9842"/>
                    <a:pt x="1903" y="9842"/>
                    <a:pt x="1903" y="9842"/>
                  </a:cubicBezTo>
                  <a:cubicBezTo>
                    <a:pt x="1827" y="9875"/>
                    <a:pt x="1827" y="9875"/>
                    <a:pt x="1827" y="9875"/>
                  </a:cubicBezTo>
                  <a:cubicBezTo>
                    <a:pt x="2008" y="9948"/>
                    <a:pt x="2008" y="9948"/>
                    <a:pt x="2008" y="9948"/>
                  </a:cubicBezTo>
                  <a:cubicBezTo>
                    <a:pt x="2066" y="9923"/>
                    <a:pt x="2066" y="9923"/>
                    <a:pt x="2066" y="9923"/>
                  </a:cubicBezTo>
                  <a:cubicBezTo>
                    <a:pt x="2127" y="9406"/>
                    <a:pt x="2127" y="9406"/>
                    <a:pt x="2127" y="9406"/>
                  </a:cubicBezTo>
                  <a:cubicBezTo>
                    <a:pt x="1848" y="9554"/>
                    <a:pt x="1848" y="9554"/>
                    <a:pt x="1848" y="9554"/>
                  </a:cubicBezTo>
                  <a:lnTo>
                    <a:pt x="1872" y="9598"/>
                  </a:lnTo>
                  <a:close/>
                  <a:moveTo>
                    <a:pt x="2053" y="9913"/>
                  </a:moveTo>
                  <a:cubicBezTo>
                    <a:pt x="2007" y="9933"/>
                    <a:pt x="2007" y="9933"/>
                    <a:pt x="2007" y="9933"/>
                  </a:cubicBezTo>
                  <a:cubicBezTo>
                    <a:pt x="1863" y="9875"/>
                    <a:pt x="1863" y="9875"/>
                    <a:pt x="1863" y="9875"/>
                  </a:cubicBezTo>
                  <a:cubicBezTo>
                    <a:pt x="1908" y="9855"/>
                    <a:pt x="1908" y="9855"/>
                    <a:pt x="1908" y="9855"/>
                  </a:cubicBezTo>
                  <a:cubicBezTo>
                    <a:pt x="1916" y="9852"/>
                    <a:pt x="1916" y="9852"/>
                    <a:pt x="1916" y="9852"/>
                  </a:cubicBezTo>
                  <a:cubicBezTo>
                    <a:pt x="1917" y="9844"/>
                    <a:pt x="1917" y="9844"/>
                    <a:pt x="1917" y="9844"/>
                  </a:cubicBezTo>
                  <a:cubicBezTo>
                    <a:pt x="1949" y="9569"/>
                    <a:pt x="1949" y="9569"/>
                    <a:pt x="1949" y="9569"/>
                  </a:cubicBezTo>
                  <a:cubicBezTo>
                    <a:pt x="1952" y="9544"/>
                    <a:pt x="1952" y="9544"/>
                    <a:pt x="1952" y="9544"/>
                  </a:cubicBezTo>
                  <a:cubicBezTo>
                    <a:pt x="1929" y="9555"/>
                    <a:pt x="1929" y="9555"/>
                    <a:pt x="1929" y="9555"/>
                  </a:cubicBezTo>
                  <a:cubicBezTo>
                    <a:pt x="1878" y="9580"/>
                    <a:pt x="1878" y="9580"/>
                    <a:pt x="1878" y="9580"/>
                  </a:cubicBezTo>
                  <a:cubicBezTo>
                    <a:pt x="1867" y="9560"/>
                    <a:pt x="1867" y="9560"/>
                    <a:pt x="1867" y="9560"/>
                  </a:cubicBezTo>
                  <a:cubicBezTo>
                    <a:pt x="2110" y="9431"/>
                    <a:pt x="2110" y="9431"/>
                    <a:pt x="2110" y="9431"/>
                  </a:cubicBezTo>
                  <a:lnTo>
                    <a:pt x="2053" y="9913"/>
                  </a:lnTo>
                  <a:close/>
                  <a:moveTo>
                    <a:pt x="851" y="10771"/>
                  </a:moveTo>
                  <a:cubicBezTo>
                    <a:pt x="791" y="10806"/>
                    <a:pt x="791" y="10806"/>
                    <a:pt x="791" y="10806"/>
                  </a:cubicBezTo>
                  <a:cubicBezTo>
                    <a:pt x="820" y="10864"/>
                    <a:pt x="820" y="10864"/>
                    <a:pt x="820" y="10864"/>
                  </a:cubicBezTo>
                  <a:cubicBezTo>
                    <a:pt x="754" y="10902"/>
                    <a:pt x="754" y="10902"/>
                    <a:pt x="754" y="10902"/>
                  </a:cubicBezTo>
                  <a:cubicBezTo>
                    <a:pt x="789" y="10960"/>
                    <a:pt x="789" y="10960"/>
                    <a:pt x="789" y="10960"/>
                  </a:cubicBezTo>
                  <a:cubicBezTo>
                    <a:pt x="682" y="11095"/>
                    <a:pt x="682" y="11095"/>
                    <a:pt x="682" y="11095"/>
                  </a:cubicBezTo>
                  <a:cubicBezTo>
                    <a:pt x="743" y="11163"/>
                    <a:pt x="743" y="11163"/>
                    <a:pt x="743" y="11163"/>
                  </a:cubicBezTo>
                  <a:cubicBezTo>
                    <a:pt x="884" y="10964"/>
                    <a:pt x="884" y="10964"/>
                    <a:pt x="884" y="10964"/>
                  </a:cubicBezTo>
                  <a:cubicBezTo>
                    <a:pt x="947" y="10924"/>
                    <a:pt x="947" y="10924"/>
                    <a:pt x="947" y="10924"/>
                  </a:cubicBezTo>
                  <a:lnTo>
                    <a:pt x="851" y="10771"/>
                  </a:lnTo>
                  <a:close/>
                  <a:moveTo>
                    <a:pt x="876" y="10952"/>
                  </a:moveTo>
                  <a:cubicBezTo>
                    <a:pt x="874" y="10954"/>
                    <a:pt x="874" y="10954"/>
                    <a:pt x="874" y="10954"/>
                  </a:cubicBezTo>
                  <a:cubicBezTo>
                    <a:pt x="873" y="10956"/>
                    <a:pt x="873" y="10956"/>
                    <a:pt x="873" y="10956"/>
                  </a:cubicBezTo>
                  <a:cubicBezTo>
                    <a:pt x="741" y="11140"/>
                    <a:pt x="741" y="11140"/>
                    <a:pt x="741" y="11140"/>
                  </a:cubicBezTo>
                  <a:cubicBezTo>
                    <a:pt x="700" y="11094"/>
                    <a:pt x="700" y="11094"/>
                    <a:pt x="700" y="11094"/>
                  </a:cubicBezTo>
                  <a:cubicBezTo>
                    <a:pt x="800" y="10968"/>
                    <a:pt x="800" y="10968"/>
                    <a:pt x="800" y="10968"/>
                  </a:cubicBezTo>
                  <a:cubicBezTo>
                    <a:pt x="806" y="10961"/>
                    <a:pt x="806" y="10961"/>
                    <a:pt x="806" y="10961"/>
                  </a:cubicBezTo>
                  <a:cubicBezTo>
                    <a:pt x="801" y="10952"/>
                    <a:pt x="801" y="10952"/>
                    <a:pt x="801" y="10952"/>
                  </a:cubicBezTo>
                  <a:cubicBezTo>
                    <a:pt x="773" y="10907"/>
                    <a:pt x="773" y="10907"/>
                    <a:pt x="773" y="10907"/>
                  </a:cubicBezTo>
                  <a:cubicBezTo>
                    <a:pt x="827" y="10876"/>
                    <a:pt x="827" y="10876"/>
                    <a:pt x="827" y="10876"/>
                  </a:cubicBezTo>
                  <a:cubicBezTo>
                    <a:pt x="839" y="10869"/>
                    <a:pt x="839" y="10869"/>
                    <a:pt x="839" y="10869"/>
                  </a:cubicBezTo>
                  <a:cubicBezTo>
                    <a:pt x="833" y="10857"/>
                    <a:pt x="833" y="10857"/>
                    <a:pt x="833" y="10857"/>
                  </a:cubicBezTo>
                  <a:cubicBezTo>
                    <a:pt x="809" y="10811"/>
                    <a:pt x="809" y="10811"/>
                    <a:pt x="809" y="10811"/>
                  </a:cubicBezTo>
                  <a:cubicBezTo>
                    <a:pt x="846" y="10790"/>
                    <a:pt x="846" y="10790"/>
                    <a:pt x="846" y="10790"/>
                  </a:cubicBezTo>
                  <a:cubicBezTo>
                    <a:pt x="928" y="10920"/>
                    <a:pt x="928" y="10920"/>
                    <a:pt x="928" y="10920"/>
                  </a:cubicBezTo>
                  <a:lnTo>
                    <a:pt x="876" y="10952"/>
                  </a:lnTo>
                  <a:close/>
                  <a:moveTo>
                    <a:pt x="1824" y="9684"/>
                  </a:moveTo>
                  <a:cubicBezTo>
                    <a:pt x="1831" y="9619"/>
                    <a:pt x="1831" y="9619"/>
                    <a:pt x="1831" y="9619"/>
                  </a:cubicBezTo>
                  <a:cubicBezTo>
                    <a:pt x="1807" y="9576"/>
                    <a:pt x="1807" y="9576"/>
                    <a:pt x="1807" y="9576"/>
                  </a:cubicBezTo>
                  <a:cubicBezTo>
                    <a:pt x="1585" y="9696"/>
                    <a:pt x="1585" y="9696"/>
                    <a:pt x="1585" y="9696"/>
                  </a:cubicBezTo>
                  <a:cubicBezTo>
                    <a:pt x="1582" y="9755"/>
                    <a:pt x="1582" y="9755"/>
                    <a:pt x="1582" y="9755"/>
                  </a:cubicBezTo>
                  <a:cubicBezTo>
                    <a:pt x="1613" y="9796"/>
                    <a:pt x="1613" y="9796"/>
                    <a:pt x="1613" y="9796"/>
                  </a:cubicBezTo>
                  <a:lnTo>
                    <a:pt x="1824" y="9684"/>
                  </a:lnTo>
                  <a:close/>
                  <a:moveTo>
                    <a:pt x="1598" y="9705"/>
                  </a:moveTo>
                  <a:cubicBezTo>
                    <a:pt x="1802" y="9595"/>
                    <a:pt x="1802" y="9595"/>
                    <a:pt x="1802" y="9595"/>
                  </a:cubicBezTo>
                  <a:cubicBezTo>
                    <a:pt x="1817" y="9622"/>
                    <a:pt x="1817" y="9622"/>
                    <a:pt x="1817" y="9622"/>
                  </a:cubicBezTo>
                  <a:cubicBezTo>
                    <a:pt x="1811" y="9675"/>
                    <a:pt x="1811" y="9675"/>
                    <a:pt x="1811" y="9675"/>
                  </a:cubicBezTo>
                  <a:cubicBezTo>
                    <a:pt x="1617" y="9778"/>
                    <a:pt x="1617" y="9778"/>
                    <a:pt x="1617" y="9778"/>
                  </a:cubicBezTo>
                  <a:cubicBezTo>
                    <a:pt x="1596" y="9751"/>
                    <a:pt x="1596" y="9751"/>
                    <a:pt x="1596" y="9751"/>
                  </a:cubicBezTo>
                  <a:lnTo>
                    <a:pt x="1598" y="9705"/>
                  </a:lnTo>
                  <a:close/>
                  <a:moveTo>
                    <a:pt x="1799" y="10288"/>
                  </a:moveTo>
                  <a:cubicBezTo>
                    <a:pt x="1811" y="10146"/>
                    <a:pt x="1811" y="10146"/>
                    <a:pt x="1811" y="10146"/>
                  </a:cubicBezTo>
                  <a:cubicBezTo>
                    <a:pt x="1669" y="10203"/>
                    <a:pt x="1669" y="10203"/>
                    <a:pt x="1669" y="10203"/>
                  </a:cubicBezTo>
                  <a:cubicBezTo>
                    <a:pt x="1654" y="10433"/>
                    <a:pt x="1654" y="10433"/>
                    <a:pt x="1654" y="10433"/>
                  </a:cubicBezTo>
                  <a:cubicBezTo>
                    <a:pt x="1779" y="10506"/>
                    <a:pt x="1779" y="10506"/>
                    <a:pt x="1779" y="10506"/>
                  </a:cubicBezTo>
                  <a:cubicBezTo>
                    <a:pt x="1915" y="10369"/>
                    <a:pt x="1915" y="10369"/>
                    <a:pt x="1915" y="10369"/>
                  </a:cubicBezTo>
                  <a:cubicBezTo>
                    <a:pt x="2042" y="10323"/>
                    <a:pt x="2042" y="10323"/>
                    <a:pt x="2042" y="10323"/>
                  </a:cubicBezTo>
                  <a:cubicBezTo>
                    <a:pt x="2074" y="10156"/>
                    <a:pt x="2074" y="10156"/>
                    <a:pt x="2074" y="10156"/>
                  </a:cubicBezTo>
                  <a:cubicBezTo>
                    <a:pt x="1913" y="10206"/>
                    <a:pt x="1913" y="10206"/>
                    <a:pt x="1913" y="10206"/>
                  </a:cubicBezTo>
                  <a:lnTo>
                    <a:pt x="1799" y="10288"/>
                  </a:lnTo>
                  <a:close/>
                  <a:moveTo>
                    <a:pt x="2056" y="10176"/>
                  </a:moveTo>
                  <a:cubicBezTo>
                    <a:pt x="2029" y="10313"/>
                    <a:pt x="2029" y="10313"/>
                    <a:pt x="2029" y="10313"/>
                  </a:cubicBezTo>
                  <a:cubicBezTo>
                    <a:pt x="1910" y="10356"/>
                    <a:pt x="1910" y="10356"/>
                    <a:pt x="1910" y="10356"/>
                  </a:cubicBezTo>
                  <a:cubicBezTo>
                    <a:pt x="1907" y="10357"/>
                    <a:pt x="1907" y="10357"/>
                    <a:pt x="1907" y="10357"/>
                  </a:cubicBezTo>
                  <a:cubicBezTo>
                    <a:pt x="1905" y="10359"/>
                    <a:pt x="1905" y="10359"/>
                    <a:pt x="1905" y="10359"/>
                  </a:cubicBezTo>
                  <a:cubicBezTo>
                    <a:pt x="1777" y="10489"/>
                    <a:pt x="1777" y="10489"/>
                    <a:pt x="1777" y="10489"/>
                  </a:cubicBezTo>
                  <a:cubicBezTo>
                    <a:pt x="1669" y="10425"/>
                    <a:pt x="1669" y="10425"/>
                    <a:pt x="1669" y="10425"/>
                  </a:cubicBezTo>
                  <a:cubicBezTo>
                    <a:pt x="1682" y="10212"/>
                    <a:pt x="1682" y="10212"/>
                    <a:pt x="1682" y="10212"/>
                  </a:cubicBezTo>
                  <a:cubicBezTo>
                    <a:pt x="1795" y="10167"/>
                    <a:pt x="1795" y="10167"/>
                    <a:pt x="1795" y="10167"/>
                  </a:cubicBezTo>
                  <a:cubicBezTo>
                    <a:pt x="1785" y="10287"/>
                    <a:pt x="1785" y="10287"/>
                    <a:pt x="1785" y="10287"/>
                  </a:cubicBezTo>
                  <a:cubicBezTo>
                    <a:pt x="1782" y="10317"/>
                    <a:pt x="1782" y="10317"/>
                    <a:pt x="1782" y="10317"/>
                  </a:cubicBezTo>
                  <a:cubicBezTo>
                    <a:pt x="1807" y="10299"/>
                    <a:pt x="1807" y="10299"/>
                    <a:pt x="1807" y="10299"/>
                  </a:cubicBezTo>
                  <a:cubicBezTo>
                    <a:pt x="1919" y="10219"/>
                    <a:pt x="1919" y="10219"/>
                    <a:pt x="1919" y="10219"/>
                  </a:cubicBezTo>
                  <a:lnTo>
                    <a:pt x="2056" y="10176"/>
                  </a:lnTo>
                  <a:close/>
                  <a:moveTo>
                    <a:pt x="1279" y="10216"/>
                  </a:moveTo>
                  <a:cubicBezTo>
                    <a:pt x="1240" y="10233"/>
                    <a:pt x="1240" y="10233"/>
                    <a:pt x="1240" y="10233"/>
                  </a:cubicBezTo>
                  <a:cubicBezTo>
                    <a:pt x="1133" y="10122"/>
                    <a:pt x="1133" y="10122"/>
                    <a:pt x="1133" y="10122"/>
                  </a:cubicBezTo>
                  <a:cubicBezTo>
                    <a:pt x="1020" y="10180"/>
                    <a:pt x="1020" y="10180"/>
                    <a:pt x="1020" y="10180"/>
                  </a:cubicBezTo>
                  <a:cubicBezTo>
                    <a:pt x="1223" y="10537"/>
                    <a:pt x="1223" y="10537"/>
                    <a:pt x="1223" y="10537"/>
                  </a:cubicBezTo>
                  <a:cubicBezTo>
                    <a:pt x="1275" y="10509"/>
                    <a:pt x="1275" y="10509"/>
                    <a:pt x="1275" y="10509"/>
                  </a:cubicBezTo>
                  <a:cubicBezTo>
                    <a:pt x="1306" y="10559"/>
                    <a:pt x="1306" y="10559"/>
                    <a:pt x="1306" y="10559"/>
                  </a:cubicBezTo>
                  <a:cubicBezTo>
                    <a:pt x="1546" y="10438"/>
                    <a:pt x="1546" y="10438"/>
                    <a:pt x="1546" y="10438"/>
                  </a:cubicBezTo>
                  <a:cubicBezTo>
                    <a:pt x="1551" y="10358"/>
                    <a:pt x="1551" y="10358"/>
                    <a:pt x="1551" y="10358"/>
                  </a:cubicBezTo>
                  <a:cubicBezTo>
                    <a:pt x="1413" y="10347"/>
                    <a:pt x="1413" y="10347"/>
                    <a:pt x="1413" y="10347"/>
                  </a:cubicBezTo>
                  <a:lnTo>
                    <a:pt x="1279" y="10216"/>
                  </a:lnTo>
                  <a:close/>
                  <a:moveTo>
                    <a:pt x="1533" y="10429"/>
                  </a:moveTo>
                  <a:cubicBezTo>
                    <a:pt x="1311" y="10540"/>
                    <a:pt x="1311" y="10540"/>
                    <a:pt x="1311" y="10540"/>
                  </a:cubicBezTo>
                  <a:cubicBezTo>
                    <a:pt x="1286" y="10502"/>
                    <a:pt x="1286" y="10502"/>
                    <a:pt x="1286" y="10502"/>
                  </a:cubicBezTo>
                  <a:cubicBezTo>
                    <a:pt x="1279" y="10491"/>
                    <a:pt x="1279" y="10491"/>
                    <a:pt x="1279" y="10491"/>
                  </a:cubicBezTo>
                  <a:cubicBezTo>
                    <a:pt x="1268" y="10497"/>
                    <a:pt x="1268" y="10497"/>
                    <a:pt x="1268" y="10497"/>
                  </a:cubicBezTo>
                  <a:cubicBezTo>
                    <a:pt x="1229" y="10519"/>
                    <a:pt x="1229" y="10519"/>
                    <a:pt x="1229" y="10519"/>
                  </a:cubicBezTo>
                  <a:cubicBezTo>
                    <a:pt x="1039" y="10186"/>
                    <a:pt x="1039" y="10186"/>
                    <a:pt x="1039" y="10186"/>
                  </a:cubicBezTo>
                  <a:cubicBezTo>
                    <a:pt x="1130" y="10139"/>
                    <a:pt x="1130" y="10139"/>
                    <a:pt x="1130" y="10139"/>
                  </a:cubicBezTo>
                  <a:cubicBezTo>
                    <a:pt x="1230" y="10242"/>
                    <a:pt x="1230" y="10242"/>
                    <a:pt x="1230" y="10242"/>
                  </a:cubicBezTo>
                  <a:cubicBezTo>
                    <a:pt x="1236" y="10249"/>
                    <a:pt x="1236" y="10249"/>
                    <a:pt x="1236" y="10249"/>
                  </a:cubicBezTo>
                  <a:cubicBezTo>
                    <a:pt x="1245" y="10245"/>
                    <a:pt x="1245" y="10245"/>
                    <a:pt x="1245" y="10245"/>
                  </a:cubicBezTo>
                  <a:cubicBezTo>
                    <a:pt x="1276" y="10232"/>
                    <a:pt x="1276" y="10232"/>
                    <a:pt x="1276" y="10232"/>
                  </a:cubicBezTo>
                  <a:cubicBezTo>
                    <a:pt x="1403" y="10357"/>
                    <a:pt x="1403" y="10357"/>
                    <a:pt x="1403" y="10357"/>
                  </a:cubicBezTo>
                  <a:cubicBezTo>
                    <a:pt x="1407" y="10360"/>
                    <a:pt x="1407" y="10360"/>
                    <a:pt x="1407" y="10360"/>
                  </a:cubicBezTo>
                  <a:cubicBezTo>
                    <a:pt x="1412" y="10361"/>
                    <a:pt x="1412" y="10361"/>
                    <a:pt x="1412" y="10361"/>
                  </a:cubicBezTo>
                  <a:cubicBezTo>
                    <a:pt x="1536" y="10371"/>
                    <a:pt x="1536" y="10371"/>
                    <a:pt x="1536" y="10371"/>
                  </a:cubicBezTo>
                  <a:lnTo>
                    <a:pt x="1533" y="10429"/>
                  </a:lnTo>
                  <a:close/>
                  <a:moveTo>
                    <a:pt x="1672" y="9937"/>
                  </a:moveTo>
                  <a:cubicBezTo>
                    <a:pt x="1497" y="9799"/>
                    <a:pt x="1497" y="9799"/>
                    <a:pt x="1497" y="9799"/>
                  </a:cubicBezTo>
                  <a:cubicBezTo>
                    <a:pt x="1541" y="9773"/>
                    <a:pt x="1541" y="9773"/>
                    <a:pt x="1541" y="9773"/>
                  </a:cubicBezTo>
                  <a:cubicBezTo>
                    <a:pt x="1519" y="9728"/>
                    <a:pt x="1519" y="9728"/>
                    <a:pt x="1519" y="9728"/>
                  </a:cubicBezTo>
                  <a:cubicBezTo>
                    <a:pt x="1302" y="9845"/>
                    <a:pt x="1302" y="9845"/>
                    <a:pt x="1302" y="9845"/>
                  </a:cubicBezTo>
                  <a:cubicBezTo>
                    <a:pt x="1641" y="10101"/>
                    <a:pt x="1641" y="10101"/>
                    <a:pt x="1641" y="10101"/>
                  </a:cubicBezTo>
                  <a:cubicBezTo>
                    <a:pt x="1952" y="9971"/>
                    <a:pt x="1952" y="9971"/>
                    <a:pt x="1952" y="9971"/>
                  </a:cubicBezTo>
                  <a:cubicBezTo>
                    <a:pt x="1717" y="9920"/>
                    <a:pt x="1717" y="9920"/>
                    <a:pt x="1717" y="9920"/>
                  </a:cubicBezTo>
                  <a:lnTo>
                    <a:pt x="1672" y="9937"/>
                  </a:lnTo>
                  <a:close/>
                  <a:moveTo>
                    <a:pt x="1906" y="9975"/>
                  </a:moveTo>
                  <a:cubicBezTo>
                    <a:pt x="1643" y="10085"/>
                    <a:pt x="1643" y="10085"/>
                    <a:pt x="1643" y="10085"/>
                  </a:cubicBezTo>
                  <a:cubicBezTo>
                    <a:pt x="1328" y="9847"/>
                    <a:pt x="1328" y="9847"/>
                    <a:pt x="1328" y="9847"/>
                  </a:cubicBezTo>
                  <a:cubicBezTo>
                    <a:pt x="1513" y="9747"/>
                    <a:pt x="1513" y="9747"/>
                    <a:pt x="1513" y="9747"/>
                  </a:cubicBezTo>
                  <a:cubicBezTo>
                    <a:pt x="1522" y="9768"/>
                    <a:pt x="1522" y="9768"/>
                    <a:pt x="1522" y="9768"/>
                  </a:cubicBezTo>
                  <a:cubicBezTo>
                    <a:pt x="1490" y="9787"/>
                    <a:pt x="1490" y="9787"/>
                    <a:pt x="1490" y="9787"/>
                  </a:cubicBezTo>
                  <a:cubicBezTo>
                    <a:pt x="1473" y="9797"/>
                    <a:pt x="1473" y="9797"/>
                    <a:pt x="1473" y="9797"/>
                  </a:cubicBezTo>
                  <a:cubicBezTo>
                    <a:pt x="1489" y="9810"/>
                    <a:pt x="1489" y="9810"/>
                    <a:pt x="1489" y="9810"/>
                  </a:cubicBezTo>
                  <a:cubicBezTo>
                    <a:pt x="1664" y="9948"/>
                    <a:pt x="1664" y="9948"/>
                    <a:pt x="1664" y="9948"/>
                  </a:cubicBezTo>
                  <a:cubicBezTo>
                    <a:pt x="1670" y="9953"/>
                    <a:pt x="1670" y="9953"/>
                    <a:pt x="1670" y="9953"/>
                  </a:cubicBezTo>
                  <a:cubicBezTo>
                    <a:pt x="1677" y="9950"/>
                    <a:pt x="1677" y="9950"/>
                    <a:pt x="1677" y="9950"/>
                  </a:cubicBezTo>
                  <a:cubicBezTo>
                    <a:pt x="1719" y="9935"/>
                    <a:pt x="1719" y="9935"/>
                    <a:pt x="1719" y="9935"/>
                  </a:cubicBezTo>
                  <a:lnTo>
                    <a:pt x="1906" y="9975"/>
                  </a:lnTo>
                  <a:close/>
                  <a:moveTo>
                    <a:pt x="1749" y="11007"/>
                  </a:moveTo>
                  <a:cubicBezTo>
                    <a:pt x="1848" y="10973"/>
                    <a:pt x="1848" y="10973"/>
                    <a:pt x="1848" y="10973"/>
                  </a:cubicBezTo>
                  <a:cubicBezTo>
                    <a:pt x="1869" y="10992"/>
                    <a:pt x="1869" y="10992"/>
                    <a:pt x="1869" y="10992"/>
                  </a:cubicBezTo>
                  <a:cubicBezTo>
                    <a:pt x="1977" y="10957"/>
                    <a:pt x="1977" y="10957"/>
                    <a:pt x="1977" y="10957"/>
                  </a:cubicBezTo>
                  <a:cubicBezTo>
                    <a:pt x="1933" y="10838"/>
                    <a:pt x="1933" y="10838"/>
                    <a:pt x="1933" y="10838"/>
                  </a:cubicBezTo>
                  <a:cubicBezTo>
                    <a:pt x="1751" y="10898"/>
                    <a:pt x="1751" y="10898"/>
                    <a:pt x="1751" y="10898"/>
                  </a:cubicBezTo>
                  <a:cubicBezTo>
                    <a:pt x="1577" y="10971"/>
                    <a:pt x="1577" y="10971"/>
                    <a:pt x="1577" y="10971"/>
                  </a:cubicBezTo>
                  <a:cubicBezTo>
                    <a:pt x="1672" y="11066"/>
                    <a:pt x="1672" y="11066"/>
                    <a:pt x="1672" y="11066"/>
                  </a:cubicBezTo>
                  <a:cubicBezTo>
                    <a:pt x="1770" y="11033"/>
                    <a:pt x="1770" y="11033"/>
                    <a:pt x="1770" y="11033"/>
                  </a:cubicBezTo>
                  <a:lnTo>
                    <a:pt x="1749" y="11007"/>
                  </a:lnTo>
                  <a:close/>
                  <a:moveTo>
                    <a:pt x="1675" y="11050"/>
                  </a:moveTo>
                  <a:cubicBezTo>
                    <a:pt x="1601" y="10976"/>
                    <a:pt x="1601" y="10976"/>
                    <a:pt x="1601" y="10976"/>
                  </a:cubicBezTo>
                  <a:cubicBezTo>
                    <a:pt x="1755" y="10911"/>
                    <a:pt x="1755" y="10911"/>
                    <a:pt x="1755" y="10911"/>
                  </a:cubicBezTo>
                  <a:cubicBezTo>
                    <a:pt x="1924" y="10855"/>
                    <a:pt x="1924" y="10855"/>
                    <a:pt x="1924" y="10855"/>
                  </a:cubicBezTo>
                  <a:cubicBezTo>
                    <a:pt x="1959" y="10948"/>
                    <a:pt x="1959" y="10948"/>
                    <a:pt x="1959" y="10948"/>
                  </a:cubicBezTo>
                  <a:cubicBezTo>
                    <a:pt x="1873" y="10976"/>
                    <a:pt x="1873" y="10976"/>
                    <a:pt x="1873" y="10976"/>
                  </a:cubicBezTo>
                  <a:cubicBezTo>
                    <a:pt x="1858" y="10962"/>
                    <a:pt x="1858" y="10962"/>
                    <a:pt x="1858" y="10962"/>
                  </a:cubicBezTo>
                  <a:cubicBezTo>
                    <a:pt x="1852" y="10957"/>
                    <a:pt x="1852" y="10957"/>
                    <a:pt x="1852" y="10957"/>
                  </a:cubicBezTo>
                  <a:cubicBezTo>
                    <a:pt x="1844" y="10959"/>
                    <a:pt x="1844" y="10959"/>
                    <a:pt x="1844" y="10959"/>
                  </a:cubicBezTo>
                  <a:cubicBezTo>
                    <a:pt x="1744" y="10994"/>
                    <a:pt x="1744" y="10994"/>
                    <a:pt x="1744" y="10994"/>
                  </a:cubicBezTo>
                  <a:cubicBezTo>
                    <a:pt x="1725" y="11000"/>
                    <a:pt x="1725" y="11000"/>
                    <a:pt x="1725" y="11000"/>
                  </a:cubicBezTo>
                  <a:cubicBezTo>
                    <a:pt x="1738" y="11016"/>
                    <a:pt x="1738" y="11016"/>
                    <a:pt x="1738" y="11016"/>
                  </a:cubicBezTo>
                  <a:cubicBezTo>
                    <a:pt x="1746" y="11026"/>
                    <a:pt x="1746" y="11026"/>
                    <a:pt x="1746" y="11026"/>
                  </a:cubicBezTo>
                  <a:lnTo>
                    <a:pt x="1675" y="11050"/>
                  </a:lnTo>
                  <a:close/>
                  <a:moveTo>
                    <a:pt x="1862" y="12340"/>
                  </a:moveTo>
                  <a:cubicBezTo>
                    <a:pt x="1603" y="12266"/>
                    <a:pt x="1603" y="12266"/>
                    <a:pt x="1603" y="12266"/>
                  </a:cubicBezTo>
                  <a:cubicBezTo>
                    <a:pt x="1586" y="12495"/>
                    <a:pt x="1586" y="12495"/>
                    <a:pt x="1586" y="12495"/>
                  </a:cubicBezTo>
                  <a:cubicBezTo>
                    <a:pt x="1707" y="12533"/>
                    <a:pt x="1707" y="12533"/>
                    <a:pt x="1707" y="12533"/>
                  </a:cubicBezTo>
                  <a:lnTo>
                    <a:pt x="1862" y="12340"/>
                  </a:lnTo>
                  <a:close/>
                  <a:moveTo>
                    <a:pt x="1601" y="12485"/>
                  </a:moveTo>
                  <a:cubicBezTo>
                    <a:pt x="1616" y="12284"/>
                    <a:pt x="1616" y="12284"/>
                    <a:pt x="1616" y="12284"/>
                  </a:cubicBezTo>
                  <a:cubicBezTo>
                    <a:pt x="1838" y="12348"/>
                    <a:pt x="1838" y="12348"/>
                    <a:pt x="1838" y="12348"/>
                  </a:cubicBezTo>
                  <a:cubicBezTo>
                    <a:pt x="1702" y="12517"/>
                    <a:pt x="1702" y="12517"/>
                    <a:pt x="1702" y="12517"/>
                  </a:cubicBezTo>
                  <a:lnTo>
                    <a:pt x="1601" y="12485"/>
                  </a:lnTo>
                  <a:close/>
                  <a:moveTo>
                    <a:pt x="1705" y="11134"/>
                  </a:moveTo>
                  <a:cubicBezTo>
                    <a:pt x="1863" y="11301"/>
                    <a:pt x="1863" y="11301"/>
                    <a:pt x="1863" y="11301"/>
                  </a:cubicBezTo>
                  <a:cubicBezTo>
                    <a:pt x="1947" y="11224"/>
                    <a:pt x="1947" y="11224"/>
                    <a:pt x="1947" y="11224"/>
                  </a:cubicBezTo>
                  <a:cubicBezTo>
                    <a:pt x="1821" y="11093"/>
                    <a:pt x="1821" y="11093"/>
                    <a:pt x="1821" y="11093"/>
                  </a:cubicBezTo>
                  <a:lnTo>
                    <a:pt x="1705" y="11134"/>
                  </a:lnTo>
                  <a:close/>
                  <a:moveTo>
                    <a:pt x="1863" y="11282"/>
                  </a:moveTo>
                  <a:cubicBezTo>
                    <a:pt x="1730" y="11140"/>
                    <a:pt x="1730" y="11140"/>
                    <a:pt x="1730" y="11140"/>
                  </a:cubicBezTo>
                  <a:cubicBezTo>
                    <a:pt x="1817" y="11109"/>
                    <a:pt x="1817" y="11109"/>
                    <a:pt x="1817" y="11109"/>
                  </a:cubicBezTo>
                  <a:cubicBezTo>
                    <a:pt x="1927" y="11223"/>
                    <a:pt x="1927" y="11223"/>
                    <a:pt x="1927" y="11223"/>
                  </a:cubicBezTo>
                  <a:lnTo>
                    <a:pt x="1863" y="11282"/>
                  </a:lnTo>
                  <a:close/>
                  <a:moveTo>
                    <a:pt x="3065" y="11929"/>
                  </a:moveTo>
                  <a:cubicBezTo>
                    <a:pt x="3227" y="11987"/>
                    <a:pt x="3227" y="11987"/>
                    <a:pt x="3227" y="11987"/>
                  </a:cubicBezTo>
                  <a:cubicBezTo>
                    <a:pt x="3210" y="12036"/>
                    <a:pt x="3210" y="12036"/>
                    <a:pt x="3210" y="12036"/>
                  </a:cubicBezTo>
                  <a:cubicBezTo>
                    <a:pt x="3244" y="12081"/>
                    <a:pt x="3244" y="12081"/>
                    <a:pt x="3244" y="12081"/>
                  </a:cubicBezTo>
                  <a:cubicBezTo>
                    <a:pt x="3382" y="12085"/>
                    <a:pt x="3382" y="12085"/>
                    <a:pt x="3382" y="12085"/>
                  </a:cubicBezTo>
                  <a:cubicBezTo>
                    <a:pt x="3393" y="12060"/>
                    <a:pt x="3393" y="12060"/>
                    <a:pt x="3393" y="12060"/>
                  </a:cubicBezTo>
                  <a:cubicBezTo>
                    <a:pt x="3355" y="11946"/>
                    <a:pt x="3355" y="11946"/>
                    <a:pt x="3355" y="11946"/>
                  </a:cubicBezTo>
                  <a:cubicBezTo>
                    <a:pt x="3095" y="11850"/>
                    <a:pt x="3095" y="11850"/>
                    <a:pt x="3095" y="11850"/>
                  </a:cubicBezTo>
                  <a:lnTo>
                    <a:pt x="3065" y="11929"/>
                  </a:lnTo>
                  <a:close/>
                  <a:moveTo>
                    <a:pt x="3344" y="11956"/>
                  </a:moveTo>
                  <a:cubicBezTo>
                    <a:pt x="3378" y="12060"/>
                    <a:pt x="3378" y="12060"/>
                    <a:pt x="3378" y="12060"/>
                  </a:cubicBezTo>
                  <a:cubicBezTo>
                    <a:pt x="3373" y="12071"/>
                    <a:pt x="3373" y="12071"/>
                    <a:pt x="3373" y="12071"/>
                  </a:cubicBezTo>
                  <a:cubicBezTo>
                    <a:pt x="3251" y="12067"/>
                    <a:pt x="3251" y="12067"/>
                    <a:pt x="3251" y="12067"/>
                  </a:cubicBezTo>
                  <a:cubicBezTo>
                    <a:pt x="3226" y="12033"/>
                    <a:pt x="3226" y="12033"/>
                    <a:pt x="3226" y="12033"/>
                  </a:cubicBezTo>
                  <a:cubicBezTo>
                    <a:pt x="3240" y="11991"/>
                    <a:pt x="3240" y="11991"/>
                    <a:pt x="3240" y="11991"/>
                  </a:cubicBezTo>
                  <a:cubicBezTo>
                    <a:pt x="3244" y="11978"/>
                    <a:pt x="3244" y="11978"/>
                    <a:pt x="3244" y="11978"/>
                  </a:cubicBezTo>
                  <a:cubicBezTo>
                    <a:pt x="3231" y="11973"/>
                    <a:pt x="3231" y="11973"/>
                    <a:pt x="3231" y="11973"/>
                  </a:cubicBezTo>
                  <a:cubicBezTo>
                    <a:pt x="3083" y="11921"/>
                    <a:pt x="3083" y="11921"/>
                    <a:pt x="3083" y="11921"/>
                  </a:cubicBezTo>
                  <a:cubicBezTo>
                    <a:pt x="3104" y="11868"/>
                    <a:pt x="3104" y="11868"/>
                    <a:pt x="3104" y="11868"/>
                  </a:cubicBezTo>
                  <a:lnTo>
                    <a:pt x="3344" y="11956"/>
                  </a:lnTo>
                  <a:close/>
                  <a:moveTo>
                    <a:pt x="1722" y="11758"/>
                  </a:moveTo>
                  <a:cubicBezTo>
                    <a:pt x="1722" y="11758"/>
                    <a:pt x="1766" y="11823"/>
                    <a:pt x="1808" y="11850"/>
                  </a:cubicBezTo>
                  <a:cubicBezTo>
                    <a:pt x="1851" y="11877"/>
                    <a:pt x="1948" y="11903"/>
                    <a:pt x="1948" y="11903"/>
                  </a:cubicBezTo>
                  <a:cubicBezTo>
                    <a:pt x="1876" y="12171"/>
                    <a:pt x="1876" y="12171"/>
                    <a:pt x="1876" y="12171"/>
                  </a:cubicBezTo>
                  <a:cubicBezTo>
                    <a:pt x="1952" y="12193"/>
                    <a:pt x="1952" y="12193"/>
                    <a:pt x="1952" y="12193"/>
                  </a:cubicBezTo>
                  <a:cubicBezTo>
                    <a:pt x="2060" y="12063"/>
                    <a:pt x="2060" y="12063"/>
                    <a:pt x="2060" y="12063"/>
                  </a:cubicBezTo>
                  <a:cubicBezTo>
                    <a:pt x="2120" y="11803"/>
                    <a:pt x="2120" y="11803"/>
                    <a:pt x="2120" y="11803"/>
                  </a:cubicBezTo>
                  <a:cubicBezTo>
                    <a:pt x="2120" y="11803"/>
                    <a:pt x="1991" y="11769"/>
                    <a:pt x="1916" y="11727"/>
                  </a:cubicBezTo>
                  <a:cubicBezTo>
                    <a:pt x="1841" y="11685"/>
                    <a:pt x="1781" y="11619"/>
                    <a:pt x="1781" y="11619"/>
                  </a:cubicBezTo>
                  <a:cubicBezTo>
                    <a:pt x="1394" y="11669"/>
                    <a:pt x="1394" y="11669"/>
                    <a:pt x="1394" y="11669"/>
                  </a:cubicBezTo>
                  <a:cubicBezTo>
                    <a:pt x="1431" y="11790"/>
                    <a:pt x="1431" y="11790"/>
                    <a:pt x="1431" y="11790"/>
                  </a:cubicBezTo>
                  <a:lnTo>
                    <a:pt x="1722" y="11758"/>
                  </a:lnTo>
                  <a:close/>
                  <a:moveTo>
                    <a:pt x="1776" y="11634"/>
                  </a:moveTo>
                  <a:cubicBezTo>
                    <a:pt x="1792" y="11650"/>
                    <a:pt x="1845" y="11703"/>
                    <a:pt x="1909" y="11739"/>
                  </a:cubicBezTo>
                  <a:cubicBezTo>
                    <a:pt x="1972" y="11774"/>
                    <a:pt x="2068" y="11803"/>
                    <a:pt x="2103" y="11813"/>
                  </a:cubicBezTo>
                  <a:cubicBezTo>
                    <a:pt x="2047" y="12057"/>
                    <a:pt x="2047" y="12057"/>
                    <a:pt x="2047" y="12057"/>
                  </a:cubicBezTo>
                  <a:cubicBezTo>
                    <a:pt x="1947" y="12177"/>
                    <a:pt x="1947" y="12177"/>
                    <a:pt x="1947" y="12177"/>
                  </a:cubicBezTo>
                  <a:cubicBezTo>
                    <a:pt x="1893" y="12161"/>
                    <a:pt x="1893" y="12161"/>
                    <a:pt x="1893" y="12161"/>
                  </a:cubicBezTo>
                  <a:cubicBezTo>
                    <a:pt x="1961" y="11907"/>
                    <a:pt x="1961" y="11907"/>
                    <a:pt x="1961" y="11907"/>
                  </a:cubicBezTo>
                  <a:cubicBezTo>
                    <a:pt x="1965" y="11893"/>
                    <a:pt x="1965" y="11893"/>
                    <a:pt x="1965" y="11893"/>
                  </a:cubicBezTo>
                  <a:cubicBezTo>
                    <a:pt x="1951" y="11890"/>
                    <a:pt x="1951" y="11890"/>
                    <a:pt x="1951" y="11890"/>
                  </a:cubicBezTo>
                  <a:cubicBezTo>
                    <a:pt x="1950" y="11889"/>
                    <a:pt x="1856" y="11864"/>
                    <a:pt x="1816" y="11838"/>
                  </a:cubicBezTo>
                  <a:cubicBezTo>
                    <a:pt x="1776" y="11813"/>
                    <a:pt x="1734" y="11751"/>
                    <a:pt x="1734" y="11750"/>
                  </a:cubicBezTo>
                  <a:cubicBezTo>
                    <a:pt x="1729" y="11744"/>
                    <a:pt x="1729" y="11744"/>
                    <a:pt x="1729" y="11744"/>
                  </a:cubicBezTo>
                  <a:cubicBezTo>
                    <a:pt x="1721" y="11744"/>
                    <a:pt x="1721" y="11744"/>
                    <a:pt x="1721" y="11744"/>
                  </a:cubicBezTo>
                  <a:cubicBezTo>
                    <a:pt x="1441" y="11775"/>
                    <a:pt x="1441" y="11775"/>
                    <a:pt x="1441" y="11775"/>
                  </a:cubicBezTo>
                  <a:cubicBezTo>
                    <a:pt x="1412" y="11681"/>
                    <a:pt x="1412" y="11681"/>
                    <a:pt x="1412" y="11681"/>
                  </a:cubicBezTo>
                  <a:lnTo>
                    <a:pt x="1776" y="11634"/>
                  </a:lnTo>
                  <a:close/>
                  <a:moveTo>
                    <a:pt x="1160" y="12208"/>
                  </a:moveTo>
                  <a:cubicBezTo>
                    <a:pt x="1170" y="12221"/>
                    <a:pt x="1170" y="12221"/>
                    <a:pt x="1170" y="12221"/>
                  </a:cubicBezTo>
                  <a:cubicBezTo>
                    <a:pt x="1181" y="12210"/>
                    <a:pt x="1181" y="12210"/>
                    <a:pt x="1181" y="12210"/>
                  </a:cubicBezTo>
                  <a:cubicBezTo>
                    <a:pt x="1281" y="12111"/>
                    <a:pt x="1281" y="12111"/>
                    <a:pt x="1281" y="12111"/>
                  </a:cubicBezTo>
                  <a:cubicBezTo>
                    <a:pt x="1314" y="12079"/>
                    <a:pt x="1314" y="12079"/>
                    <a:pt x="1314" y="12079"/>
                  </a:cubicBezTo>
                  <a:cubicBezTo>
                    <a:pt x="1268" y="12088"/>
                    <a:pt x="1268" y="12088"/>
                    <a:pt x="1268" y="12088"/>
                  </a:cubicBezTo>
                  <a:cubicBezTo>
                    <a:pt x="1115" y="12118"/>
                    <a:pt x="1115" y="12118"/>
                    <a:pt x="1115" y="12118"/>
                  </a:cubicBezTo>
                  <a:cubicBezTo>
                    <a:pt x="1093" y="12122"/>
                    <a:pt x="1093" y="12122"/>
                    <a:pt x="1093" y="12122"/>
                  </a:cubicBezTo>
                  <a:cubicBezTo>
                    <a:pt x="1107" y="12140"/>
                    <a:pt x="1107" y="12140"/>
                    <a:pt x="1107" y="12140"/>
                  </a:cubicBezTo>
                  <a:lnTo>
                    <a:pt x="1160" y="12208"/>
                  </a:lnTo>
                  <a:close/>
                  <a:moveTo>
                    <a:pt x="1271" y="12101"/>
                  </a:moveTo>
                  <a:cubicBezTo>
                    <a:pt x="1171" y="12200"/>
                    <a:pt x="1171" y="12200"/>
                    <a:pt x="1171" y="12200"/>
                  </a:cubicBezTo>
                  <a:cubicBezTo>
                    <a:pt x="1118" y="12131"/>
                    <a:pt x="1118" y="12131"/>
                    <a:pt x="1118" y="12131"/>
                  </a:cubicBezTo>
                  <a:lnTo>
                    <a:pt x="1271" y="12101"/>
                  </a:lnTo>
                  <a:close/>
                  <a:moveTo>
                    <a:pt x="1901" y="11066"/>
                  </a:moveTo>
                  <a:cubicBezTo>
                    <a:pt x="1980" y="11150"/>
                    <a:pt x="1980" y="11150"/>
                    <a:pt x="1980" y="11150"/>
                  </a:cubicBezTo>
                  <a:cubicBezTo>
                    <a:pt x="2015" y="11067"/>
                    <a:pt x="2015" y="11067"/>
                    <a:pt x="2015" y="11067"/>
                  </a:cubicBezTo>
                  <a:cubicBezTo>
                    <a:pt x="2001" y="11029"/>
                    <a:pt x="2001" y="11029"/>
                    <a:pt x="2001" y="11029"/>
                  </a:cubicBezTo>
                  <a:lnTo>
                    <a:pt x="1901" y="11066"/>
                  </a:lnTo>
                  <a:close/>
                  <a:moveTo>
                    <a:pt x="1976" y="11125"/>
                  </a:moveTo>
                  <a:cubicBezTo>
                    <a:pt x="1926" y="11072"/>
                    <a:pt x="1926" y="11072"/>
                    <a:pt x="1926" y="11072"/>
                  </a:cubicBezTo>
                  <a:cubicBezTo>
                    <a:pt x="1993" y="11047"/>
                    <a:pt x="1993" y="11047"/>
                    <a:pt x="1993" y="11047"/>
                  </a:cubicBezTo>
                  <a:cubicBezTo>
                    <a:pt x="2000" y="11067"/>
                    <a:pt x="2000" y="11067"/>
                    <a:pt x="2000" y="11067"/>
                  </a:cubicBezTo>
                  <a:lnTo>
                    <a:pt x="1976" y="11125"/>
                  </a:lnTo>
                  <a:close/>
                  <a:moveTo>
                    <a:pt x="1639" y="11847"/>
                  </a:moveTo>
                  <a:cubicBezTo>
                    <a:pt x="1451" y="11873"/>
                    <a:pt x="1451" y="11873"/>
                    <a:pt x="1451" y="11873"/>
                  </a:cubicBezTo>
                  <a:cubicBezTo>
                    <a:pt x="1451" y="11873"/>
                    <a:pt x="1491" y="12011"/>
                    <a:pt x="1550" y="12049"/>
                  </a:cubicBezTo>
                  <a:cubicBezTo>
                    <a:pt x="1609" y="12088"/>
                    <a:pt x="1764" y="12137"/>
                    <a:pt x="1764" y="12137"/>
                  </a:cubicBezTo>
                  <a:cubicBezTo>
                    <a:pt x="1803" y="11988"/>
                    <a:pt x="1803" y="11988"/>
                    <a:pt x="1803" y="11988"/>
                  </a:cubicBezTo>
                  <a:cubicBezTo>
                    <a:pt x="1803" y="11988"/>
                    <a:pt x="1734" y="11973"/>
                    <a:pt x="1695" y="11932"/>
                  </a:cubicBezTo>
                  <a:cubicBezTo>
                    <a:pt x="1655" y="11891"/>
                    <a:pt x="1639" y="11847"/>
                    <a:pt x="1639" y="11847"/>
                  </a:cubicBezTo>
                  <a:close/>
                  <a:moveTo>
                    <a:pt x="1755" y="12119"/>
                  </a:moveTo>
                  <a:cubicBezTo>
                    <a:pt x="1715" y="12106"/>
                    <a:pt x="1604" y="12068"/>
                    <a:pt x="1557" y="12038"/>
                  </a:cubicBezTo>
                  <a:cubicBezTo>
                    <a:pt x="1515" y="12010"/>
                    <a:pt x="1482" y="11921"/>
                    <a:pt x="1470" y="11885"/>
                  </a:cubicBezTo>
                  <a:cubicBezTo>
                    <a:pt x="1630" y="11862"/>
                    <a:pt x="1630" y="11862"/>
                    <a:pt x="1630" y="11862"/>
                  </a:cubicBezTo>
                  <a:cubicBezTo>
                    <a:pt x="1638" y="11878"/>
                    <a:pt x="1655" y="11911"/>
                    <a:pt x="1685" y="11942"/>
                  </a:cubicBezTo>
                  <a:cubicBezTo>
                    <a:pt x="1716" y="11974"/>
                    <a:pt x="1763" y="11991"/>
                    <a:pt x="1786" y="11998"/>
                  </a:cubicBezTo>
                  <a:lnTo>
                    <a:pt x="1755" y="12119"/>
                  </a:lnTo>
                  <a:close/>
                  <a:moveTo>
                    <a:pt x="2218" y="11229"/>
                  </a:moveTo>
                  <a:cubicBezTo>
                    <a:pt x="2240" y="11144"/>
                    <a:pt x="2240" y="11144"/>
                    <a:pt x="2240" y="11144"/>
                  </a:cubicBezTo>
                  <a:cubicBezTo>
                    <a:pt x="2362" y="11147"/>
                    <a:pt x="2362" y="11147"/>
                    <a:pt x="2362" y="11147"/>
                  </a:cubicBezTo>
                  <a:cubicBezTo>
                    <a:pt x="2397" y="11066"/>
                    <a:pt x="2397" y="11066"/>
                    <a:pt x="2397" y="11066"/>
                  </a:cubicBezTo>
                  <a:cubicBezTo>
                    <a:pt x="2118" y="11063"/>
                    <a:pt x="2118" y="11063"/>
                    <a:pt x="2118" y="11063"/>
                  </a:cubicBezTo>
                  <a:cubicBezTo>
                    <a:pt x="2075" y="11191"/>
                    <a:pt x="2075" y="11191"/>
                    <a:pt x="2075" y="11191"/>
                  </a:cubicBezTo>
                  <a:lnTo>
                    <a:pt x="2218" y="11229"/>
                  </a:lnTo>
                  <a:close/>
                  <a:moveTo>
                    <a:pt x="2128" y="11077"/>
                  </a:moveTo>
                  <a:cubicBezTo>
                    <a:pt x="2376" y="11080"/>
                    <a:pt x="2376" y="11080"/>
                    <a:pt x="2376" y="11080"/>
                  </a:cubicBezTo>
                  <a:cubicBezTo>
                    <a:pt x="2353" y="11132"/>
                    <a:pt x="2353" y="11132"/>
                    <a:pt x="2353" y="11132"/>
                  </a:cubicBezTo>
                  <a:cubicBezTo>
                    <a:pt x="2241" y="11130"/>
                    <a:pt x="2241" y="11130"/>
                    <a:pt x="2241" y="11130"/>
                  </a:cubicBezTo>
                  <a:cubicBezTo>
                    <a:pt x="2230" y="11129"/>
                    <a:pt x="2230" y="11129"/>
                    <a:pt x="2230" y="11129"/>
                  </a:cubicBezTo>
                  <a:cubicBezTo>
                    <a:pt x="2227" y="11140"/>
                    <a:pt x="2227" y="11140"/>
                    <a:pt x="2227" y="11140"/>
                  </a:cubicBezTo>
                  <a:cubicBezTo>
                    <a:pt x="2208" y="11212"/>
                    <a:pt x="2208" y="11212"/>
                    <a:pt x="2208" y="11212"/>
                  </a:cubicBezTo>
                  <a:cubicBezTo>
                    <a:pt x="2093" y="11181"/>
                    <a:pt x="2093" y="11181"/>
                    <a:pt x="2093" y="11181"/>
                  </a:cubicBezTo>
                  <a:lnTo>
                    <a:pt x="2128" y="11077"/>
                  </a:lnTo>
                  <a:close/>
                  <a:moveTo>
                    <a:pt x="1518" y="12752"/>
                  </a:moveTo>
                  <a:cubicBezTo>
                    <a:pt x="1659" y="12581"/>
                    <a:pt x="1659" y="12581"/>
                    <a:pt x="1659" y="12581"/>
                  </a:cubicBezTo>
                  <a:cubicBezTo>
                    <a:pt x="1549" y="12540"/>
                    <a:pt x="1549" y="12540"/>
                    <a:pt x="1549" y="12540"/>
                  </a:cubicBezTo>
                  <a:cubicBezTo>
                    <a:pt x="1337" y="12600"/>
                    <a:pt x="1337" y="12600"/>
                    <a:pt x="1337" y="12600"/>
                  </a:cubicBezTo>
                  <a:cubicBezTo>
                    <a:pt x="1379" y="12691"/>
                    <a:pt x="1379" y="12691"/>
                    <a:pt x="1379" y="12691"/>
                  </a:cubicBezTo>
                  <a:lnTo>
                    <a:pt x="1518" y="12752"/>
                  </a:lnTo>
                  <a:close/>
                  <a:moveTo>
                    <a:pt x="1548" y="12555"/>
                  </a:moveTo>
                  <a:cubicBezTo>
                    <a:pt x="1636" y="12588"/>
                    <a:pt x="1636" y="12588"/>
                    <a:pt x="1636" y="12588"/>
                  </a:cubicBezTo>
                  <a:cubicBezTo>
                    <a:pt x="1514" y="12735"/>
                    <a:pt x="1514" y="12735"/>
                    <a:pt x="1514" y="12735"/>
                  </a:cubicBezTo>
                  <a:cubicBezTo>
                    <a:pt x="1390" y="12680"/>
                    <a:pt x="1390" y="12680"/>
                    <a:pt x="1390" y="12680"/>
                  </a:cubicBezTo>
                  <a:cubicBezTo>
                    <a:pt x="1357" y="12609"/>
                    <a:pt x="1357" y="12609"/>
                    <a:pt x="1357" y="12609"/>
                  </a:cubicBezTo>
                  <a:lnTo>
                    <a:pt x="1548" y="12555"/>
                  </a:lnTo>
                  <a:close/>
                  <a:moveTo>
                    <a:pt x="2185" y="11318"/>
                  </a:moveTo>
                  <a:cubicBezTo>
                    <a:pt x="2048" y="11275"/>
                    <a:pt x="2048" y="11275"/>
                    <a:pt x="2048" y="11275"/>
                  </a:cubicBezTo>
                  <a:cubicBezTo>
                    <a:pt x="2001" y="11443"/>
                    <a:pt x="2001" y="11443"/>
                    <a:pt x="2001" y="11443"/>
                  </a:cubicBezTo>
                  <a:cubicBezTo>
                    <a:pt x="2239" y="11500"/>
                    <a:pt x="2239" y="11500"/>
                    <a:pt x="2239" y="11500"/>
                  </a:cubicBezTo>
                  <a:cubicBezTo>
                    <a:pt x="2247" y="11415"/>
                    <a:pt x="2247" y="11415"/>
                    <a:pt x="2247" y="11415"/>
                  </a:cubicBezTo>
                  <a:cubicBezTo>
                    <a:pt x="2177" y="11392"/>
                    <a:pt x="2177" y="11392"/>
                    <a:pt x="2177" y="11392"/>
                  </a:cubicBezTo>
                  <a:lnTo>
                    <a:pt x="2185" y="11318"/>
                  </a:lnTo>
                  <a:close/>
                  <a:moveTo>
                    <a:pt x="2232" y="11425"/>
                  </a:moveTo>
                  <a:cubicBezTo>
                    <a:pt x="2227" y="11482"/>
                    <a:pt x="2227" y="11482"/>
                    <a:pt x="2227" y="11482"/>
                  </a:cubicBezTo>
                  <a:cubicBezTo>
                    <a:pt x="2018" y="11433"/>
                    <a:pt x="2018" y="11433"/>
                    <a:pt x="2018" y="11433"/>
                  </a:cubicBezTo>
                  <a:cubicBezTo>
                    <a:pt x="2057" y="11293"/>
                    <a:pt x="2057" y="11293"/>
                    <a:pt x="2057" y="11293"/>
                  </a:cubicBezTo>
                  <a:cubicBezTo>
                    <a:pt x="2170" y="11328"/>
                    <a:pt x="2170" y="11328"/>
                    <a:pt x="2170" y="11328"/>
                  </a:cubicBezTo>
                  <a:cubicBezTo>
                    <a:pt x="2163" y="11391"/>
                    <a:pt x="2163" y="11391"/>
                    <a:pt x="2163" y="11391"/>
                  </a:cubicBezTo>
                  <a:cubicBezTo>
                    <a:pt x="2162" y="11402"/>
                    <a:pt x="2162" y="11402"/>
                    <a:pt x="2162" y="11402"/>
                  </a:cubicBezTo>
                  <a:cubicBezTo>
                    <a:pt x="2173" y="11406"/>
                    <a:pt x="2173" y="11406"/>
                    <a:pt x="2173" y="11406"/>
                  </a:cubicBezTo>
                  <a:lnTo>
                    <a:pt x="2232" y="11425"/>
                  </a:lnTo>
                  <a:close/>
                  <a:moveTo>
                    <a:pt x="1272" y="13037"/>
                  </a:moveTo>
                  <a:cubicBezTo>
                    <a:pt x="1279" y="13230"/>
                    <a:pt x="1279" y="13230"/>
                    <a:pt x="1279" y="13230"/>
                  </a:cubicBezTo>
                  <a:cubicBezTo>
                    <a:pt x="1279" y="13237"/>
                    <a:pt x="1279" y="13237"/>
                    <a:pt x="1279" y="13237"/>
                  </a:cubicBezTo>
                  <a:cubicBezTo>
                    <a:pt x="1285" y="13241"/>
                    <a:pt x="1285" y="13241"/>
                    <a:pt x="1285" y="13241"/>
                  </a:cubicBezTo>
                  <a:cubicBezTo>
                    <a:pt x="1400" y="13329"/>
                    <a:pt x="1400" y="13329"/>
                    <a:pt x="1400" y="13329"/>
                  </a:cubicBezTo>
                  <a:cubicBezTo>
                    <a:pt x="1412" y="13338"/>
                    <a:pt x="1412" y="13338"/>
                    <a:pt x="1412" y="13338"/>
                  </a:cubicBezTo>
                  <a:cubicBezTo>
                    <a:pt x="1420" y="13326"/>
                    <a:pt x="1420" y="13326"/>
                    <a:pt x="1420" y="13326"/>
                  </a:cubicBezTo>
                  <a:cubicBezTo>
                    <a:pt x="1462" y="13265"/>
                    <a:pt x="1462" y="13265"/>
                    <a:pt x="1462" y="13265"/>
                  </a:cubicBezTo>
                  <a:cubicBezTo>
                    <a:pt x="1465" y="13260"/>
                    <a:pt x="1465" y="13260"/>
                    <a:pt x="1465" y="13260"/>
                  </a:cubicBezTo>
                  <a:cubicBezTo>
                    <a:pt x="1465" y="13255"/>
                    <a:pt x="1465" y="13255"/>
                    <a:pt x="1465" y="13255"/>
                  </a:cubicBezTo>
                  <a:cubicBezTo>
                    <a:pt x="1428" y="12958"/>
                    <a:pt x="1428" y="12958"/>
                    <a:pt x="1428" y="12958"/>
                  </a:cubicBezTo>
                  <a:cubicBezTo>
                    <a:pt x="1428" y="12951"/>
                    <a:pt x="1428" y="12951"/>
                    <a:pt x="1428" y="12951"/>
                  </a:cubicBezTo>
                  <a:cubicBezTo>
                    <a:pt x="1421" y="12948"/>
                    <a:pt x="1421" y="12948"/>
                    <a:pt x="1421" y="12948"/>
                  </a:cubicBezTo>
                  <a:cubicBezTo>
                    <a:pt x="1310" y="12885"/>
                    <a:pt x="1310" y="12885"/>
                    <a:pt x="1310" y="12885"/>
                  </a:cubicBezTo>
                  <a:cubicBezTo>
                    <a:pt x="1306" y="12882"/>
                    <a:pt x="1306" y="12882"/>
                    <a:pt x="1306" y="12882"/>
                  </a:cubicBezTo>
                  <a:cubicBezTo>
                    <a:pt x="1301" y="12883"/>
                    <a:pt x="1301" y="12883"/>
                    <a:pt x="1301" y="12883"/>
                  </a:cubicBezTo>
                  <a:cubicBezTo>
                    <a:pt x="1207" y="12903"/>
                    <a:pt x="1207" y="12903"/>
                    <a:pt x="1207" y="12903"/>
                  </a:cubicBezTo>
                  <a:cubicBezTo>
                    <a:pt x="1187" y="12907"/>
                    <a:pt x="1187" y="12907"/>
                    <a:pt x="1187" y="12907"/>
                  </a:cubicBezTo>
                  <a:cubicBezTo>
                    <a:pt x="1198" y="12924"/>
                    <a:pt x="1198" y="12924"/>
                    <a:pt x="1198" y="12924"/>
                  </a:cubicBezTo>
                  <a:lnTo>
                    <a:pt x="1272" y="13037"/>
                  </a:lnTo>
                  <a:close/>
                  <a:moveTo>
                    <a:pt x="1304" y="12897"/>
                  </a:moveTo>
                  <a:cubicBezTo>
                    <a:pt x="1415" y="12960"/>
                    <a:pt x="1415" y="12960"/>
                    <a:pt x="1415" y="12960"/>
                  </a:cubicBezTo>
                  <a:cubicBezTo>
                    <a:pt x="1451" y="13257"/>
                    <a:pt x="1451" y="13257"/>
                    <a:pt x="1451" y="13257"/>
                  </a:cubicBezTo>
                  <a:cubicBezTo>
                    <a:pt x="1409" y="13318"/>
                    <a:pt x="1409" y="13318"/>
                    <a:pt x="1409" y="13318"/>
                  </a:cubicBezTo>
                  <a:cubicBezTo>
                    <a:pt x="1293" y="13230"/>
                    <a:pt x="1293" y="13230"/>
                    <a:pt x="1293" y="13230"/>
                  </a:cubicBezTo>
                  <a:cubicBezTo>
                    <a:pt x="1285" y="13033"/>
                    <a:pt x="1285" y="13033"/>
                    <a:pt x="1285" y="13033"/>
                  </a:cubicBezTo>
                  <a:cubicBezTo>
                    <a:pt x="1210" y="12917"/>
                    <a:pt x="1210" y="12917"/>
                    <a:pt x="1210" y="12917"/>
                  </a:cubicBezTo>
                  <a:lnTo>
                    <a:pt x="1304" y="12897"/>
                  </a:lnTo>
                  <a:close/>
                  <a:moveTo>
                    <a:pt x="3722" y="12674"/>
                  </a:moveTo>
                  <a:cubicBezTo>
                    <a:pt x="3804" y="12647"/>
                    <a:pt x="3804" y="12647"/>
                    <a:pt x="3804" y="12647"/>
                  </a:cubicBezTo>
                  <a:cubicBezTo>
                    <a:pt x="3797" y="12613"/>
                    <a:pt x="3797" y="12613"/>
                    <a:pt x="3797" y="12613"/>
                  </a:cubicBezTo>
                  <a:cubicBezTo>
                    <a:pt x="3821" y="12610"/>
                    <a:pt x="3821" y="12610"/>
                    <a:pt x="3821" y="12610"/>
                  </a:cubicBezTo>
                  <a:cubicBezTo>
                    <a:pt x="3790" y="12512"/>
                    <a:pt x="3790" y="12512"/>
                    <a:pt x="3790" y="12512"/>
                  </a:cubicBezTo>
                  <a:cubicBezTo>
                    <a:pt x="3762" y="12526"/>
                    <a:pt x="3762" y="12526"/>
                    <a:pt x="3762" y="12526"/>
                  </a:cubicBezTo>
                  <a:cubicBezTo>
                    <a:pt x="3726" y="12421"/>
                    <a:pt x="3726" y="12421"/>
                    <a:pt x="3726" y="12421"/>
                  </a:cubicBezTo>
                  <a:cubicBezTo>
                    <a:pt x="3665" y="12426"/>
                    <a:pt x="3665" y="12426"/>
                    <a:pt x="3665" y="12426"/>
                  </a:cubicBezTo>
                  <a:cubicBezTo>
                    <a:pt x="3630" y="12346"/>
                    <a:pt x="3630" y="12346"/>
                    <a:pt x="3630" y="12346"/>
                  </a:cubicBezTo>
                  <a:cubicBezTo>
                    <a:pt x="3639" y="12313"/>
                    <a:pt x="3639" y="12313"/>
                    <a:pt x="3639" y="12313"/>
                  </a:cubicBezTo>
                  <a:cubicBezTo>
                    <a:pt x="3603" y="12258"/>
                    <a:pt x="3603" y="12258"/>
                    <a:pt x="3603" y="12258"/>
                  </a:cubicBezTo>
                  <a:cubicBezTo>
                    <a:pt x="3518" y="12325"/>
                    <a:pt x="3518" y="12325"/>
                    <a:pt x="3518" y="12325"/>
                  </a:cubicBezTo>
                  <a:cubicBezTo>
                    <a:pt x="3637" y="12623"/>
                    <a:pt x="3637" y="12623"/>
                    <a:pt x="3637" y="12623"/>
                  </a:cubicBezTo>
                  <a:lnTo>
                    <a:pt x="3722" y="12674"/>
                  </a:lnTo>
                  <a:close/>
                  <a:moveTo>
                    <a:pt x="3599" y="12279"/>
                  </a:moveTo>
                  <a:cubicBezTo>
                    <a:pt x="3624" y="12315"/>
                    <a:pt x="3624" y="12315"/>
                    <a:pt x="3624" y="12315"/>
                  </a:cubicBezTo>
                  <a:cubicBezTo>
                    <a:pt x="3616" y="12342"/>
                    <a:pt x="3616" y="12342"/>
                    <a:pt x="3616" y="12342"/>
                  </a:cubicBezTo>
                  <a:cubicBezTo>
                    <a:pt x="3615" y="12347"/>
                    <a:pt x="3615" y="12347"/>
                    <a:pt x="3615" y="12347"/>
                  </a:cubicBezTo>
                  <a:cubicBezTo>
                    <a:pt x="3617" y="12352"/>
                    <a:pt x="3617" y="12352"/>
                    <a:pt x="3617" y="12352"/>
                  </a:cubicBezTo>
                  <a:cubicBezTo>
                    <a:pt x="3652" y="12431"/>
                    <a:pt x="3652" y="12431"/>
                    <a:pt x="3652" y="12431"/>
                  </a:cubicBezTo>
                  <a:cubicBezTo>
                    <a:pt x="3656" y="12440"/>
                    <a:pt x="3656" y="12440"/>
                    <a:pt x="3656" y="12440"/>
                  </a:cubicBezTo>
                  <a:cubicBezTo>
                    <a:pt x="3666" y="12440"/>
                    <a:pt x="3666" y="12440"/>
                    <a:pt x="3666" y="12440"/>
                  </a:cubicBezTo>
                  <a:cubicBezTo>
                    <a:pt x="3716" y="12436"/>
                    <a:pt x="3716" y="12436"/>
                    <a:pt x="3716" y="12436"/>
                  </a:cubicBezTo>
                  <a:cubicBezTo>
                    <a:pt x="3749" y="12531"/>
                    <a:pt x="3749" y="12531"/>
                    <a:pt x="3749" y="12531"/>
                  </a:cubicBezTo>
                  <a:cubicBezTo>
                    <a:pt x="3755" y="12546"/>
                    <a:pt x="3755" y="12546"/>
                    <a:pt x="3755" y="12546"/>
                  </a:cubicBezTo>
                  <a:cubicBezTo>
                    <a:pt x="3769" y="12539"/>
                    <a:pt x="3769" y="12539"/>
                    <a:pt x="3769" y="12539"/>
                  </a:cubicBezTo>
                  <a:cubicBezTo>
                    <a:pt x="3781" y="12532"/>
                    <a:pt x="3781" y="12532"/>
                    <a:pt x="3781" y="12532"/>
                  </a:cubicBezTo>
                  <a:cubicBezTo>
                    <a:pt x="3803" y="12598"/>
                    <a:pt x="3803" y="12598"/>
                    <a:pt x="3803" y="12598"/>
                  </a:cubicBezTo>
                  <a:cubicBezTo>
                    <a:pt x="3795" y="12600"/>
                    <a:pt x="3795" y="12600"/>
                    <a:pt x="3795" y="12600"/>
                  </a:cubicBezTo>
                  <a:cubicBezTo>
                    <a:pt x="3780" y="12602"/>
                    <a:pt x="3780" y="12602"/>
                    <a:pt x="3780" y="12602"/>
                  </a:cubicBezTo>
                  <a:cubicBezTo>
                    <a:pt x="3783" y="12616"/>
                    <a:pt x="3783" y="12616"/>
                    <a:pt x="3783" y="12616"/>
                  </a:cubicBezTo>
                  <a:cubicBezTo>
                    <a:pt x="3787" y="12637"/>
                    <a:pt x="3787" y="12637"/>
                    <a:pt x="3787" y="12637"/>
                  </a:cubicBezTo>
                  <a:cubicBezTo>
                    <a:pt x="3723" y="12659"/>
                    <a:pt x="3723" y="12659"/>
                    <a:pt x="3723" y="12659"/>
                  </a:cubicBezTo>
                  <a:cubicBezTo>
                    <a:pt x="3648" y="12613"/>
                    <a:pt x="3648" y="12613"/>
                    <a:pt x="3648" y="12613"/>
                  </a:cubicBezTo>
                  <a:cubicBezTo>
                    <a:pt x="3534" y="12329"/>
                    <a:pt x="3534" y="12329"/>
                    <a:pt x="3534" y="12329"/>
                  </a:cubicBezTo>
                  <a:lnTo>
                    <a:pt x="3599" y="12279"/>
                  </a:lnTo>
                  <a:close/>
                  <a:moveTo>
                    <a:pt x="2676" y="10949"/>
                  </a:moveTo>
                  <a:cubicBezTo>
                    <a:pt x="2760" y="10855"/>
                    <a:pt x="2760" y="10855"/>
                    <a:pt x="2760" y="10855"/>
                  </a:cubicBezTo>
                  <a:cubicBezTo>
                    <a:pt x="2578" y="10827"/>
                    <a:pt x="2578" y="10827"/>
                    <a:pt x="2578" y="10827"/>
                  </a:cubicBezTo>
                  <a:cubicBezTo>
                    <a:pt x="2579" y="10935"/>
                    <a:pt x="2579" y="10935"/>
                    <a:pt x="2579" y="10935"/>
                  </a:cubicBezTo>
                  <a:lnTo>
                    <a:pt x="2676" y="10949"/>
                  </a:lnTo>
                  <a:close/>
                  <a:moveTo>
                    <a:pt x="2733" y="10865"/>
                  </a:moveTo>
                  <a:cubicBezTo>
                    <a:pt x="2670" y="10934"/>
                    <a:pt x="2670" y="10934"/>
                    <a:pt x="2670" y="10934"/>
                  </a:cubicBezTo>
                  <a:cubicBezTo>
                    <a:pt x="2593" y="10923"/>
                    <a:pt x="2593" y="10923"/>
                    <a:pt x="2593" y="10923"/>
                  </a:cubicBezTo>
                  <a:cubicBezTo>
                    <a:pt x="2592" y="10844"/>
                    <a:pt x="2592" y="10844"/>
                    <a:pt x="2592" y="10844"/>
                  </a:cubicBezTo>
                  <a:lnTo>
                    <a:pt x="2733" y="10865"/>
                  </a:lnTo>
                  <a:close/>
                  <a:moveTo>
                    <a:pt x="3267" y="11138"/>
                  </a:moveTo>
                  <a:cubicBezTo>
                    <a:pt x="3197" y="11274"/>
                    <a:pt x="3197" y="11274"/>
                    <a:pt x="3197" y="11274"/>
                  </a:cubicBezTo>
                  <a:cubicBezTo>
                    <a:pt x="3443" y="11402"/>
                    <a:pt x="3443" y="11402"/>
                    <a:pt x="3443" y="11402"/>
                  </a:cubicBezTo>
                  <a:cubicBezTo>
                    <a:pt x="3481" y="11330"/>
                    <a:pt x="3481" y="11330"/>
                    <a:pt x="3481" y="11330"/>
                  </a:cubicBezTo>
                  <a:cubicBezTo>
                    <a:pt x="3507" y="11344"/>
                    <a:pt x="3507" y="11344"/>
                    <a:pt x="3507" y="11344"/>
                  </a:cubicBezTo>
                  <a:cubicBezTo>
                    <a:pt x="3507" y="11344"/>
                    <a:pt x="3567" y="11227"/>
                    <a:pt x="3565" y="11227"/>
                  </a:cubicBezTo>
                  <a:cubicBezTo>
                    <a:pt x="3563" y="11228"/>
                    <a:pt x="3429" y="11159"/>
                    <a:pt x="3429" y="11159"/>
                  </a:cubicBezTo>
                  <a:cubicBezTo>
                    <a:pt x="3402" y="11207"/>
                    <a:pt x="3402" y="11207"/>
                    <a:pt x="3402" y="11207"/>
                  </a:cubicBezTo>
                  <a:lnTo>
                    <a:pt x="3267" y="11138"/>
                  </a:lnTo>
                  <a:close/>
                  <a:moveTo>
                    <a:pt x="3414" y="11214"/>
                  </a:moveTo>
                  <a:cubicBezTo>
                    <a:pt x="3435" y="11178"/>
                    <a:pt x="3435" y="11178"/>
                    <a:pt x="3435" y="11178"/>
                  </a:cubicBezTo>
                  <a:cubicBezTo>
                    <a:pt x="3500" y="11211"/>
                    <a:pt x="3531" y="11227"/>
                    <a:pt x="3547" y="11234"/>
                  </a:cubicBezTo>
                  <a:cubicBezTo>
                    <a:pt x="3538" y="11252"/>
                    <a:pt x="3520" y="11289"/>
                    <a:pt x="3501" y="11325"/>
                  </a:cubicBezTo>
                  <a:cubicBezTo>
                    <a:pt x="3487" y="11318"/>
                    <a:pt x="3487" y="11318"/>
                    <a:pt x="3487" y="11318"/>
                  </a:cubicBezTo>
                  <a:cubicBezTo>
                    <a:pt x="3475" y="11311"/>
                    <a:pt x="3475" y="11311"/>
                    <a:pt x="3475" y="11311"/>
                  </a:cubicBezTo>
                  <a:cubicBezTo>
                    <a:pt x="3468" y="11323"/>
                    <a:pt x="3468" y="11323"/>
                    <a:pt x="3468" y="11323"/>
                  </a:cubicBezTo>
                  <a:cubicBezTo>
                    <a:pt x="3437" y="11383"/>
                    <a:pt x="3437" y="11383"/>
                    <a:pt x="3437" y="11383"/>
                  </a:cubicBezTo>
                  <a:cubicBezTo>
                    <a:pt x="3216" y="11268"/>
                    <a:pt x="3216" y="11268"/>
                    <a:pt x="3216" y="11268"/>
                  </a:cubicBezTo>
                  <a:cubicBezTo>
                    <a:pt x="3273" y="11157"/>
                    <a:pt x="3273" y="11157"/>
                    <a:pt x="3273" y="11157"/>
                  </a:cubicBezTo>
                  <a:cubicBezTo>
                    <a:pt x="3396" y="11220"/>
                    <a:pt x="3396" y="11220"/>
                    <a:pt x="3396" y="11220"/>
                  </a:cubicBezTo>
                  <a:cubicBezTo>
                    <a:pt x="3408" y="11226"/>
                    <a:pt x="3408" y="11226"/>
                    <a:pt x="3408" y="11226"/>
                  </a:cubicBezTo>
                  <a:lnTo>
                    <a:pt x="3414" y="11214"/>
                  </a:lnTo>
                  <a:close/>
                  <a:moveTo>
                    <a:pt x="2617" y="11833"/>
                  </a:moveTo>
                  <a:cubicBezTo>
                    <a:pt x="2677" y="11833"/>
                    <a:pt x="2677" y="11833"/>
                    <a:pt x="2677" y="11833"/>
                  </a:cubicBezTo>
                  <a:cubicBezTo>
                    <a:pt x="2711" y="11756"/>
                    <a:pt x="2711" y="11756"/>
                    <a:pt x="2711" y="11756"/>
                  </a:cubicBezTo>
                  <a:cubicBezTo>
                    <a:pt x="2541" y="11779"/>
                    <a:pt x="2541" y="11779"/>
                    <a:pt x="2541" y="11779"/>
                  </a:cubicBezTo>
                  <a:cubicBezTo>
                    <a:pt x="2453" y="11911"/>
                    <a:pt x="2453" y="11911"/>
                    <a:pt x="2453" y="11911"/>
                  </a:cubicBezTo>
                  <a:cubicBezTo>
                    <a:pt x="2586" y="11915"/>
                    <a:pt x="2586" y="11915"/>
                    <a:pt x="2586" y="11915"/>
                  </a:cubicBezTo>
                  <a:lnTo>
                    <a:pt x="2617" y="11833"/>
                  </a:lnTo>
                  <a:close/>
                  <a:moveTo>
                    <a:pt x="2479" y="11898"/>
                  </a:moveTo>
                  <a:cubicBezTo>
                    <a:pt x="2549" y="11792"/>
                    <a:pt x="2549" y="11792"/>
                    <a:pt x="2549" y="11792"/>
                  </a:cubicBezTo>
                  <a:cubicBezTo>
                    <a:pt x="2689" y="11773"/>
                    <a:pt x="2689" y="11773"/>
                    <a:pt x="2689" y="11773"/>
                  </a:cubicBezTo>
                  <a:cubicBezTo>
                    <a:pt x="2668" y="11819"/>
                    <a:pt x="2668" y="11819"/>
                    <a:pt x="2668" y="11819"/>
                  </a:cubicBezTo>
                  <a:cubicBezTo>
                    <a:pt x="2617" y="11819"/>
                    <a:pt x="2617" y="11819"/>
                    <a:pt x="2617" y="11819"/>
                  </a:cubicBezTo>
                  <a:cubicBezTo>
                    <a:pt x="2608" y="11819"/>
                    <a:pt x="2608" y="11819"/>
                    <a:pt x="2608" y="11819"/>
                  </a:cubicBezTo>
                  <a:cubicBezTo>
                    <a:pt x="2604" y="11828"/>
                    <a:pt x="2604" y="11828"/>
                    <a:pt x="2604" y="11828"/>
                  </a:cubicBezTo>
                  <a:cubicBezTo>
                    <a:pt x="2576" y="11901"/>
                    <a:pt x="2576" y="11901"/>
                    <a:pt x="2576" y="11901"/>
                  </a:cubicBezTo>
                  <a:lnTo>
                    <a:pt x="2479" y="11898"/>
                  </a:lnTo>
                  <a:close/>
                  <a:moveTo>
                    <a:pt x="4258" y="12577"/>
                  </a:moveTo>
                  <a:cubicBezTo>
                    <a:pt x="4224" y="12510"/>
                    <a:pt x="4224" y="12510"/>
                    <a:pt x="4224" y="12510"/>
                  </a:cubicBezTo>
                  <a:cubicBezTo>
                    <a:pt x="4145" y="12679"/>
                    <a:pt x="4145" y="12679"/>
                    <a:pt x="4145" y="12679"/>
                  </a:cubicBezTo>
                  <a:cubicBezTo>
                    <a:pt x="4251" y="12768"/>
                    <a:pt x="4251" y="12768"/>
                    <a:pt x="4251" y="12768"/>
                  </a:cubicBezTo>
                  <a:cubicBezTo>
                    <a:pt x="4292" y="12678"/>
                    <a:pt x="4292" y="12678"/>
                    <a:pt x="4292" y="12678"/>
                  </a:cubicBezTo>
                  <a:cubicBezTo>
                    <a:pt x="4245" y="12630"/>
                    <a:pt x="4245" y="12630"/>
                    <a:pt x="4245" y="12630"/>
                  </a:cubicBezTo>
                  <a:lnTo>
                    <a:pt x="4258" y="12577"/>
                  </a:lnTo>
                  <a:close/>
                  <a:moveTo>
                    <a:pt x="4276" y="12681"/>
                  </a:moveTo>
                  <a:cubicBezTo>
                    <a:pt x="4246" y="12746"/>
                    <a:pt x="4246" y="12746"/>
                    <a:pt x="4246" y="12746"/>
                  </a:cubicBezTo>
                  <a:cubicBezTo>
                    <a:pt x="4162" y="12675"/>
                    <a:pt x="4162" y="12675"/>
                    <a:pt x="4162" y="12675"/>
                  </a:cubicBezTo>
                  <a:cubicBezTo>
                    <a:pt x="4225" y="12542"/>
                    <a:pt x="4225" y="12542"/>
                    <a:pt x="4225" y="12542"/>
                  </a:cubicBezTo>
                  <a:cubicBezTo>
                    <a:pt x="4243" y="12578"/>
                    <a:pt x="4243" y="12578"/>
                    <a:pt x="4243" y="12578"/>
                  </a:cubicBezTo>
                  <a:cubicBezTo>
                    <a:pt x="4231" y="12627"/>
                    <a:pt x="4231" y="12627"/>
                    <a:pt x="4231" y="12627"/>
                  </a:cubicBezTo>
                  <a:cubicBezTo>
                    <a:pt x="4229" y="12634"/>
                    <a:pt x="4229" y="12634"/>
                    <a:pt x="4229" y="12634"/>
                  </a:cubicBezTo>
                  <a:cubicBezTo>
                    <a:pt x="4235" y="12640"/>
                    <a:pt x="4235" y="12640"/>
                    <a:pt x="4235" y="12640"/>
                  </a:cubicBezTo>
                  <a:lnTo>
                    <a:pt x="4276" y="12681"/>
                  </a:lnTo>
                  <a:close/>
                  <a:moveTo>
                    <a:pt x="4154" y="12418"/>
                  </a:moveTo>
                  <a:cubicBezTo>
                    <a:pt x="4215" y="12366"/>
                    <a:pt x="4215" y="12366"/>
                    <a:pt x="4215" y="12366"/>
                  </a:cubicBezTo>
                  <a:cubicBezTo>
                    <a:pt x="4164" y="12222"/>
                    <a:pt x="4164" y="12222"/>
                    <a:pt x="4164" y="12222"/>
                  </a:cubicBezTo>
                  <a:cubicBezTo>
                    <a:pt x="4164" y="12222"/>
                    <a:pt x="4101" y="12290"/>
                    <a:pt x="4086" y="12347"/>
                  </a:cubicBezTo>
                  <a:cubicBezTo>
                    <a:pt x="4079" y="12375"/>
                    <a:pt x="4072" y="12419"/>
                    <a:pt x="4059" y="12465"/>
                  </a:cubicBezTo>
                  <a:cubicBezTo>
                    <a:pt x="4044" y="12515"/>
                    <a:pt x="4023" y="12566"/>
                    <a:pt x="4023" y="12566"/>
                  </a:cubicBezTo>
                  <a:cubicBezTo>
                    <a:pt x="4115" y="12644"/>
                    <a:pt x="4115" y="12644"/>
                    <a:pt x="4115" y="12644"/>
                  </a:cubicBezTo>
                  <a:cubicBezTo>
                    <a:pt x="4186" y="12474"/>
                    <a:pt x="4186" y="12474"/>
                    <a:pt x="4186" y="12474"/>
                  </a:cubicBezTo>
                  <a:lnTo>
                    <a:pt x="4154" y="12418"/>
                  </a:lnTo>
                  <a:close/>
                  <a:moveTo>
                    <a:pt x="4109" y="12621"/>
                  </a:moveTo>
                  <a:cubicBezTo>
                    <a:pt x="4040" y="12562"/>
                    <a:pt x="4040" y="12562"/>
                    <a:pt x="4040" y="12562"/>
                  </a:cubicBezTo>
                  <a:cubicBezTo>
                    <a:pt x="4047" y="12545"/>
                    <a:pt x="4061" y="12507"/>
                    <a:pt x="4072" y="12469"/>
                  </a:cubicBezTo>
                  <a:cubicBezTo>
                    <a:pt x="4081" y="12440"/>
                    <a:pt x="4086" y="12412"/>
                    <a:pt x="4091" y="12388"/>
                  </a:cubicBezTo>
                  <a:cubicBezTo>
                    <a:pt x="4094" y="12374"/>
                    <a:pt x="4097" y="12361"/>
                    <a:pt x="4100" y="12351"/>
                  </a:cubicBezTo>
                  <a:cubicBezTo>
                    <a:pt x="4109" y="12315"/>
                    <a:pt x="4140" y="12272"/>
                    <a:pt x="4159" y="12249"/>
                  </a:cubicBezTo>
                  <a:cubicBezTo>
                    <a:pt x="4198" y="12362"/>
                    <a:pt x="4198" y="12362"/>
                    <a:pt x="4198" y="12362"/>
                  </a:cubicBezTo>
                  <a:cubicBezTo>
                    <a:pt x="4145" y="12408"/>
                    <a:pt x="4145" y="12408"/>
                    <a:pt x="4145" y="12408"/>
                  </a:cubicBezTo>
                  <a:cubicBezTo>
                    <a:pt x="4137" y="12415"/>
                    <a:pt x="4137" y="12415"/>
                    <a:pt x="4137" y="12415"/>
                  </a:cubicBezTo>
                  <a:cubicBezTo>
                    <a:pt x="4142" y="12425"/>
                    <a:pt x="4142" y="12425"/>
                    <a:pt x="4142" y="12425"/>
                  </a:cubicBezTo>
                  <a:cubicBezTo>
                    <a:pt x="4170" y="12475"/>
                    <a:pt x="4170" y="12475"/>
                    <a:pt x="4170" y="12475"/>
                  </a:cubicBezTo>
                  <a:lnTo>
                    <a:pt x="4109" y="12621"/>
                  </a:lnTo>
                  <a:close/>
                  <a:moveTo>
                    <a:pt x="1933" y="13165"/>
                  </a:moveTo>
                  <a:cubicBezTo>
                    <a:pt x="1916" y="13152"/>
                    <a:pt x="1916" y="13152"/>
                    <a:pt x="1916" y="13152"/>
                  </a:cubicBezTo>
                  <a:cubicBezTo>
                    <a:pt x="1940" y="13107"/>
                    <a:pt x="1940" y="13107"/>
                    <a:pt x="1940" y="13107"/>
                  </a:cubicBezTo>
                  <a:cubicBezTo>
                    <a:pt x="1896" y="13083"/>
                    <a:pt x="1896" y="13083"/>
                    <a:pt x="1896" y="13083"/>
                  </a:cubicBezTo>
                  <a:cubicBezTo>
                    <a:pt x="1934" y="13017"/>
                    <a:pt x="1934" y="13017"/>
                    <a:pt x="1934" y="13017"/>
                  </a:cubicBezTo>
                  <a:cubicBezTo>
                    <a:pt x="1864" y="12979"/>
                    <a:pt x="1864" y="12979"/>
                    <a:pt x="1864" y="12979"/>
                  </a:cubicBezTo>
                  <a:cubicBezTo>
                    <a:pt x="1896" y="12926"/>
                    <a:pt x="1896" y="12926"/>
                    <a:pt x="1896" y="12926"/>
                  </a:cubicBezTo>
                  <a:cubicBezTo>
                    <a:pt x="1918" y="12935"/>
                    <a:pt x="1918" y="12935"/>
                    <a:pt x="1918" y="12935"/>
                  </a:cubicBezTo>
                  <a:cubicBezTo>
                    <a:pt x="1950" y="12873"/>
                    <a:pt x="1950" y="12873"/>
                    <a:pt x="1950" y="12873"/>
                  </a:cubicBezTo>
                  <a:cubicBezTo>
                    <a:pt x="1917" y="12858"/>
                    <a:pt x="1917" y="12858"/>
                    <a:pt x="1917" y="12858"/>
                  </a:cubicBezTo>
                  <a:cubicBezTo>
                    <a:pt x="1956" y="12787"/>
                    <a:pt x="1956" y="12787"/>
                    <a:pt x="1956" y="12787"/>
                  </a:cubicBezTo>
                  <a:cubicBezTo>
                    <a:pt x="1892" y="12752"/>
                    <a:pt x="1892" y="12752"/>
                    <a:pt x="1892" y="12752"/>
                  </a:cubicBezTo>
                  <a:cubicBezTo>
                    <a:pt x="1921" y="12697"/>
                    <a:pt x="1921" y="12697"/>
                    <a:pt x="1921" y="12697"/>
                  </a:cubicBezTo>
                  <a:cubicBezTo>
                    <a:pt x="1941" y="12704"/>
                    <a:pt x="1941" y="12704"/>
                    <a:pt x="1941" y="12704"/>
                  </a:cubicBezTo>
                  <a:cubicBezTo>
                    <a:pt x="1971" y="12651"/>
                    <a:pt x="1971" y="12651"/>
                    <a:pt x="1971" y="12651"/>
                  </a:cubicBezTo>
                  <a:cubicBezTo>
                    <a:pt x="2016" y="12675"/>
                    <a:pt x="2016" y="12675"/>
                    <a:pt x="2016" y="12675"/>
                  </a:cubicBezTo>
                  <a:cubicBezTo>
                    <a:pt x="2053" y="12604"/>
                    <a:pt x="2053" y="12604"/>
                    <a:pt x="2053" y="12604"/>
                  </a:cubicBezTo>
                  <a:cubicBezTo>
                    <a:pt x="1989" y="12567"/>
                    <a:pt x="1989" y="12567"/>
                    <a:pt x="1989" y="12567"/>
                  </a:cubicBezTo>
                  <a:cubicBezTo>
                    <a:pt x="2019" y="12513"/>
                    <a:pt x="2019" y="12513"/>
                    <a:pt x="2019" y="12513"/>
                  </a:cubicBezTo>
                  <a:cubicBezTo>
                    <a:pt x="2038" y="12519"/>
                    <a:pt x="2038" y="12519"/>
                    <a:pt x="2038" y="12519"/>
                  </a:cubicBezTo>
                  <a:cubicBezTo>
                    <a:pt x="2070" y="12460"/>
                    <a:pt x="2070" y="12460"/>
                    <a:pt x="2070" y="12460"/>
                  </a:cubicBezTo>
                  <a:cubicBezTo>
                    <a:pt x="1965" y="12400"/>
                    <a:pt x="1965" y="12400"/>
                    <a:pt x="1965" y="12400"/>
                  </a:cubicBezTo>
                  <a:cubicBezTo>
                    <a:pt x="1939" y="12444"/>
                    <a:pt x="1939" y="12444"/>
                    <a:pt x="1939" y="12444"/>
                  </a:cubicBezTo>
                  <a:cubicBezTo>
                    <a:pt x="1922" y="12438"/>
                    <a:pt x="1922" y="12438"/>
                    <a:pt x="1922" y="12438"/>
                  </a:cubicBezTo>
                  <a:cubicBezTo>
                    <a:pt x="1840" y="12578"/>
                    <a:pt x="1840" y="12578"/>
                    <a:pt x="1840" y="12578"/>
                  </a:cubicBezTo>
                  <a:cubicBezTo>
                    <a:pt x="1862" y="12593"/>
                    <a:pt x="1862" y="12593"/>
                    <a:pt x="1862" y="12593"/>
                  </a:cubicBezTo>
                  <a:cubicBezTo>
                    <a:pt x="1840" y="12629"/>
                    <a:pt x="1840" y="12629"/>
                    <a:pt x="1840" y="12629"/>
                  </a:cubicBezTo>
                  <a:cubicBezTo>
                    <a:pt x="1824" y="12621"/>
                    <a:pt x="1824" y="12621"/>
                    <a:pt x="1824" y="12621"/>
                  </a:cubicBezTo>
                  <a:cubicBezTo>
                    <a:pt x="1742" y="12763"/>
                    <a:pt x="1742" y="12763"/>
                    <a:pt x="1742" y="12763"/>
                  </a:cubicBezTo>
                  <a:cubicBezTo>
                    <a:pt x="1838" y="12818"/>
                    <a:pt x="1838" y="12818"/>
                    <a:pt x="1838" y="12818"/>
                  </a:cubicBezTo>
                  <a:cubicBezTo>
                    <a:pt x="1814" y="12858"/>
                    <a:pt x="1814" y="12858"/>
                    <a:pt x="1814" y="12858"/>
                  </a:cubicBezTo>
                  <a:cubicBezTo>
                    <a:pt x="1795" y="12852"/>
                    <a:pt x="1795" y="12852"/>
                    <a:pt x="1795" y="12852"/>
                  </a:cubicBezTo>
                  <a:cubicBezTo>
                    <a:pt x="1720" y="12992"/>
                    <a:pt x="1720" y="12992"/>
                    <a:pt x="1720" y="12992"/>
                  </a:cubicBezTo>
                  <a:cubicBezTo>
                    <a:pt x="1827" y="13055"/>
                    <a:pt x="1827" y="13055"/>
                    <a:pt x="1827" y="13055"/>
                  </a:cubicBezTo>
                  <a:cubicBezTo>
                    <a:pt x="1801" y="13113"/>
                    <a:pt x="1801" y="13113"/>
                    <a:pt x="1801" y="13113"/>
                  </a:cubicBezTo>
                  <a:cubicBezTo>
                    <a:pt x="1815" y="13121"/>
                    <a:pt x="1815" y="13121"/>
                    <a:pt x="1815" y="13121"/>
                  </a:cubicBezTo>
                  <a:cubicBezTo>
                    <a:pt x="1786" y="13176"/>
                    <a:pt x="1786" y="13176"/>
                    <a:pt x="1786" y="13176"/>
                  </a:cubicBezTo>
                  <a:cubicBezTo>
                    <a:pt x="1719" y="13142"/>
                    <a:pt x="1719" y="13142"/>
                    <a:pt x="1719" y="13142"/>
                  </a:cubicBezTo>
                  <a:cubicBezTo>
                    <a:pt x="1682" y="13212"/>
                    <a:pt x="1682" y="13212"/>
                    <a:pt x="1682" y="13212"/>
                  </a:cubicBezTo>
                  <a:cubicBezTo>
                    <a:pt x="1856" y="13305"/>
                    <a:pt x="1856" y="13305"/>
                    <a:pt x="1856" y="13305"/>
                  </a:cubicBezTo>
                  <a:lnTo>
                    <a:pt x="1933" y="13165"/>
                  </a:lnTo>
                  <a:close/>
                  <a:moveTo>
                    <a:pt x="1701" y="13206"/>
                  </a:moveTo>
                  <a:cubicBezTo>
                    <a:pt x="1725" y="13160"/>
                    <a:pt x="1725" y="13160"/>
                    <a:pt x="1725" y="13160"/>
                  </a:cubicBezTo>
                  <a:cubicBezTo>
                    <a:pt x="1780" y="13188"/>
                    <a:pt x="1780" y="13188"/>
                    <a:pt x="1780" y="13188"/>
                  </a:cubicBezTo>
                  <a:cubicBezTo>
                    <a:pt x="1792" y="13194"/>
                    <a:pt x="1792" y="13194"/>
                    <a:pt x="1792" y="13194"/>
                  </a:cubicBezTo>
                  <a:cubicBezTo>
                    <a:pt x="1799" y="13182"/>
                    <a:pt x="1799" y="13182"/>
                    <a:pt x="1799" y="13182"/>
                  </a:cubicBezTo>
                  <a:cubicBezTo>
                    <a:pt x="1827" y="13128"/>
                    <a:pt x="1827" y="13128"/>
                    <a:pt x="1827" y="13128"/>
                  </a:cubicBezTo>
                  <a:cubicBezTo>
                    <a:pt x="1834" y="13116"/>
                    <a:pt x="1834" y="13116"/>
                    <a:pt x="1834" y="13116"/>
                  </a:cubicBezTo>
                  <a:cubicBezTo>
                    <a:pt x="1822" y="13109"/>
                    <a:pt x="1822" y="13109"/>
                    <a:pt x="1822" y="13109"/>
                  </a:cubicBezTo>
                  <a:cubicBezTo>
                    <a:pt x="1819" y="13107"/>
                    <a:pt x="1819" y="13107"/>
                    <a:pt x="1819" y="13107"/>
                  </a:cubicBezTo>
                  <a:cubicBezTo>
                    <a:pt x="1840" y="13061"/>
                    <a:pt x="1840" y="13061"/>
                    <a:pt x="1840" y="13061"/>
                  </a:cubicBezTo>
                  <a:cubicBezTo>
                    <a:pt x="1845" y="13049"/>
                    <a:pt x="1845" y="13049"/>
                    <a:pt x="1845" y="13049"/>
                  </a:cubicBezTo>
                  <a:cubicBezTo>
                    <a:pt x="1834" y="13043"/>
                    <a:pt x="1834" y="13043"/>
                    <a:pt x="1834" y="13043"/>
                  </a:cubicBezTo>
                  <a:cubicBezTo>
                    <a:pt x="1738" y="12987"/>
                    <a:pt x="1738" y="12987"/>
                    <a:pt x="1738" y="12987"/>
                  </a:cubicBezTo>
                  <a:cubicBezTo>
                    <a:pt x="1802" y="12869"/>
                    <a:pt x="1802" y="12869"/>
                    <a:pt x="1802" y="12869"/>
                  </a:cubicBezTo>
                  <a:cubicBezTo>
                    <a:pt x="1810" y="12871"/>
                    <a:pt x="1810" y="12871"/>
                    <a:pt x="1810" y="12871"/>
                  </a:cubicBezTo>
                  <a:cubicBezTo>
                    <a:pt x="1820" y="12875"/>
                    <a:pt x="1820" y="12875"/>
                    <a:pt x="1820" y="12875"/>
                  </a:cubicBezTo>
                  <a:cubicBezTo>
                    <a:pt x="1826" y="12865"/>
                    <a:pt x="1826" y="12865"/>
                    <a:pt x="1826" y="12865"/>
                  </a:cubicBezTo>
                  <a:cubicBezTo>
                    <a:pt x="1850" y="12825"/>
                    <a:pt x="1850" y="12825"/>
                    <a:pt x="1850" y="12825"/>
                  </a:cubicBezTo>
                  <a:cubicBezTo>
                    <a:pt x="1857" y="12813"/>
                    <a:pt x="1857" y="12813"/>
                    <a:pt x="1857" y="12813"/>
                  </a:cubicBezTo>
                  <a:cubicBezTo>
                    <a:pt x="1845" y="12806"/>
                    <a:pt x="1845" y="12806"/>
                    <a:pt x="1845" y="12806"/>
                  </a:cubicBezTo>
                  <a:cubicBezTo>
                    <a:pt x="1761" y="12758"/>
                    <a:pt x="1761" y="12758"/>
                    <a:pt x="1761" y="12758"/>
                  </a:cubicBezTo>
                  <a:cubicBezTo>
                    <a:pt x="1830" y="12640"/>
                    <a:pt x="1830" y="12640"/>
                    <a:pt x="1830" y="12640"/>
                  </a:cubicBezTo>
                  <a:cubicBezTo>
                    <a:pt x="1833" y="12642"/>
                    <a:pt x="1833" y="12642"/>
                    <a:pt x="1833" y="12642"/>
                  </a:cubicBezTo>
                  <a:cubicBezTo>
                    <a:pt x="1845" y="12648"/>
                    <a:pt x="1845" y="12648"/>
                    <a:pt x="1845" y="12648"/>
                  </a:cubicBezTo>
                  <a:cubicBezTo>
                    <a:pt x="1851" y="12637"/>
                    <a:pt x="1851" y="12637"/>
                    <a:pt x="1851" y="12637"/>
                  </a:cubicBezTo>
                  <a:cubicBezTo>
                    <a:pt x="1874" y="12600"/>
                    <a:pt x="1874" y="12600"/>
                    <a:pt x="1874" y="12600"/>
                  </a:cubicBezTo>
                  <a:cubicBezTo>
                    <a:pt x="1881" y="12588"/>
                    <a:pt x="1881" y="12588"/>
                    <a:pt x="1881" y="12588"/>
                  </a:cubicBezTo>
                  <a:cubicBezTo>
                    <a:pt x="1870" y="12581"/>
                    <a:pt x="1870" y="12581"/>
                    <a:pt x="1870" y="12581"/>
                  </a:cubicBezTo>
                  <a:cubicBezTo>
                    <a:pt x="1858" y="12574"/>
                    <a:pt x="1858" y="12574"/>
                    <a:pt x="1858" y="12574"/>
                  </a:cubicBezTo>
                  <a:cubicBezTo>
                    <a:pt x="1928" y="12455"/>
                    <a:pt x="1928" y="12455"/>
                    <a:pt x="1928" y="12455"/>
                  </a:cubicBezTo>
                  <a:cubicBezTo>
                    <a:pt x="1934" y="12457"/>
                    <a:pt x="1934" y="12457"/>
                    <a:pt x="1934" y="12457"/>
                  </a:cubicBezTo>
                  <a:cubicBezTo>
                    <a:pt x="1945" y="12461"/>
                    <a:pt x="1945" y="12461"/>
                    <a:pt x="1945" y="12461"/>
                  </a:cubicBezTo>
                  <a:cubicBezTo>
                    <a:pt x="1951" y="12451"/>
                    <a:pt x="1951" y="12451"/>
                    <a:pt x="1951" y="12451"/>
                  </a:cubicBezTo>
                  <a:cubicBezTo>
                    <a:pt x="1970" y="12419"/>
                    <a:pt x="1970" y="12419"/>
                    <a:pt x="1970" y="12419"/>
                  </a:cubicBezTo>
                  <a:cubicBezTo>
                    <a:pt x="2051" y="12466"/>
                    <a:pt x="2051" y="12466"/>
                    <a:pt x="2051" y="12466"/>
                  </a:cubicBezTo>
                  <a:cubicBezTo>
                    <a:pt x="2032" y="12502"/>
                    <a:pt x="2032" y="12502"/>
                    <a:pt x="2032" y="12502"/>
                  </a:cubicBezTo>
                  <a:cubicBezTo>
                    <a:pt x="2023" y="12499"/>
                    <a:pt x="2023" y="12499"/>
                    <a:pt x="2023" y="12499"/>
                  </a:cubicBezTo>
                  <a:cubicBezTo>
                    <a:pt x="2012" y="12496"/>
                    <a:pt x="2012" y="12496"/>
                    <a:pt x="2012" y="12496"/>
                  </a:cubicBezTo>
                  <a:cubicBezTo>
                    <a:pt x="2007" y="12506"/>
                    <a:pt x="2007" y="12506"/>
                    <a:pt x="2007" y="12506"/>
                  </a:cubicBezTo>
                  <a:cubicBezTo>
                    <a:pt x="1977" y="12560"/>
                    <a:pt x="1977" y="12560"/>
                    <a:pt x="1977" y="12560"/>
                  </a:cubicBezTo>
                  <a:cubicBezTo>
                    <a:pt x="1970" y="12572"/>
                    <a:pt x="1970" y="12572"/>
                    <a:pt x="1970" y="12572"/>
                  </a:cubicBezTo>
                  <a:cubicBezTo>
                    <a:pt x="1982" y="12579"/>
                    <a:pt x="1982" y="12579"/>
                    <a:pt x="1982" y="12579"/>
                  </a:cubicBezTo>
                  <a:cubicBezTo>
                    <a:pt x="2034" y="12609"/>
                    <a:pt x="2034" y="12609"/>
                    <a:pt x="2034" y="12609"/>
                  </a:cubicBezTo>
                  <a:cubicBezTo>
                    <a:pt x="2010" y="12656"/>
                    <a:pt x="2010" y="12656"/>
                    <a:pt x="2010" y="12656"/>
                  </a:cubicBezTo>
                  <a:cubicBezTo>
                    <a:pt x="1977" y="12639"/>
                    <a:pt x="1977" y="12639"/>
                    <a:pt x="1977" y="12639"/>
                  </a:cubicBezTo>
                  <a:cubicBezTo>
                    <a:pt x="1965" y="12632"/>
                    <a:pt x="1965" y="12632"/>
                    <a:pt x="1965" y="12632"/>
                  </a:cubicBezTo>
                  <a:cubicBezTo>
                    <a:pt x="1959" y="12644"/>
                    <a:pt x="1959" y="12644"/>
                    <a:pt x="1959" y="12644"/>
                  </a:cubicBezTo>
                  <a:cubicBezTo>
                    <a:pt x="1935" y="12687"/>
                    <a:pt x="1935" y="12687"/>
                    <a:pt x="1935" y="12687"/>
                  </a:cubicBezTo>
                  <a:cubicBezTo>
                    <a:pt x="1925" y="12684"/>
                    <a:pt x="1925" y="12684"/>
                    <a:pt x="1925" y="12684"/>
                  </a:cubicBezTo>
                  <a:cubicBezTo>
                    <a:pt x="1914" y="12680"/>
                    <a:pt x="1914" y="12680"/>
                    <a:pt x="1914" y="12680"/>
                  </a:cubicBezTo>
                  <a:cubicBezTo>
                    <a:pt x="1908" y="12691"/>
                    <a:pt x="1908" y="12691"/>
                    <a:pt x="1908" y="12691"/>
                  </a:cubicBezTo>
                  <a:cubicBezTo>
                    <a:pt x="1879" y="12746"/>
                    <a:pt x="1879" y="12746"/>
                    <a:pt x="1879" y="12746"/>
                  </a:cubicBezTo>
                  <a:cubicBezTo>
                    <a:pt x="1873" y="12758"/>
                    <a:pt x="1873" y="12758"/>
                    <a:pt x="1873" y="12758"/>
                  </a:cubicBezTo>
                  <a:cubicBezTo>
                    <a:pt x="1885" y="12765"/>
                    <a:pt x="1885" y="12765"/>
                    <a:pt x="1885" y="12765"/>
                  </a:cubicBezTo>
                  <a:cubicBezTo>
                    <a:pt x="1937" y="12793"/>
                    <a:pt x="1937" y="12793"/>
                    <a:pt x="1937" y="12793"/>
                  </a:cubicBezTo>
                  <a:cubicBezTo>
                    <a:pt x="1905" y="12851"/>
                    <a:pt x="1905" y="12851"/>
                    <a:pt x="1905" y="12851"/>
                  </a:cubicBezTo>
                  <a:cubicBezTo>
                    <a:pt x="1898" y="12864"/>
                    <a:pt x="1898" y="12864"/>
                    <a:pt x="1898" y="12864"/>
                  </a:cubicBezTo>
                  <a:cubicBezTo>
                    <a:pt x="1912" y="12871"/>
                    <a:pt x="1912" y="12871"/>
                    <a:pt x="1912" y="12871"/>
                  </a:cubicBezTo>
                  <a:cubicBezTo>
                    <a:pt x="1931" y="12880"/>
                    <a:pt x="1931" y="12880"/>
                    <a:pt x="1931" y="12880"/>
                  </a:cubicBezTo>
                  <a:cubicBezTo>
                    <a:pt x="1912" y="12917"/>
                    <a:pt x="1912" y="12917"/>
                    <a:pt x="1912" y="12917"/>
                  </a:cubicBezTo>
                  <a:cubicBezTo>
                    <a:pt x="1901" y="12913"/>
                    <a:pt x="1901" y="12913"/>
                    <a:pt x="1901" y="12913"/>
                  </a:cubicBezTo>
                  <a:cubicBezTo>
                    <a:pt x="1890" y="12908"/>
                    <a:pt x="1890" y="12908"/>
                    <a:pt x="1890" y="12908"/>
                  </a:cubicBezTo>
                  <a:cubicBezTo>
                    <a:pt x="1884" y="12918"/>
                    <a:pt x="1884" y="12918"/>
                    <a:pt x="1884" y="12918"/>
                  </a:cubicBezTo>
                  <a:cubicBezTo>
                    <a:pt x="1852" y="12972"/>
                    <a:pt x="1852" y="12972"/>
                    <a:pt x="1852" y="12972"/>
                  </a:cubicBezTo>
                  <a:cubicBezTo>
                    <a:pt x="1845" y="12984"/>
                    <a:pt x="1845" y="12984"/>
                    <a:pt x="1845" y="12984"/>
                  </a:cubicBezTo>
                  <a:cubicBezTo>
                    <a:pt x="1858" y="12991"/>
                    <a:pt x="1858" y="12991"/>
                    <a:pt x="1858" y="12991"/>
                  </a:cubicBezTo>
                  <a:cubicBezTo>
                    <a:pt x="1915" y="13022"/>
                    <a:pt x="1915" y="13022"/>
                    <a:pt x="1915" y="13022"/>
                  </a:cubicBezTo>
                  <a:cubicBezTo>
                    <a:pt x="1884" y="13077"/>
                    <a:pt x="1884" y="13077"/>
                    <a:pt x="1884" y="13077"/>
                  </a:cubicBezTo>
                  <a:cubicBezTo>
                    <a:pt x="1877" y="13089"/>
                    <a:pt x="1877" y="13089"/>
                    <a:pt x="1877" y="13089"/>
                  </a:cubicBezTo>
                  <a:cubicBezTo>
                    <a:pt x="1889" y="13096"/>
                    <a:pt x="1889" y="13096"/>
                    <a:pt x="1889" y="13096"/>
                  </a:cubicBezTo>
                  <a:cubicBezTo>
                    <a:pt x="1921" y="13113"/>
                    <a:pt x="1921" y="13113"/>
                    <a:pt x="1921" y="13113"/>
                  </a:cubicBezTo>
                  <a:cubicBezTo>
                    <a:pt x="1904" y="13146"/>
                    <a:pt x="1904" y="13146"/>
                    <a:pt x="1904" y="13146"/>
                  </a:cubicBezTo>
                  <a:cubicBezTo>
                    <a:pt x="1899" y="13156"/>
                    <a:pt x="1899" y="13156"/>
                    <a:pt x="1899" y="13156"/>
                  </a:cubicBezTo>
                  <a:cubicBezTo>
                    <a:pt x="1908" y="13163"/>
                    <a:pt x="1908" y="13163"/>
                    <a:pt x="1908" y="13163"/>
                  </a:cubicBezTo>
                  <a:cubicBezTo>
                    <a:pt x="1915" y="13169"/>
                    <a:pt x="1915" y="13169"/>
                    <a:pt x="1915" y="13169"/>
                  </a:cubicBezTo>
                  <a:cubicBezTo>
                    <a:pt x="1850" y="13286"/>
                    <a:pt x="1850" y="13286"/>
                    <a:pt x="1850" y="13286"/>
                  </a:cubicBezTo>
                  <a:lnTo>
                    <a:pt x="1701" y="13206"/>
                  </a:lnTo>
                  <a:close/>
                  <a:moveTo>
                    <a:pt x="2972" y="11092"/>
                  </a:moveTo>
                  <a:cubicBezTo>
                    <a:pt x="2977" y="11153"/>
                    <a:pt x="2977" y="11153"/>
                    <a:pt x="2977" y="11153"/>
                  </a:cubicBezTo>
                  <a:cubicBezTo>
                    <a:pt x="3010" y="11167"/>
                    <a:pt x="3010" y="11167"/>
                    <a:pt x="3010" y="11167"/>
                  </a:cubicBezTo>
                  <a:cubicBezTo>
                    <a:pt x="2979" y="11276"/>
                    <a:pt x="2979" y="11276"/>
                    <a:pt x="2979" y="11276"/>
                  </a:cubicBezTo>
                  <a:cubicBezTo>
                    <a:pt x="3034" y="11337"/>
                    <a:pt x="3034" y="11337"/>
                    <a:pt x="3034" y="11337"/>
                  </a:cubicBezTo>
                  <a:cubicBezTo>
                    <a:pt x="3139" y="11197"/>
                    <a:pt x="3139" y="11197"/>
                    <a:pt x="3139" y="11197"/>
                  </a:cubicBezTo>
                  <a:cubicBezTo>
                    <a:pt x="3161" y="11140"/>
                    <a:pt x="3161" y="11140"/>
                    <a:pt x="3161" y="11140"/>
                  </a:cubicBezTo>
                  <a:cubicBezTo>
                    <a:pt x="3094" y="10998"/>
                    <a:pt x="3094" y="10998"/>
                    <a:pt x="3094" y="10998"/>
                  </a:cubicBezTo>
                  <a:cubicBezTo>
                    <a:pt x="2883" y="10916"/>
                    <a:pt x="2883" y="10916"/>
                    <a:pt x="2883" y="10916"/>
                  </a:cubicBezTo>
                  <a:cubicBezTo>
                    <a:pt x="2798" y="11028"/>
                    <a:pt x="2798" y="11028"/>
                    <a:pt x="2798" y="11028"/>
                  </a:cubicBezTo>
                  <a:lnTo>
                    <a:pt x="2972" y="11092"/>
                  </a:lnTo>
                  <a:close/>
                  <a:moveTo>
                    <a:pt x="2888" y="10932"/>
                  </a:moveTo>
                  <a:cubicBezTo>
                    <a:pt x="3083" y="11009"/>
                    <a:pt x="3083" y="11009"/>
                    <a:pt x="3083" y="11009"/>
                  </a:cubicBezTo>
                  <a:cubicBezTo>
                    <a:pt x="3145" y="11141"/>
                    <a:pt x="3145" y="11141"/>
                    <a:pt x="3145" y="11141"/>
                  </a:cubicBezTo>
                  <a:cubicBezTo>
                    <a:pt x="3127" y="11190"/>
                    <a:pt x="3127" y="11190"/>
                    <a:pt x="3127" y="11190"/>
                  </a:cubicBezTo>
                  <a:cubicBezTo>
                    <a:pt x="3033" y="11315"/>
                    <a:pt x="3033" y="11315"/>
                    <a:pt x="3033" y="11315"/>
                  </a:cubicBezTo>
                  <a:cubicBezTo>
                    <a:pt x="2995" y="11272"/>
                    <a:pt x="2995" y="11272"/>
                    <a:pt x="2995" y="11272"/>
                  </a:cubicBezTo>
                  <a:cubicBezTo>
                    <a:pt x="3024" y="11171"/>
                    <a:pt x="3024" y="11171"/>
                    <a:pt x="3024" y="11171"/>
                  </a:cubicBezTo>
                  <a:cubicBezTo>
                    <a:pt x="3027" y="11159"/>
                    <a:pt x="3027" y="11159"/>
                    <a:pt x="3027" y="11159"/>
                  </a:cubicBezTo>
                  <a:cubicBezTo>
                    <a:pt x="3016" y="11154"/>
                    <a:pt x="3016" y="11154"/>
                    <a:pt x="3016" y="11154"/>
                  </a:cubicBezTo>
                  <a:cubicBezTo>
                    <a:pt x="2990" y="11143"/>
                    <a:pt x="2990" y="11143"/>
                    <a:pt x="2990" y="11143"/>
                  </a:cubicBezTo>
                  <a:cubicBezTo>
                    <a:pt x="2986" y="11091"/>
                    <a:pt x="2986" y="11091"/>
                    <a:pt x="2986" y="11091"/>
                  </a:cubicBezTo>
                  <a:cubicBezTo>
                    <a:pt x="2986" y="11082"/>
                    <a:pt x="2986" y="11082"/>
                    <a:pt x="2986" y="11082"/>
                  </a:cubicBezTo>
                  <a:cubicBezTo>
                    <a:pt x="2977" y="11079"/>
                    <a:pt x="2977" y="11079"/>
                    <a:pt x="2977" y="11079"/>
                  </a:cubicBezTo>
                  <a:cubicBezTo>
                    <a:pt x="2820" y="11021"/>
                    <a:pt x="2820" y="11021"/>
                    <a:pt x="2820" y="11021"/>
                  </a:cubicBezTo>
                  <a:lnTo>
                    <a:pt x="2888" y="10932"/>
                  </a:lnTo>
                  <a:close/>
                  <a:moveTo>
                    <a:pt x="2647" y="12029"/>
                  </a:moveTo>
                  <a:cubicBezTo>
                    <a:pt x="2874" y="12041"/>
                    <a:pt x="2874" y="12041"/>
                    <a:pt x="2874" y="12041"/>
                  </a:cubicBezTo>
                  <a:cubicBezTo>
                    <a:pt x="2955" y="11795"/>
                    <a:pt x="2955" y="11795"/>
                    <a:pt x="2955" y="11795"/>
                  </a:cubicBezTo>
                  <a:cubicBezTo>
                    <a:pt x="2830" y="11803"/>
                    <a:pt x="2830" y="11803"/>
                    <a:pt x="2830" y="11803"/>
                  </a:cubicBezTo>
                  <a:cubicBezTo>
                    <a:pt x="2795" y="11909"/>
                    <a:pt x="2795" y="11909"/>
                    <a:pt x="2795" y="11909"/>
                  </a:cubicBezTo>
                  <a:cubicBezTo>
                    <a:pt x="2690" y="11909"/>
                    <a:pt x="2690" y="11909"/>
                    <a:pt x="2690" y="11909"/>
                  </a:cubicBezTo>
                  <a:lnTo>
                    <a:pt x="2647" y="12029"/>
                  </a:lnTo>
                  <a:close/>
                  <a:moveTo>
                    <a:pt x="2795" y="11923"/>
                  </a:moveTo>
                  <a:cubicBezTo>
                    <a:pt x="2805" y="11923"/>
                    <a:pt x="2805" y="11923"/>
                    <a:pt x="2805" y="11923"/>
                  </a:cubicBezTo>
                  <a:cubicBezTo>
                    <a:pt x="2808" y="11913"/>
                    <a:pt x="2808" y="11913"/>
                    <a:pt x="2808" y="11913"/>
                  </a:cubicBezTo>
                  <a:cubicBezTo>
                    <a:pt x="2840" y="11817"/>
                    <a:pt x="2840" y="11817"/>
                    <a:pt x="2840" y="11817"/>
                  </a:cubicBezTo>
                  <a:cubicBezTo>
                    <a:pt x="2935" y="11810"/>
                    <a:pt x="2935" y="11810"/>
                    <a:pt x="2935" y="11810"/>
                  </a:cubicBezTo>
                  <a:cubicBezTo>
                    <a:pt x="2864" y="12027"/>
                    <a:pt x="2864" y="12027"/>
                    <a:pt x="2864" y="12027"/>
                  </a:cubicBezTo>
                  <a:cubicBezTo>
                    <a:pt x="2666" y="12016"/>
                    <a:pt x="2666" y="12016"/>
                    <a:pt x="2666" y="12016"/>
                  </a:cubicBezTo>
                  <a:cubicBezTo>
                    <a:pt x="2699" y="11923"/>
                    <a:pt x="2699" y="11923"/>
                    <a:pt x="2699" y="11923"/>
                  </a:cubicBezTo>
                  <a:lnTo>
                    <a:pt x="2795" y="11923"/>
                  </a:lnTo>
                  <a:close/>
                  <a:moveTo>
                    <a:pt x="4125" y="12015"/>
                  </a:moveTo>
                  <a:cubicBezTo>
                    <a:pt x="4082" y="11943"/>
                    <a:pt x="4082" y="11943"/>
                    <a:pt x="4082" y="11943"/>
                  </a:cubicBezTo>
                  <a:cubicBezTo>
                    <a:pt x="3996" y="11994"/>
                    <a:pt x="3996" y="11994"/>
                    <a:pt x="3996" y="11994"/>
                  </a:cubicBezTo>
                  <a:cubicBezTo>
                    <a:pt x="4012" y="12021"/>
                    <a:pt x="4012" y="12021"/>
                    <a:pt x="4012" y="12021"/>
                  </a:cubicBezTo>
                  <a:cubicBezTo>
                    <a:pt x="3928" y="12074"/>
                    <a:pt x="3928" y="12074"/>
                    <a:pt x="3928" y="12074"/>
                  </a:cubicBezTo>
                  <a:cubicBezTo>
                    <a:pt x="3981" y="12163"/>
                    <a:pt x="3981" y="12163"/>
                    <a:pt x="3981" y="12163"/>
                  </a:cubicBezTo>
                  <a:cubicBezTo>
                    <a:pt x="4136" y="12068"/>
                    <a:pt x="4136" y="12068"/>
                    <a:pt x="4136" y="12068"/>
                  </a:cubicBezTo>
                  <a:cubicBezTo>
                    <a:pt x="4107" y="12026"/>
                    <a:pt x="4107" y="12026"/>
                    <a:pt x="4107" y="12026"/>
                  </a:cubicBezTo>
                  <a:lnTo>
                    <a:pt x="4125" y="12015"/>
                  </a:lnTo>
                  <a:close/>
                  <a:moveTo>
                    <a:pt x="4116" y="12064"/>
                  </a:moveTo>
                  <a:cubicBezTo>
                    <a:pt x="3986" y="12143"/>
                    <a:pt x="3986" y="12143"/>
                    <a:pt x="3986" y="12143"/>
                  </a:cubicBezTo>
                  <a:cubicBezTo>
                    <a:pt x="3947" y="12079"/>
                    <a:pt x="3947" y="12079"/>
                    <a:pt x="3947" y="12079"/>
                  </a:cubicBezTo>
                  <a:cubicBezTo>
                    <a:pt x="4020" y="12033"/>
                    <a:pt x="4020" y="12033"/>
                    <a:pt x="4020" y="12033"/>
                  </a:cubicBezTo>
                  <a:cubicBezTo>
                    <a:pt x="4032" y="12026"/>
                    <a:pt x="4032" y="12026"/>
                    <a:pt x="4032" y="12026"/>
                  </a:cubicBezTo>
                  <a:cubicBezTo>
                    <a:pt x="4024" y="12014"/>
                    <a:pt x="4024" y="12014"/>
                    <a:pt x="4024" y="12014"/>
                  </a:cubicBezTo>
                  <a:cubicBezTo>
                    <a:pt x="4015" y="11999"/>
                    <a:pt x="4015" y="11999"/>
                    <a:pt x="4015" y="11999"/>
                  </a:cubicBezTo>
                  <a:cubicBezTo>
                    <a:pt x="4077" y="11962"/>
                    <a:pt x="4077" y="11962"/>
                    <a:pt x="4077" y="11962"/>
                  </a:cubicBezTo>
                  <a:cubicBezTo>
                    <a:pt x="4106" y="12010"/>
                    <a:pt x="4106" y="12010"/>
                    <a:pt x="4106" y="12010"/>
                  </a:cubicBezTo>
                  <a:cubicBezTo>
                    <a:pt x="4100" y="12014"/>
                    <a:pt x="4100" y="12014"/>
                    <a:pt x="4100" y="12014"/>
                  </a:cubicBezTo>
                  <a:cubicBezTo>
                    <a:pt x="4087" y="12021"/>
                    <a:pt x="4087" y="12021"/>
                    <a:pt x="4087" y="12021"/>
                  </a:cubicBezTo>
                  <a:cubicBezTo>
                    <a:pt x="4095" y="12034"/>
                    <a:pt x="4095" y="12034"/>
                    <a:pt x="4095" y="12034"/>
                  </a:cubicBezTo>
                  <a:lnTo>
                    <a:pt x="4116" y="12064"/>
                  </a:lnTo>
                  <a:close/>
                  <a:moveTo>
                    <a:pt x="1160" y="12347"/>
                  </a:moveTo>
                  <a:cubicBezTo>
                    <a:pt x="1383" y="12127"/>
                    <a:pt x="1383" y="12127"/>
                    <a:pt x="1383" y="12127"/>
                  </a:cubicBezTo>
                  <a:cubicBezTo>
                    <a:pt x="1323" y="12002"/>
                    <a:pt x="1323" y="12002"/>
                    <a:pt x="1323" y="12002"/>
                  </a:cubicBezTo>
                  <a:cubicBezTo>
                    <a:pt x="1152" y="12022"/>
                    <a:pt x="1152" y="12022"/>
                    <a:pt x="1152" y="12022"/>
                  </a:cubicBezTo>
                  <a:cubicBezTo>
                    <a:pt x="1119" y="11987"/>
                    <a:pt x="1119" y="11987"/>
                    <a:pt x="1119" y="11987"/>
                  </a:cubicBezTo>
                  <a:cubicBezTo>
                    <a:pt x="1018" y="12002"/>
                    <a:pt x="1018" y="12002"/>
                    <a:pt x="1018" y="12002"/>
                  </a:cubicBezTo>
                  <a:cubicBezTo>
                    <a:pt x="1048" y="12049"/>
                    <a:pt x="1048" y="12049"/>
                    <a:pt x="1048" y="12049"/>
                  </a:cubicBezTo>
                  <a:cubicBezTo>
                    <a:pt x="983" y="12112"/>
                    <a:pt x="983" y="12112"/>
                    <a:pt x="983" y="12112"/>
                  </a:cubicBezTo>
                  <a:lnTo>
                    <a:pt x="1160" y="12347"/>
                  </a:lnTo>
                  <a:close/>
                  <a:moveTo>
                    <a:pt x="1060" y="12042"/>
                  </a:moveTo>
                  <a:cubicBezTo>
                    <a:pt x="1041" y="12012"/>
                    <a:pt x="1041" y="12012"/>
                    <a:pt x="1041" y="12012"/>
                  </a:cubicBezTo>
                  <a:cubicBezTo>
                    <a:pt x="1114" y="12001"/>
                    <a:pt x="1114" y="12001"/>
                    <a:pt x="1114" y="12001"/>
                  </a:cubicBezTo>
                  <a:cubicBezTo>
                    <a:pt x="1142" y="12031"/>
                    <a:pt x="1142" y="12031"/>
                    <a:pt x="1142" y="12031"/>
                  </a:cubicBezTo>
                  <a:cubicBezTo>
                    <a:pt x="1147" y="12037"/>
                    <a:pt x="1147" y="12037"/>
                    <a:pt x="1147" y="12037"/>
                  </a:cubicBezTo>
                  <a:cubicBezTo>
                    <a:pt x="1154" y="12036"/>
                    <a:pt x="1154" y="12036"/>
                    <a:pt x="1154" y="12036"/>
                  </a:cubicBezTo>
                  <a:cubicBezTo>
                    <a:pt x="1315" y="12017"/>
                    <a:pt x="1315" y="12017"/>
                    <a:pt x="1315" y="12017"/>
                  </a:cubicBezTo>
                  <a:cubicBezTo>
                    <a:pt x="1366" y="12124"/>
                    <a:pt x="1366" y="12124"/>
                    <a:pt x="1366" y="12124"/>
                  </a:cubicBezTo>
                  <a:cubicBezTo>
                    <a:pt x="1162" y="12326"/>
                    <a:pt x="1162" y="12326"/>
                    <a:pt x="1162" y="12326"/>
                  </a:cubicBezTo>
                  <a:cubicBezTo>
                    <a:pt x="1001" y="12114"/>
                    <a:pt x="1001" y="12114"/>
                    <a:pt x="1001" y="12114"/>
                  </a:cubicBezTo>
                  <a:cubicBezTo>
                    <a:pt x="1058" y="12059"/>
                    <a:pt x="1058" y="12059"/>
                    <a:pt x="1058" y="12059"/>
                  </a:cubicBezTo>
                  <a:cubicBezTo>
                    <a:pt x="1066" y="12052"/>
                    <a:pt x="1066" y="12052"/>
                    <a:pt x="1066" y="12052"/>
                  </a:cubicBezTo>
                  <a:lnTo>
                    <a:pt x="1060" y="12042"/>
                  </a:lnTo>
                  <a:close/>
                  <a:moveTo>
                    <a:pt x="2199" y="10813"/>
                  </a:moveTo>
                  <a:cubicBezTo>
                    <a:pt x="2196" y="10814"/>
                    <a:pt x="2196" y="10814"/>
                    <a:pt x="2196" y="10814"/>
                  </a:cubicBezTo>
                  <a:cubicBezTo>
                    <a:pt x="2193" y="10814"/>
                    <a:pt x="2193" y="10814"/>
                    <a:pt x="2193" y="10814"/>
                  </a:cubicBezTo>
                  <a:cubicBezTo>
                    <a:pt x="2044" y="10826"/>
                    <a:pt x="2044" y="10826"/>
                    <a:pt x="2044" y="10826"/>
                  </a:cubicBezTo>
                  <a:cubicBezTo>
                    <a:pt x="2095" y="10989"/>
                    <a:pt x="2095" y="10989"/>
                    <a:pt x="2095" y="10989"/>
                  </a:cubicBezTo>
                  <a:cubicBezTo>
                    <a:pt x="2202" y="10989"/>
                    <a:pt x="2202" y="10989"/>
                    <a:pt x="2202" y="10989"/>
                  </a:cubicBezTo>
                  <a:cubicBezTo>
                    <a:pt x="2202" y="10989"/>
                    <a:pt x="2202" y="10989"/>
                    <a:pt x="2202" y="10989"/>
                  </a:cubicBezTo>
                  <a:cubicBezTo>
                    <a:pt x="2210" y="10989"/>
                    <a:pt x="2210" y="10989"/>
                    <a:pt x="2210" y="10989"/>
                  </a:cubicBezTo>
                  <a:cubicBezTo>
                    <a:pt x="2210" y="10989"/>
                    <a:pt x="2210" y="10989"/>
                    <a:pt x="2210" y="10989"/>
                  </a:cubicBezTo>
                  <a:cubicBezTo>
                    <a:pt x="2391" y="10988"/>
                    <a:pt x="2391" y="10988"/>
                    <a:pt x="2391" y="10988"/>
                  </a:cubicBezTo>
                  <a:cubicBezTo>
                    <a:pt x="2478" y="10817"/>
                    <a:pt x="2478" y="10817"/>
                    <a:pt x="2478" y="10817"/>
                  </a:cubicBezTo>
                  <a:cubicBezTo>
                    <a:pt x="2311" y="10810"/>
                    <a:pt x="2311" y="10810"/>
                    <a:pt x="2311" y="10810"/>
                  </a:cubicBezTo>
                  <a:cubicBezTo>
                    <a:pt x="2309" y="10810"/>
                    <a:pt x="2309" y="10810"/>
                    <a:pt x="2309" y="10810"/>
                  </a:cubicBezTo>
                  <a:cubicBezTo>
                    <a:pt x="2309" y="10810"/>
                    <a:pt x="2309" y="10810"/>
                    <a:pt x="2309" y="10810"/>
                  </a:cubicBezTo>
                  <a:cubicBezTo>
                    <a:pt x="2309" y="10810"/>
                    <a:pt x="2309" y="10810"/>
                    <a:pt x="2309" y="10810"/>
                  </a:cubicBezTo>
                  <a:cubicBezTo>
                    <a:pt x="2199" y="10814"/>
                    <a:pt x="2199" y="10814"/>
                    <a:pt x="2199" y="10814"/>
                  </a:cubicBezTo>
                  <a:cubicBezTo>
                    <a:pt x="2199" y="10814"/>
                    <a:pt x="2199" y="10813"/>
                    <a:pt x="2199" y="10813"/>
                  </a:cubicBezTo>
                  <a:close/>
                  <a:moveTo>
                    <a:pt x="2105" y="10975"/>
                  </a:moveTo>
                  <a:cubicBezTo>
                    <a:pt x="2062" y="10839"/>
                    <a:pt x="2062" y="10839"/>
                    <a:pt x="2062" y="10839"/>
                  </a:cubicBezTo>
                  <a:cubicBezTo>
                    <a:pt x="2192" y="10828"/>
                    <a:pt x="2192" y="10828"/>
                    <a:pt x="2192" y="10828"/>
                  </a:cubicBezTo>
                  <a:cubicBezTo>
                    <a:pt x="2192" y="10835"/>
                    <a:pt x="2192" y="10839"/>
                    <a:pt x="2193" y="10843"/>
                  </a:cubicBezTo>
                  <a:cubicBezTo>
                    <a:pt x="2194" y="10860"/>
                    <a:pt x="2196" y="10881"/>
                    <a:pt x="2197" y="10903"/>
                  </a:cubicBezTo>
                  <a:cubicBezTo>
                    <a:pt x="2199" y="10931"/>
                    <a:pt x="2200" y="10959"/>
                    <a:pt x="2201" y="10975"/>
                  </a:cubicBezTo>
                  <a:lnTo>
                    <a:pt x="2105" y="10975"/>
                  </a:lnTo>
                  <a:close/>
                  <a:moveTo>
                    <a:pt x="2317" y="10824"/>
                  </a:moveTo>
                  <a:cubicBezTo>
                    <a:pt x="2456" y="10830"/>
                    <a:pt x="2456" y="10830"/>
                    <a:pt x="2456" y="10830"/>
                  </a:cubicBezTo>
                  <a:cubicBezTo>
                    <a:pt x="2383" y="10975"/>
                    <a:pt x="2383" y="10975"/>
                    <a:pt x="2383" y="10975"/>
                  </a:cubicBezTo>
                  <a:cubicBezTo>
                    <a:pt x="2308" y="10975"/>
                    <a:pt x="2308" y="10975"/>
                    <a:pt x="2308" y="10975"/>
                  </a:cubicBezTo>
                  <a:lnTo>
                    <a:pt x="2317" y="10824"/>
                  </a:lnTo>
                  <a:close/>
                  <a:moveTo>
                    <a:pt x="2308" y="10824"/>
                  </a:moveTo>
                  <a:cubicBezTo>
                    <a:pt x="2309" y="10824"/>
                    <a:pt x="2309" y="10824"/>
                    <a:pt x="2309" y="10824"/>
                  </a:cubicBezTo>
                  <a:cubicBezTo>
                    <a:pt x="2300" y="10975"/>
                    <a:pt x="2300" y="10975"/>
                    <a:pt x="2300" y="10975"/>
                  </a:cubicBezTo>
                  <a:cubicBezTo>
                    <a:pt x="2209" y="10975"/>
                    <a:pt x="2209" y="10975"/>
                    <a:pt x="2209" y="10975"/>
                  </a:cubicBezTo>
                  <a:cubicBezTo>
                    <a:pt x="2208" y="10945"/>
                    <a:pt x="2204" y="10872"/>
                    <a:pt x="2200" y="10828"/>
                  </a:cubicBezTo>
                  <a:lnTo>
                    <a:pt x="2308" y="10824"/>
                  </a:lnTo>
                  <a:close/>
                  <a:moveTo>
                    <a:pt x="1801" y="13466"/>
                  </a:moveTo>
                  <a:cubicBezTo>
                    <a:pt x="1694" y="13425"/>
                    <a:pt x="1694" y="13425"/>
                    <a:pt x="1694" y="13425"/>
                  </a:cubicBezTo>
                  <a:cubicBezTo>
                    <a:pt x="1581" y="13598"/>
                    <a:pt x="1581" y="13598"/>
                    <a:pt x="1581" y="13598"/>
                  </a:cubicBezTo>
                  <a:cubicBezTo>
                    <a:pt x="1696" y="13637"/>
                    <a:pt x="1696" y="13637"/>
                    <a:pt x="1696" y="13637"/>
                  </a:cubicBezTo>
                  <a:lnTo>
                    <a:pt x="1801" y="13466"/>
                  </a:lnTo>
                  <a:close/>
                  <a:moveTo>
                    <a:pt x="1603" y="13590"/>
                  </a:moveTo>
                  <a:cubicBezTo>
                    <a:pt x="1700" y="13442"/>
                    <a:pt x="1700" y="13442"/>
                    <a:pt x="1700" y="13442"/>
                  </a:cubicBezTo>
                  <a:cubicBezTo>
                    <a:pt x="1780" y="13473"/>
                    <a:pt x="1780" y="13473"/>
                    <a:pt x="1780" y="13473"/>
                  </a:cubicBezTo>
                  <a:cubicBezTo>
                    <a:pt x="1690" y="13620"/>
                    <a:pt x="1690" y="13620"/>
                    <a:pt x="1690" y="13620"/>
                  </a:cubicBezTo>
                  <a:lnTo>
                    <a:pt x="1603" y="13590"/>
                  </a:lnTo>
                  <a:close/>
                  <a:moveTo>
                    <a:pt x="5129" y="13802"/>
                  </a:moveTo>
                  <a:cubicBezTo>
                    <a:pt x="5150" y="13704"/>
                    <a:pt x="5150" y="13704"/>
                    <a:pt x="5150" y="13704"/>
                  </a:cubicBezTo>
                  <a:cubicBezTo>
                    <a:pt x="5201" y="13708"/>
                    <a:pt x="5201" y="13708"/>
                    <a:pt x="5201" y="13708"/>
                  </a:cubicBezTo>
                  <a:cubicBezTo>
                    <a:pt x="5243" y="13629"/>
                    <a:pt x="5243" y="13629"/>
                    <a:pt x="5243" y="13629"/>
                  </a:cubicBezTo>
                  <a:cubicBezTo>
                    <a:pt x="5174" y="13599"/>
                    <a:pt x="5174" y="13599"/>
                    <a:pt x="5174" y="13599"/>
                  </a:cubicBezTo>
                  <a:cubicBezTo>
                    <a:pt x="5180" y="13532"/>
                    <a:pt x="5180" y="13532"/>
                    <a:pt x="5180" y="13532"/>
                  </a:cubicBezTo>
                  <a:cubicBezTo>
                    <a:pt x="5252" y="13474"/>
                    <a:pt x="5252" y="13474"/>
                    <a:pt x="5252" y="13474"/>
                  </a:cubicBezTo>
                  <a:cubicBezTo>
                    <a:pt x="5288" y="13577"/>
                    <a:pt x="5288" y="13577"/>
                    <a:pt x="5288" y="13577"/>
                  </a:cubicBezTo>
                  <a:cubicBezTo>
                    <a:pt x="5328" y="13405"/>
                    <a:pt x="5328" y="13405"/>
                    <a:pt x="5328" y="13405"/>
                  </a:cubicBezTo>
                  <a:cubicBezTo>
                    <a:pt x="5263" y="13386"/>
                    <a:pt x="5263" y="13386"/>
                    <a:pt x="5263" y="13386"/>
                  </a:cubicBezTo>
                  <a:cubicBezTo>
                    <a:pt x="5071" y="13476"/>
                    <a:pt x="5071" y="13476"/>
                    <a:pt x="5071" y="13476"/>
                  </a:cubicBezTo>
                  <a:cubicBezTo>
                    <a:pt x="5009" y="13834"/>
                    <a:pt x="5009" y="13834"/>
                    <a:pt x="5009" y="13834"/>
                  </a:cubicBezTo>
                  <a:cubicBezTo>
                    <a:pt x="5012" y="13894"/>
                    <a:pt x="5012" y="13894"/>
                    <a:pt x="5012" y="13894"/>
                  </a:cubicBezTo>
                  <a:lnTo>
                    <a:pt x="5129" y="13802"/>
                  </a:lnTo>
                  <a:close/>
                  <a:moveTo>
                    <a:pt x="5083" y="13485"/>
                  </a:moveTo>
                  <a:cubicBezTo>
                    <a:pt x="5264" y="13401"/>
                    <a:pt x="5264" y="13401"/>
                    <a:pt x="5264" y="13401"/>
                  </a:cubicBezTo>
                  <a:cubicBezTo>
                    <a:pt x="5311" y="13415"/>
                    <a:pt x="5311" y="13415"/>
                    <a:pt x="5311" y="13415"/>
                  </a:cubicBezTo>
                  <a:cubicBezTo>
                    <a:pt x="5285" y="13527"/>
                    <a:pt x="5285" y="13527"/>
                    <a:pt x="5285" y="13527"/>
                  </a:cubicBezTo>
                  <a:cubicBezTo>
                    <a:pt x="5265" y="13469"/>
                    <a:pt x="5265" y="13469"/>
                    <a:pt x="5265" y="13469"/>
                  </a:cubicBezTo>
                  <a:cubicBezTo>
                    <a:pt x="5258" y="13450"/>
                    <a:pt x="5258" y="13450"/>
                    <a:pt x="5258" y="13450"/>
                  </a:cubicBezTo>
                  <a:cubicBezTo>
                    <a:pt x="5243" y="13463"/>
                    <a:pt x="5243" y="13463"/>
                    <a:pt x="5243" y="13463"/>
                  </a:cubicBezTo>
                  <a:cubicBezTo>
                    <a:pt x="5172" y="13521"/>
                    <a:pt x="5172" y="13521"/>
                    <a:pt x="5172" y="13521"/>
                  </a:cubicBezTo>
                  <a:cubicBezTo>
                    <a:pt x="5167" y="13524"/>
                    <a:pt x="5167" y="13524"/>
                    <a:pt x="5167" y="13524"/>
                  </a:cubicBezTo>
                  <a:cubicBezTo>
                    <a:pt x="5166" y="13530"/>
                    <a:pt x="5166" y="13530"/>
                    <a:pt x="5166" y="13530"/>
                  </a:cubicBezTo>
                  <a:cubicBezTo>
                    <a:pt x="5160" y="13598"/>
                    <a:pt x="5160" y="13598"/>
                    <a:pt x="5160" y="13598"/>
                  </a:cubicBezTo>
                  <a:cubicBezTo>
                    <a:pt x="5160" y="13608"/>
                    <a:pt x="5160" y="13608"/>
                    <a:pt x="5160" y="13608"/>
                  </a:cubicBezTo>
                  <a:cubicBezTo>
                    <a:pt x="5169" y="13612"/>
                    <a:pt x="5169" y="13612"/>
                    <a:pt x="5169" y="13612"/>
                  </a:cubicBezTo>
                  <a:cubicBezTo>
                    <a:pt x="5223" y="13636"/>
                    <a:pt x="5223" y="13636"/>
                    <a:pt x="5223" y="13636"/>
                  </a:cubicBezTo>
                  <a:cubicBezTo>
                    <a:pt x="5193" y="13693"/>
                    <a:pt x="5193" y="13693"/>
                    <a:pt x="5193" y="13693"/>
                  </a:cubicBezTo>
                  <a:cubicBezTo>
                    <a:pt x="5151" y="13690"/>
                    <a:pt x="5151" y="13690"/>
                    <a:pt x="5151" y="13690"/>
                  </a:cubicBezTo>
                  <a:cubicBezTo>
                    <a:pt x="5138" y="13689"/>
                    <a:pt x="5138" y="13689"/>
                    <a:pt x="5138" y="13689"/>
                  </a:cubicBezTo>
                  <a:cubicBezTo>
                    <a:pt x="5136" y="13701"/>
                    <a:pt x="5136" y="13701"/>
                    <a:pt x="5136" y="13701"/>
                  </a:cubicBezTo>
                  <a:cubicBezTo>
                    <a:pt x="5117" y="13794"/>
                    <a:pt x="5117" y="13794"/>
                    <a:pt x="5117" y="13794"/>
                  </a:cubicBezTo>
                  <a:cubicBezTo>
                    <a:pt x="5025" y="13866"/>
                    <a:pt x="5025" y="13866"/>
                    <a:pt x="5025" y="13866"/>
                  </a:cubicBezTo>
                  <a:cubicBezTo>
                    <a:pt x="5023" y="13834"/>
                    <a:pt x="5023" y="13834"/>
                    <a:pt x="5023" y="13834"/>
                  </a:cubicBezTo>
                  <a:lnTo>
                    <a:pt x="5083" y="13485"/>
                  </a:lnTo>
                  <a:close/>
                  <a:moveTo>
                    <a:pt x="4169" y="13918"/>
                  </a:moveTo>
                  <a:cubicBezTo>
                    <a:pt x="4363" y="13919"/>
                    <a:pt x="4363" y="13919"/>
                    <a:pt x="4363" y="13919"/>
                  </a:cubicBezTo>
                  <a:cubicBezTo>
                    <a:pt x="4365" y="13839"/>
                    <a:pt x="4365" y="13839"/>
                    <a:pt x="4365" y="13839"/>
                  </a:cubicBezTo>
                  <a:cubicBezTo>
                    <a:pt x="4365" y="13839"/>
                    <a:pt x="4410" y="13794"/>
                    <a:pt x="4419" y="13740"/>
                  </a:cubicBezTo>
                  <a:cubicBezTo>
                    <a:pt x="4427" y="13686"/>
                    <a:pt x="4474" y="13344"/>
                    <a:pt x="4474" y="13344"/>
                  </a:cubicBezTo>
                  <a:cubicBezTo>
                    <a:pt x="4474" y="13344"/>
                    <a:pt x="4483" y="13287"/>
                    <a:pt x="4452" y="13245"/>
                  </a:cubicBezTo>
                  <a:cubicBezTo>
                    <a:pt x="4452" y="13243"/>
                    <a:pt x="4472" y="13221"/>
                    <a:pt x="4472" y="13221"/>
                  </a:cubicBezTo>
                  <a:cubicBezTo>
                    <a:pt x="4361" y="13095"/>
                    <a:pt x="4361" y="13095"/>
                    <a:pt x="4361" y="13095"/>
                  </a:cubicBezTo>
                  <a:cubicBezTo>
                    <a:pt x="4302" y="13145"/>
                    <a:pt x="4302" y="13145"/>
                    <a:pt x="4302" y="13145"/>
                  </a:cubicBezTo>
                  <a:cubicBezTo>
                    <a:pt x="4302" y="13145"/>
                    <a:pt x="4227" y="13144"/>
                    <a:pt x="4188" y="13170"/>
                  </a:cubicBezTo>
                  <a:cubicBezTo>
                    <a:pt x="4171" y="13181"/>
                    <a:pt x="4150" y="13198"/>
                    <a:pt x="4136" y="13215"/>
                  </a:cubicBezTo>
                  <a:cubicBezTo>
                    <a:pt x="4118" y="13237"/>
                    <a:pt x="4109" y="13258"/>
                    <a:pt x="4109" y="13258"/>
                  </a:cubicBezTo>
                  <a:cubicBezTo>
                    <a:pt x="4022" y="13259"/>
                    <a:pt x="4022" y="13259"/>
                    <a:pt x="4022" y="13259"/>
                  </a:cubicBezTo>
                  <a:cubicBezTo>
                    <a:pt x="4023" y="13713"/>
                    <a:pt x="4023" y="13713"/>
                    <a:pt x="4023" y="13713"/>
                  </a:cubicBezTo>
                  <a:cubicBezTo>
                    <a:pt x="4042" y="13715"/>
                    <a:pt x="4042" y="13715"/>
                    <a:pt x="4042" y="13715"/>
                  </a:cubicBezTo>
                  <a:cubicBezTo>
                    <a:pt x="4042" y="13715"/>
                    <a:pt x="4045" y="13777"/>
                    <a:pt x="4082" y="13819"/>
                  </a:cubicBezTo>
                  <a:cubicBezTo>
                    <a:pt x="4120" y="13860"/>
                    <a:pt x="4169" y="13878"/>
                    <a:pt x="4169" y="13878"/>
                  </a:cubicBezTo>
                  <a:lnTo>
                    <a:pt x="4169" y="13918"/>
                  </a:lnTo>
                  <a:close/>
                  <a:moveTo>
                    <a:pt x="4092" y="13809"/>
                  </a:moveTo>
                  <a:cubicBezTo>
                    <a:pt x="4059" y="13772"/>
                    <a:pt x="4056" y="13715"/>
                    <a:pt x="4056" y="13714"/>
                  </a:cubicBezTo>
                  <a:cubicBezTo>
                    <a:pt x="4056" y="13702"/>
                    <a:pt x="4056" y="13702"/>
                    <a:pt x="4056" y="13702"/>
                  </a:cubicBezTo>
                  <a:cubicBezTo>
                    <a:pt x="4043" y="13701"/>
                    <a:pt x="4043" y="13701"/>
                    <a:pt x="4043" y="13701"/>
                  </a:cubicBezTo>
                  <a:cubicBezTo>
                    <a:pt x="4037" y="13700"/>
                    <a:pt x="4037" y="13700"/>
                    <a:pt x="4037" y="13700"/>
                  </a:cubicBezTo>
                  <a:cubicBezTo>
                    <a:pt x="4036" y="13273"/>
                    <a:pt x="4036" y="13273"/>
                    <a:pt x="4036" y="13273"/>
                  </a:cubicBezTo>
                  <a:cubicBezTo>
                    <a:pt x="4109" y="13272"/>
                    <a:pt x="4109" y="13272"/>
                    <a:pt x="4109" y="13272"/>
                  </a:cubicBezTo>
                  <a:cubicBezTo>
                    <a:pt x="4119" y="13272"/>
                    <a:pt x="4119" y="13272"/>
                    <a:pt x="4119" y="13272"/>
                  </a:cubicBezTo>
                  <a:cubicBezTo>
                    <a:pt x="4122" y="13263"/>
                    <a:pt x="4122" y="13263"/>
                    <a:pt x="4122" y="13263"/>
                  </a:cubicBezTo>
                  <a:cubicBezTo>
                    <a:pt x="4122" y="13263"/>
                    <a:pt x="4130" y="13244"/>
                    <a:pt x="4147" y="13223"/>
                  </a:cubicBezTo>
                  <a:cubicBezTo>
                    <a:pt x="4162" y="13205"/>
                    <a:pt x="4186" y="13188"/>
                    <a:pt x="4196" y="13182"/>
                  </a:cubicBezTo>
                  <a:cubicBezTo>
                    <a:pt x="4223" y="13163"/>
                    <a:pt x="4275" y="13159"/>
                    <a:pt x="4302" y="13159"/>
                  </a:cubicBezTo>
                  <a:cubicBezTo>
                    <a:pt x="4307" y="13159"/>
                    <a:pt x="4307" y="13159"/>
                    <a:pt x="4307" y="13159"/>
                  </a:cubicBezTo>
                  <a:cubicBezTo>
                    <a:pt x="4311" y="13155"/>
                    <a:pt x="4311" y="13155"/>
                    <a:pt x="4311" y="13155"/>
                  </a:cubicBezTo>
                  <a:cubicBezTo>
                    <a:pt x="4359" y="13115"/>
                    <a:pt x="4359" y="13115"/>
                    <a:pt x="4359" y="13115"/>
                  </a:cubicBezTo>
                  <a:cubicBezTo>
                    <a:pt x="4454" y="13221"/>
                    <a:pt x="4454" y="13221"/>
                    <a:pt x="4454" y="13221"/>
                  </a:cubicBezTo>
                  <a:cubicBezTo>
                    <a:pt x="4439" y="13238"/>
                    <a:pt x="4439" y="13240"/>
                    <a:pt x="4439" y="13245"/>
                  </a:cubicBezTo>
                  <a:cubicBezTo>
                    <a:pt x="4439" y="13249"/>
                    <a:pt x="4439" y="13249"/>
                    <a:pt x="4439" y="13249"/>
                  </a:cubicBezTo>
                  <a:cubicBezTo>
                    <a:pt x="4441" y="13253"/>
                    <a:pt x="4441" y="13253"/>
                    <a:pt x="4441" y="13253"/>
                  </a:cubicBezTo>
                  <a:cubicBezTo>
                    <a:pt x="4467" y="13290"/>
                    <a:pt x="4461" y="13341"/>
                    <a:pt x="4460" y="13342"/>
                  </a:cubicBezTo>
                  <a:cubicBezTo>
                    <a:pt x="4460" y="13345"/>
                    <a:pt x="4413" y="13685"/>
                    <a:pt x="4405" y="13738"/>
                  </a:cubicBezTo>
                  <a:cubicBezTo>
                    <a:pt x="4397" y="13787"/>
                    <a:pt x="4355" y="13828"/>
                    <a:pt x="4355" y="13829"/>
                  </a:cubicBezTo>
                  <a:cubicBezTo>
                    <a:pt x="4351" y="13833"/>
                    <a:pt x="4351" y="13833"/>
                    <a:pt x="4351" y="13833"/>
                  </a:cubicBezTo>
                  <a:cubicBezTo>
                    <a:pt x="4351" y="13839"/>
                    <a:pt x="4351" y="13839"/>
                    <a:pt x="4351" y="13839"/>
                  </a:cubicBezTo>
                  <a:cubicBezTo>
                    <a:pt x="4349" y="13905"/>
                    <a:pt x="4349" y="13905"/>
                    <a:pt x="4349" y="13905"/>
                  </a:cubicBezTo>
                  <a:cubicBezTo>
                    <a:pt x="4183" y="13905"/>
                    <a:pt x="4183" y="13905"/>
                    <a:pt x="4183" y="13905"/>
                  </a:cubicBezTo>
                  <a:cubicBezTo>
                    <a:pt x="4183" y="13878"/>
                    <a:pt x="4183" y="13878"/>
                    <a:pt x="4183" y="13878"/>
                  </a:cubicBezTo>
                  <a:cubicBezTo>
                    <a:pt x="4183" y="13868"/>
                    <a:pt x="4183" y="13868"/>
                    <a:pt x="4183" y="13868"/>
                  </a:cubicBezTo>
                  <a:cubicBezTo>
                    <a:pt x="4174" y="13865"/>
                    <a:pt x="4174" y="13865"/>
                    <a:pt x="4174" y="13865"/>
                  </a:cubicBezTo>
                  <a:cubicBezTo>
                    <a:pt x="4174" y="13865"/>
                    <a:pt x="4127" y="13847"/>
                    <a:pt x="4092" y="13809"/>
                  </a:cubicBezTo>
                  <a:close/>
                  <a:moveTo>
                    <a:pt x="654" y="14906"/>
                  </a:moveTo>
                  <a:cubicBezTo>
                    <a:pt x="884" y="15062"/>
                    <a:pt x="884" y="15062"/>
                    <a:pt x="884" y="15062"/>
                  </a:cubicBezTo>
                  <a:cubicBezTo>
                    <a:pt x="895" y="14909"/>
                    <a:pt x="895" y="14909"/>
                    <a:pt x="895" y="14909"/>
                  </a:cubicBezTo>
                  <a:cubicBezTo>
                    <a:pt x="993" y="14816"/>
                    <a:pt x="993" y="14816"/>
                    <a:pt x="993" y="14816"/>
                  </a:cubicBezTo>
                  <a:cubicBezTo>
                    <a:pt x="746" y="14636"/>
                    <a:pt x="746" y="14636"/>
                    <a:pt x="746" y="14636"/>
                  </a:cubicBezTo>
                  <a:cubicBezTo>
                    <a:pt x="746" y="14636"/>
                    <a:pt x="737" y="14725"/>
                    <a:pt x="713" y="14785"/>
                  </a:cubicBezTo>
                  <a:cubicBezTo>
                    <a:pt x="690" y="14844"/>
                    <a:pt x="654" y="14906"/>
                    <a:pt x="654" y="14906"/>
                  </a:cubicBezTo>
                  <a:close/>
                  <a:moveTo>
                    <a:pt x="757" y="14661"/>
                  </a:moveTo>
                  <a:cubicBezTo>
                    <a:pt x="971" y="14818"/>
                    <a:pt x="971" y="14818"/>
                    <a:pt x="971" y="14818"/>
                  </a:cubicBezTo>
                  <a:cubicBezTo>
                    <a:pt x="885" y="14899"/>
                    <a:pt x="885" y="14899"/>
                    <a:pt x="885" y="14899"/>
                  </a:cubicBezTo>
                  <a:cubicBezTo>
                    <a:pt x="881" y="14902"/>
                    <a:pt x="881" y="14902"/>
                    <a:pt x="881" y="14902"/>
                  </a:cubicBezTo>
                  <a:cubicBezTo>
                    <a:pt x="881" y="14908"/>
                    <a:pt x="881" y="14908"/>
                    <a:pt x="881" y="14908"/>
                  </a:cubicBezTo>
                  <a:cubicBezTo>
                    <a:pt x="872" y="15037"/>
                    <a:pt x="872" y="15037"/>
                    <a:pt x="872" y="15037"/>
                  </a:cubicBezTo>
                  <a:cubicBezTo>
                    <a:pt x="672" y="14901"/>
                    <a:pt x="672" y="14901"/>
                    <a:pt x="672" y="14901"/>
                  </a:cubicBezTo>
                  <a:cubicBezTo>
                    <a:pt x="684" y="14881"/>
                    <a:pt x="708" y="14835"/>
                    <a:pt x="726" y="14790"/>
                  </a:cubicBezTo>
                  <a:cubicBezTo>
                    <a:pt x="743" y="14748"/>
                    <a:pt x="752" y="14692"/>
                    <a:pt x="757" y="14661"/>
                  </a:cubicBezTo>
                  <a:close/>
                  <a:moveTo>
                    <a:pt x="1187" y="13668"/>
                  </a:moveTo>
                  <a:cubicBezTo>
                    <a:pt x="1069" y="13845"/>
                    <a:pt x="1069" y="13845"/>
                    <a:pt x="1069" y="13845"/>
                  </a:cubicBezTo>
                  <a:cubicBezTo>
                    <a:pt x="1021" y="13812"/>
                    <a:pt x="1021" y="13812"/>
                    <a:pt x="1021" y="13812"/>
                  </a:cubicBezTo>
                  <a:cubicBezTo>
                    <a:pt x="1135" y="13639"/>
                    <a:pt x="1135" y="13639"/>
                    <a:pt x="1135" y="13639"/>
                  </a:cubicBezTo>
                  <a:cubicBezTo>
                    <a:pt x="1252" y="13620"/>
                    <a:pt x="1252" y="13620"/>
                    <a:pt x="1252" y="13620"/>
                  </a:cubicBezTo>
                  <a:cubicBezTo>
                    <a:pt x="1332" y="13665"/>
                    <a:pt x="1332" y="13665"/>
                    <a:pt x="1332" y="13665"/>
                  </a:cubicBezTo>
                  <a:cubicBezTo>
                    <a:pt x="1399" y="13597"/>
                    <a:pt x="1399" y="13597"/>
                    <a:pt x="1399" y="13597"/>
                  </a:cubicBezTo>
                  <a:cubicBezTo>
                    <a:pt x="1178" y="13414"/>
                    <a:pt x="1178" y="13414"/>
                    <a:pt x="1178" y="13414"/>
                  </a:cubicBezTo>
                  <a:cubicBezTo>
                    <a:pt x="1122" y="13536"/>
                    <a:pt x="1122" y="13536"/>
                    <a:pt x="1122" y="13536"/>
                  </a:cubicBezTo>
                  <a:cubicBezTo>
                    <a:pt x="1060" y="13575"/>
                    <a:pt x="1060" y="13575"/>
                    <a:pt x="1060" y="13575"/>
                  </a:cubicBezTo>
                  <a:cubicBezTo>
                    <a:pt x="885" y="13842"/>
                    <a:pt x="885" y="13842"/>
                    <a:pt x="885" y="13842"/>
                  </a:cubicBezTo>
                  <a:cubicBezTo>
                    <a:pt x="1112" y="13983"/>
                    <a:pt x="1112" y="13983"/>
                    <a:pt x="1112" y="13983"/>
                  </a:cubicBezTo>
                  <a:cubicBezTo>
                    <a:pt x="1283" y="13729"/>
                    <a:pt x="1283" y="13729"/>
                    <a:pt x="1283" y="13729"/>
                  </a:cubicBezTo>
                  <a:lnTo>
                    <a:pt x="1187" y="13668"/>
                  </a:lnTo>
                  <a:close/>
                  <a:moveTo>
                    <a:pt x="1108" y="13964"/>
                  </a:moveTo>
                  <a:cubicBezTo>
                    <a:pt x="905" y="13838"/>
                    <a:pt x="905" y="13838"/>
                    <a:pt x="905" y="13838"/>
                  </a:cubicBezTo>
                  <a:cubicBezTo>
                    <a:pt x="1070" y="13586"/>
                    <a:pt x="1070" y="13586"/>
                    <a:pt x="1070" y="13586"/>
                  </a:cubicBezTo>
                  <a:cubicBezTo>
                    <a:pt x="1130" y="13548"/>
                    <a:pt x="1130" y="13548"/>
                    <a:pt x="1130" y="13548"/>
                  </a:cubicBezTo>
                  <a:cubicBezTo>
                    <a:pt x="1133" y="13546"/>
                    <a:pt x="1133" y="13546"/>
                    <a:pt x="1133" y="13546"/>
                  </a:cubicBezTo>
                  <a:cubicBezTo>
                    <a:pt x="1135" y="13542"/>
                    <a:pt x="1135" y="13542"/>
                    <a:pt x="1135" y="13542"/>
                  </a:cubicBezTo>
                  <a:cubicBezTo>
                    <a:pt x="1183" y="13437"/>
                    <a:pt x="1183" y="13437"/>
                    <a:pt x="1183" y="13437"/>
                  </a:cubicBezTo>
                  <a:cubicBezTo>
                    <a:pt x="1378" y="13598"/>
                    <a:pt x="1378" y="13598"/>
                    <a:pt x="1378" y="13598"/>
                  </a:cubicBezTo>
                  <a:cubicBezTo>
                    <a:pt x="1330" y="13647"/>
                    <a:pt x="1330" y="13647"/>
                    <a:pt x="1330" y="13647"/>
                  </a:cubicBezTo>
                  <a:cubicBezTo>
                    <a:pt x="1259" y="13608"/>
                    <a:pt x="1259" y="13608"/>
                    <a:pt x="1259" y="13608"/>
                  </a:cubicBezTo>
                  <a:cubicBezTo>
                    <a:pt x="1255" y="13606"/>
                    <a:pt x="1255" y="13606"/>
                    <a:pt x="1255" y="13606"/>
                  </a:cubicBezTo>
                  <a:cubicBezTo>
                    <a:pt x="1250" y="13607"/>
                    <a:pt x="1250" y="13607"/>
                    <a:pt x="1250" y="13607"/>
                  </a:cubicBezTo>
                  <a:cubicBezTo>
                    <a:pt x="1133" y="13625"/>
                    <a:pt x="1133" y="13625"/>
                    <a:pt x="1133" y="13625"/>
                  </a:cubicBezTo>
                  <a:cubicBezTo>
                    <a:pt x="1127" y="13626"/>
                    <a:pt x="1127" y="13626"/>
                    <a:pt x="1127" y="13626"/>
                  </a:cubicBezTo>
                  <a:cubicBezTo>
                    <a:pt x="1124" y="13631"/>
                    <a:pt x="1124" y="13631"/>
                    <a:pt x="1124" y="13631"/>
                  </a:cubicBezTo>
                  <a:cubicBezTo>
                    <a:pt x="1009" y="13804"/>
                    <a:pt x="1009" y="13804"/>
                    <a:pt x="1009" y="13804"/>
                  </a:cubicBezTo>
                  <a:cubicBezTo>
                    <a:pt x="1001" y="13816"/>
                    <a:pt x="1001" y="13816"/>
                    <a:pt x="1001" y="13816"/>
                  </a:cubicBezTo>
                  <a:cubicBezTo>
                    <a:pt x="1013" y="13824"/>
                    <a:pt x="1013" y="13824"/>
                    <a:pt x="1013" y="13824"/>
                  </a:cubicBezTo>
                  <a:cubicBezTo>
                    <a:pt x="1061" y="13856"/>
                    <a:pt x="1061" y="13856"/>
                    <a:pt x="1061" y="13856"/>
                  </a:cubicBezTo>
                  <a:cubicBezTo>
                    <a:pt x="1073" y="13864"/>
                    <a:pt x="1073" y="13864"/>
                    <a:pt x="1073" y="13864"/>
                  </a:cubicBezTo>
                  <a:cubicBezTo>
                    <a:pt x="1080" y="13853"/>
                    <a:pt x="1080" y="13853"/>
                    <a:pt x="1080" y="13853"/>
                  </a:cubicBezTo>
                  <a:cubicBezTo>
                    <a:pt x="1191" y="13687"/>
                    <a:pt x="1191" y="13687"/>
                    <a:pt x="1191" y="13687"/>
                  </a:cubicBezTo>
                  <a:cubicBezTo>
                    <a:pt x="1264" y="13733"/>
                    <a:pt x="1264" y="13733"/>
                    <a:pt x="1264" y="13733"/>
                  </a:cubicBezTo>
                  <a:lnTo>
                    <a:pt x="1108" y="13964"/>
                  </a:lnTo>
                  <a:close/>
                  <a:moveTo>
                    <a:pt x="910" y="14046"/>
                  </a:moveTo>
                  <a:cubicBezTo>
                    <a:pt x="832" y="13999"/>
                    <a:pt x="832" y="13999"/>
                    <a:pt x="832" y="13999"/>
                  </a:cubicBezTo>
                  <a:cubicBezTo>
                    <a:pt x="820" y="13992"/>
                    <a:pt x="820" y="13992"/>
                    <a:pt x="820" y="13992"/>
                  </a:cubicBezTo>
                  <a:cubicBezTo>
                    <a:pt x="813" y="14004"/>
                    <a:pt x="813" y="14004"/>
                    <a:pt x="813" y="14004"/>
                  </a:cubicBezTo>
                  <a:cubicBezTo>
                    <a:pt x="738" y="14130"/>
                    <a:pt x="738" y="14130"/>
                    <a:pt x="738" y="14130"/>
                  </a:cubicBezTo>
                  <a:cubicBezTo>
                    <a:pt x="728" y="14147"/>
                    <a:pt x="728" y="14147"/>
                    <a:pt x="728" y="14147"/>
                  </a:cubicBezTo>
                  <a:cubicBezTo>
                    <a:pt x="747" y="14151"/>
                    <a:pt x="747" y="14151"/>
                    <a:pt x="747" y="14151"/>
                  </a:cubicBezTo>
                  <a:cubicBezTo>
                    <a:pt x="774" y="14156"/>
                    <a:pt x="774" y="14156"/>
                    <a:pt x="774" y="14156"/>
                  </a:cubicBezTo>
                  <a:cubicBezTo>
                    <a:pt x="780" y="14157"/>
                    <a:pt x="780" y="14157"/>
                    <a:pt x="780" y="14157"/>
                  </a:cubicBezTo>
                  <a:cubicBezTo>
                    <a:pt x="785" y="14154"/>
                    <a:pt x="785" y="14154"/>
                    <a:pt x="785" y="14154"/>
                  </a:cubicBezTo>
                  <a:cubicBezTo>
                    <a:pt x="911" y="14070"/>
                    <a:pt x="911" y="14070"/>
                    <a:pt x="911" y="14070"/>
                  </a:cubicBezTo>
                  <a:cubicBezTo>
                    <a:pt x="929" y="14058"/>
                    <a:pt x="929" y="14058"/>
                    <a:pt x="929" y="14058"/>
                  </a:cubicBezTo>
                  <a:lnTo>
                    <a:pt x="910" y="14046"/>
                  </a:lnTo>
                  <a:close/>
                  <a:moveTo>
                    <a:pt x="777" y="14142"/>
                  </a:moveTo>
                  <a:cubicBezTo>
                    <a:pt x="750" y="14137"/>
                    <a:pt x="750" y="14137"/>
                    <a:pt x="750" y="14137"/>
                  </a:cubicBezTo>
                  <a:cubicBezTo>
                    <a:pt x="825" y="14011"/>
                    <a:pt x="825" y="14011"/>
                    <a:pt x="825" y="14011"/>
                  </a:cubicBezTo>
                  <a:cubicBezTo>
                    <a:pt x="903" y="14058"/>
                    <a:pt x="903" y="14058"/>
                    <a:pt x="903" y="14058"/>
                  </a:cubicBezTo>
                  <a:lnTo>
                    <a:pt x="777" y="14142"/>
                  </a:lnTo>
                  <a:close/>
                  <a:moveTo>
                    <a:pt x="1036" y="14045"/>
                  </a:moveTo>
                  <a:cubicBezTo>
                    <a:pt x="799" y="13897"/>
                    <a:pt x="799" y="13897"/>
                    <a:pt x="799" y="13897"/>
                  </a:cubicBezTo>
                  <a:cubicBezTo>
                    <a:pt x="663" y="14145"/>
                    <a:pt x="663" y="14145"/>
                    <a:pt x="663" y="14145"/>
                  </a:cubicBezTo>
                  <a:cubicBezTo>
                    <a:pt x="831" y="14252"/>
                    <a:pt x="831" y="14252"/>
                    <a:pt x="831" y="14252"/>
                  </a:cubicBezTo>
                  <a:lnTo>
                    <a:pt x="1036" y="14045"/>
                  </a:lnTo>
                  <a:close/>
                  <a:moveTo>
                    <a:pt x="682" y="14140"/>
                  </a:moveTo>
                  <a:cubicBezTo>
                    <a:pt x="804" y="13917"/>
                    <a:pt x="804" y="13917"/>
                    <a:pt x="804" y="13917"/>
                  </a:cubicBezTo>
                  <a:cubicBezTo>
                    <a:pt x="1014" y="14047"/>
                    <a:pt x="1014" y="14047"/>
                    <a:pt x="1014" y="14047"/>
                  </a:cubicBezTo>
                  <a:cubicBezTo>
                    <a:pt x="829" y="14234"/>
                    <a:pt x="829" y="14234"/>
                    <a:pt x="829" y="14234"/>
                  </a:cubicBezTo>
                  <a:lnTo>
                    <a:pt x="682" y="14140"/>
                  </a:lnTo>
                  <a:close/>
                  <a:moveTo>
                    <a:pt x="4238" y="13828"/>
                  </a:moveTo>
                  <a:cubicBezTo>
                    <a:pt x="4318" y="13828"/>
                    <a:pt x="4356" y="13751"/>
                    <a:pt x="4365" y="13710"/>
                  </a:cubicBezTo>
                  <a:cubicBezTo>
                    <a:pt x="4414" y="13361"/>
                    <a:pt x="4414" y="13361"/>
                    <a:pt x="4414" y="13361"/>
                  </a:cubicBezTo>
                  <a:cubicBezTo>
                    <a:pt x="4414" y="13360"/>
                    <a:pt x="4414" y="13360"/>
                    <a:pt x="4414" y="13360"/>
                  </a:cubicBezTo>
                  <a:cubicBezTo>
                    <a:pt x="4414" y="13360"/>
                    <a:pt x="4414" y="13360"/>
                    <a:pt x="4414" y="13360"/>
                  </a:cubicBezTo>
                  <a:cubicBezTo>
                    <a:pt x="4414" y="13313"/>
                    <a:pt x="4391" y="13223"/>
                    <a:pt x="4299" y="13212"/>
                  </a:cubicBezTo>
                  <a:cubicBezTo>
                    <a:pt x="4294" y="13211"/>
                    <a:pt x="4288" y="13211"/>
                    <a:pt x="4283" y="13211"/>
                  </a:cubicBezTo>
                  <a:cubicBezTo>
                    <a:pt x="4211" y="13211"/>
                    <a:pt x="4166" y="13268"/>
                    <a:pt x="4155" y="13321"/>
                  </a:cubicBezTo>
                  <a:cubicBezTo>
                    <a:pt x="4144" y="13375"/>
                    <a:pt x="4107" y="13660"/>
                    <a:pt x="4105" y="13673"/>
                  </a:cubicBezTo>
                  <a:cubicBezTo>
                    <a:pt x="4102" y="13720"/>
                    <a:pt x="4122" y="13812"/>
                    <a:pt x="4217" y="13826"/>
                  </a:cubicBezTo>
                  <a:cubicBezTo>
                    <a:pt x="4224" y="13827"/>
                    <a:pt x="4231" y="13828"/>
                    <a:pt x="4238" y="13828"/>
                  </a:cubicBezTo>
                  <a:close/>
                  <a:moveTo>
                    <a:pt x="4119" y="13673"/>
                  </a:moveTo>
                  <a:cubicBezTo>
                    <a:pt x="4119" y="13673"/>
                    <a:pt x="4157" y="13378"/>
                    <a:pt x="4169" y="13324"/>
                  </a:cubicBezTo>
                  <a:cubicBezTo>
                    <a:pt x="4180" y="13270"/>
                    <a:pt x="4227" y="13217"/>
                    <a:pt x="4298" y="13226"/>
                  </a:cubicBezTo>
                  <a:cubicBezTo>
                    <a:pt x="4401" y="13238"/>
                    <a:pt x="4400" y="13359"/>
                    <a:pt x="4400" y="13359"/>
                  </a:cubicBezTo>
                  <a:cubicBezTo>
                    <a:pt x="4351" y="13708"/>
                    <a:pt x="4351" y="13708"/>
                    <a:pt x="4351" y="13708"/>
                  </a:cubicBezTo>
                  <a:cubicBezTo>
                    <a:pt x="4351" y="13708"/>
                    <a:pt x="4326" y="13828"/>
                    <a:pt x="4219" y="13812"/>
                  </a:cubicBezTo>
                  <a:cubicBezTo>
                    <a:pt x="4112" y="13797"/>
                    <a:pt x="4119" y="13673"/>
                    <a:pt x="4119" y="13673"/>
                  </a:cubicBezTo>
                  <a:close/>
                  <a:moveTo>
                    <a:pt x="1390" y="14153"/>
                  </a:moveTo>
                  <a:cubicBezTo>
                    <a:pt x="1384" y="14159"/>
                    <a:pt x="1384" y="14159"/>
                    <a:pt x="1384" y="14159"/>
                  </a:cubicBezTo>
                  <a:cubicBezTo>
                    <a:pt x="1387" y="14161"/>
                    <a:pt x="1387" y="14161"/>
                    <a:pt x="1387" y="14161"/>
                  </a:cubicBezTo>
                  <a:cubicBezTo>
                    <a:pt x="1337" y="14266"/>
                    <a:pt x="1337" y="14266"/>
                    <a:pt x="1337" y="14266"/>
                  </a:cubicBezTo>
                  <a:cubicBezTo>
                    <a:pt x="1336" y="14265"/>
                    <a:pt x="1336" y="14265"/>
                    <a:pt x="1336" y="14265"/>
                  </a:cubicBezTo>
                  <a:cubicBezTo>
                    <a:pt x="1330" y="14271"/>
                    <a:pt x="1330" y="14271"/>
                    <a:pt x="1330" y="14271"/>
                  </a:cubicBezTo>
                  <a:cubicBezTo>
                    <a:pt x="1333" y="14274"/>
                    <a:pt x="1333" y="14274"/>
                    <a:pt x="1333" y="14274"/>
                  </a:cubicBezTo>
                  <a:cubicBezTo>
                    <a:pt x="1283" y="14380"/>
                    <a:pt x="1283" y="14380"/>
                    <a:pt x="1283" y="14380"/>
                  </a:cubicBezTo>
                  <a:cubicBezTo>
                    <a:pt x="1281" y="14378"/>
                    <a:pt x="1281" y="14378"/>
                    <a:pt x="1281" y="14378"/>
                  </a:cubicBezTo>
                  <a:cubicBezTo>
                    <a:pt x="1276" y="14385"/>
                    <a:pt x="1276" y="14385"/>
                    <a:pt x="1276" y="14385"/>
                  </a:cubicBezTo>
                  <a:cubicBezTo>
                    <a:pt x="1279" y="14387"/>
                    <a:pt x="1279" y="14387"/>
                    <a:pt x="1279" y="14387"/>
                  </a:cubicBezTo>
                  <a:cubicBezTo>
                    <a:pt x="1224" y="14504"/>
                    <a:pt x="1224" y="14504"/>
                    <a:pt x="1224" y="14504"/>
                  </a:cubicBezTo>
                  <a:cubicBezTo>
                    <a:pt x="1222" y="14502"/>
                    <a:pt x="1222" y="14502"/>
                    <a:pt x="1222" y="14502"/>
                  </a:cubicBezTo>
                  <a:cubicBezTo>
                    <a:pt x="1216" y="14508"/>
                    <a:pt x="1216" y="14508"/>
                    <a:pt x="1216" y="14508"/>
                  </a:cubicBezTo>
                  <a:cubicBezTo>
                    <a:pt x="1220" y="14512"/>
                    <a:pt x="1220" y="14512"/>
                    <a:pt x="1220" y="14512"/>
                  </a:cubicBezTo>
                  <a:cubicBezTo>
                    <a:pt x="1166" y="14626"/>
                    <a:pt x="1166" y="14626"/>
                    <a:pt x="1166" y="14626"/>
                  </a:cubicBezTo>
                  <a:cubicBezTo>
                    <a:pt x="1164" y="14625"/>
                    <a:pt x="1164" y="14625"/>
                    <a:pt x="1164" y="14625"/>
                  </a:cubicBezTo>
                  <a:cubicBezTo>
                    <a:pt x="1159" y="14631"/>
                    <a:pt x="1159" y="14631"/>
                    <a:pt x="1159" y="14631"/>
                  </a:cubicBezTo>
                  <a:cubicBezTo>
                    <a:pt x="1162" y="14634"/>
                    <a:pt x="1162" y="14634"/>
                    <a:pt x="1162" y="14634"/>
                  </a:cubicBezTo>
                  <a:cubicBezTo>
                    <a:pt x="1104" y="14756"/>
                    <a:pt x="1104" y="14756"/>
                    <a:pt x="1104" y="14756"/>
                  </a:cubicBezTo>
                  <a:cubicBezTo>
                    <a:pt x="1168" y="14801"/>
                    <a:pt x="1168" y="14801"/>
                    <a:pt x="1168" y="14801"/>
                  </a:cubicBezTo>
                  <a:cubicBezTo>
                    <a:pt x="1223" y="14685"/>
                    <a:pt x="1223" y="14685"/>
                    <a:pt x="1223" y="14685"/>
                  </a:cubicBezTo>
                  <a:cubicBezTo>
                    <a:pt x="1225" y="14687"/>
                    <a:pt x="1225" y="14687"/>
                    <a:pt x="1225" y="14687"/>
                  </a:cubicBezTo>
                  <a:cubicBezTo>
                    <a:pt x="1230" y="14681"/>
                    <a:pt x="1230" y="14681"/>
                    <a:pt x="1230" y="14681"/>
                  </a:cubicBezTo>
                  <a:cubicBezTo>
                    <a:pt x="1227" y="14678"/>
                    <a:pt x="1227" y="14678"/>
                    <a:pt x="1227" y="14678"/>
                  </a:cubicBezTo>
                  <a:cubicBezTo>
                    <a:pt x="1281" y="14564"/>
                    <a:pt x="1281" y="14564"/>
                    <a:pt x="1281" y="14564"/>
                  </a:cubicBezTo>
                  <a:cubicBezTo>
                    <a:pt x="1282" y="14564"/>
                    <a:pt x="1282" y="14564"/>
                    <a:pt x="1282" y="14564"/>
                  </a:cubicBezTo>
                  <a:cubicBezTo>
                    <a:pt x="1287" y="14558"/>
                    <a:pt x="1287" y="14558"/>
                    <a:pt x="1287" y="14558"/>
                  </a:cubicBezTo>
                  <a:cubicBezTo>
                    <a:pt x="1285" y="14556"/>
                    <a:pt x="1285" y="14556"/>
                    <a:pt x="1285" y="14556"/>
                  </a:cubicBezTo>
                  <a:cubicBezTo>
                    <a:pt x="1341" y="14440"/>
                    <a:pt x="1341" y="14440"/>
                    <a:pt x="1341" y="14440"/>
                  </a:cubicBezTo>
                  <a:cubicBezTo>
                    <a:pt x="1342" y="14441"/>
                    <a:pt x="1342" y="14441"/>
                    <a:pt x="1342" y="14441"/>
                  </a:cubicBezTo>
                  <a:cubicBezTo>
                    <a:pt x="1347" y="14434"/>
                    <a:pt x="1347" y="14434"/>
                    <a:pt x="1347" y="14434"/>
                  </a:cubicBezTo>
                  <a:cubicBezTo>
                    <a:pt x="1344" y="14432"/>
                    <a:pt x="1344" y="14432"/>
                    <a:pt x="1344" y="14432"/>
                  </a:cubicBezTo>
                  <a:cubicBezTo>
                    <a:pt x="1395" y="14327"/>
                    <a:pt x="1395" y="14327"/>
                    <a:pt x="1395" y="14327"/>
                  </a:cubicBezTo>
                  <a:cubicBezTo>
                    <a:pt x="1396" y="14327"/>
                    <a:pt x="1396" y="14327"/>
                    <a:pt x="1396" y="14327"/>
                  </a:cubicBezTo>
                  <a:cubicBezTo>
                    <a:pt x="1401" y="14321"/>
                    <a:pt x="1401" y="14321"/>
                    <a:pt x="1401" y="14321"/>
                  </a:cubicBezTo>
                  <a:cubicBezTo>
                    <a:pt x="1399" y="14319"/>
                    <a:pt x="1399" y="14319"/>
                    <a:pt x="1399" y="14319"/>
                  </a:cubicBezTo>
                  <a:cubicBezTo>
                    <a:pt x="1449" y="14214"/>
                    <a:pt x="1449" y="14214"/>
                    <a:pt x="1449" y="14214"/>
                  </a:cubicBezTo>
                  <a:cubicBezTo>
                    <a:pt x="1450" y="14215"/>
                    <a:pt x="1450" y="14215"/>
                    <a:pt x="1450" y="14215"/>
                  </a:cubicBezTo>
                  <a:cubicBezTo>
                    <a:pt x="1456" y="14209"/>
                    <a:pt x="1456" y="14209"/>
                    <a:pt x="1456" y="14209"/>
                  </a:cubicBezTo>
                  <a:cubicBezTo>
                    <a:pt x="1453" y="14207"/>
                    <a:pt x="1453" y="14207"/>
                    <a:pt x="1453" y="14207"/>
                  </a:cubicBezTo>
                  <a:cubicBezTo>
                    <a:pt x="1504" y="14100"/>
                    <a:pt x="1504" y="14100"/>
                    <a:pt x="1504" y="14100"/>
                  </a:cubicBezTo>
                  <a:cubicBezTo>
                    <a:pt x="1443" y="14044"/>
                    <a:pt x="1443" y="14044"/>
                    <a:pt x="1443" y="14044"/>
                  </a:cubicBezTo>
                  <a:cubicBezTo>
                    <a:pt x="1391" y="14154"/>
                    <a:pt x="1391" y="14154"/>
                    <a:pt x="1391" y="14154"/>
                  </a:cubicBezTo>
                  <a:lnTo>
                    <a:pt x="1390" y="14153"/>
                  </a:lnTo>
                  <a:close/>
                  <a:moveTo>
                    <a:pt x="1162" y="14780"/>
                  </a:moveTo>
                  <a:cubicBezTo>
                    <a:pt x="1121" y="14751"/>
                    <a:pt x="1121" y="14751"/>
                    <a:pt x="1121" y="14751"/>
                  </a:cubicBezTo>
                  <a:cubicBezTo>
                    <a:pt x="1173" y="14643"/>
                    <a:pt x="1173" y="14643"/>
                    <a:pt x="1173" y="14643"/>
                  </a:cubicBezTo>
                  <a:cubicBezTo>
                    <a:pt x="1212" y="14676"/>
                    <a:pt x="1212" y="14676"/>
                    <a:pt x="1212" y="14676"/>
                  </a:cubicBezTo>
                  <a:lnTo>
                    <a:pt x="1162" y="14780"/>
                  </a:lnTo>
                  <a:close/>
                  <a:moveTo>
                    <a:pt x="1216" y="14668"/>
                  </a:moveTo>
                  <a:cubicBezTo>
                    <a:pt x="1177" y="14635"/>
                    <a:pt x="1177" y="14635"/>
                    <a:pt x="1177" y="14635"/>
                  </a:cubicBezTo>
                  <a:cubicBezTo>
                    <a:pt x="1231" y="14521"/>
                    <a:pt x="1231" y="14521"/>
                    <a:pt x="1231" y="14521"/>
                  </a:cubicBezTo>
                  <a:cubicBezTo>
                    <a:pt x="1270" y="14554"/>
                    <a:pt x="1270" y="14554"/>
                    <a:pt x="1270" y="14554"/>
                  </a:cubicBezTo>
                  <a:lnTo>
                    <a:pt x="1216" y="14668"/>
                  </a:lnTo>
                  <a:close/>
                  <a:moveTo>
                    <a:pt x="1274" y="14547"/>
                  </a:moveTo>
                  <a:cubicBezTo>
                    <a:pt x="1235" y="14513"/>
                    <a:pt x="1235" y="14513"/>
                    <a:pt x="1235" y="14513"/>
                  </a:cubicBezTo>
                  <a:cubicBezTo>
                    <a:pt x="1290" y="14397"/>
                    <a:pt x="1290" y="14397"/>
                    <a:pt x="1290" y="14397"/>
                  </a:cubicBezTo>
                  <a:cubicBezTo>
                    <a:pt x="1330" y="14430"/>
                    <a:pt x="1330" y="14430"/>
                    <a:pt x="1330" y="14430"/>
                  </a:cubicBezTo>
                  <a:lnTo>
                    <a:pt x="1274" y="14547"/>
                  </a:lnTo>
                  <a:close/>
                  <a:moveTo>
                    <a:pt x="1334" y="14423"/>
                  </a:moveTo>
                  <a:cubicBezTo>
                    <a:pt x="1294" y="14389"/>
                    <a:pt x="1294" y="14389"/>
                    <a:pt x="1294" y="14389"/>
                  </a:cubicBezTo>
                  <a:cubicBezTo>
                    <a:pt x="1344" y="14283"/>
                    <a:pt x="1344" y="14283"/>
                    <a:pt x="1344" y="14283"/>
                  </a:cubicBezTo>
                  <a:cubicBezTo>
                    <a:pt x="1384" y="14317"/>
                    <a:pt x="1384" y="14317"/>
                    <a:pt x="1384" y="14317"/>
                  </a:cubicBezTo>
                  <a:lnTo>
                    <a:pt x="1334" y="14423"/>
                  </a:lnTo>
                  <a:close/>
                  <a:moveTo>
                    <a:pt x="1448" y="14067"/>
                  </a:moveTo>
                  <a:cubicBezTo>
                    <a:pt x="1487" y="14103"/>
                    <a:pt x="1487" y="14103"/>
                    <a:pt x="1487" y="14103"/>
                  </a:cubicBezTo>
                  <a:cubicBezTo>
                    <a:pt x="1442" y="14197"/>
                    <a:pt x="1442" y="14197"/>
                    <a:pt x="1442" y="14197"/>
                  </a:cubicBezTo>
                  <a:cubicBezTo>
                    <a:pt x="1402" y="14163"/>
                    <a:pt x="1402" y="14163"/>
                    <a:pt x="1402" y="14163"/>
                  </a:cubicBezTo>
                  <a:lnTo>
                    <a:pt x="1448" y="14067"/>
                  </a:lnTo>
                  <a:close/>
                  <a:moveTo>
                    <a:pt x="1438" y="14205"/>
                  </a:moveTo>
                  <a:cubicBezTo>
                    <a:pt x="1388" y="14310"/>
                    <a:pt x="1388" y="14310"/>
                    <a:pt x="1388" y="14310"/>
                  </a:cubicBezTo>
                  <a:cubicBezTo>
                    <a:pt x="1348" y="14276"/>
                    <a:pt x="1348" y="14276"/>
                    <a:pt x="1348" y="14276"/>
                  </a:cubicBezTo>
                  <a:cubicBezTo>
                    <a:pt x="1398" y="14171"/>
                    <a:pt x="1398" y="14171"/>
                    <a:pt x="1398" y="14171"/>
                  </a:cubicBezTo>
                  <a:lnTo>
                    <a:pt x="1438" y="14205"/>
                  </a:lnTo>
                  <a:close/>
                  <a:moveTo>
                    <a:pt x="1256" y="14152"/>
                  </a:moveTo>
                  <a:cubicBezTo>
                    <a:pt x="1193" y="14102"/>
                    <a:pt x="1193" y="14102"/>
                    <a:pt x="1193" y="14102"/>
                  </a:cubicBezTo>
                  <a:cubicBezTo>
                    <a:pt x="1125" y="14124"/>
                    <a:pt x="1125" y="14124"/>
                    <a:pt x="1125" y="14124"/>
                  </a:cubicBezTo>
                  <a:cubicBezTo>
                    <a:pt x="1044" y="14221"/>
                    <a:pt x="1044" y="14221"/>
                    <a:pt x="1044" y="14221"/>
                  </a:cubicBezTo>
                  <a:cubicBezTo>
                    <a:pt x="1183" y="14297"/>
                    <a:pt x="1183" y="14297"/>
                    <a:pt x="1183" y="14297"/>
                  </a:cubicBezTo>
                  <a:lnTo>
                    <a:pt x="1256" y="14152"/>
                  </a:lnTo>
                  <a:close/>
                  <a:moveTo>
                    <a:pt x="1066" y="14217"/>
                  </a:moveTo>
                  <a:cubicBezTo>
                    <a:pt x="1133" y="14136"/>
                    <a:pt x="1133" y="14136"/>
                    <a:pt x="1133" y="14136"/>
                  </a:cubicBezTo>
                  <a:cubicBezTo>
                    <a:pt x="1190" y="14118"/>
                    <a:pt x="1190" y="14118"/>
                    <a:pt x="1190" y="14118"/>
                  </a:cubicBezTo>
                  <a:cubicBezTo>
                    <a:pt x="1239" y="14156"/>
                    <a:pt x="1239" y="14156"/>
                    <a:pt x="1239" y="14156"/>
                  </a:cubicBezTo>
                  <a:cubicBezTo>
                    <a:pt x="1177" y="14278"/>
                    <a:pt x="1177" y="14278"/>
                    <a:pt x="1177" y="14278"/>
                  </a:cubicBezTo>
                  <a:lnTo>
                    <a:pt x="1066" y="14217"/>
                  </a:lnTo>
                  <a:close/>
                  <a:moveTo>
                    <a:pt x="4211" y="14183"/>
                  </a:moveTo>
                  <a:cubicBezTo>
                    <a:pt x="4303" y="14171"/>
                    <a:pt x="4303" y="14171"/>
                    <a:pt x="4303" y="14171"/>
                  </a:cubicBezTo>
                  <a:cubicBezTo>
                    <a:pt x="4314" y="14100"/>
                    <a:pt x="4314" y="14100"/>
                    <a:pt x="4314" y="14100"/>
                  </a:cubicBezTo>
                  <a:cubicBezTo>
                    <a:pt x="4378" y="14111"/>
                    <a:pt x="4378" y="14111"/>
                    <a:pt x="4378" y="14111"/>
                  </a:cubicBezTo>
                  <a:cubicBezTo>
                    <a:pt x="4395" y="14054"/>
                    <a:pt x="4395" y="14054"/>
                    <a:pt x="4395" y="14054"/>
                  </a:cubicBezTo>
                  <a:cubicBezTo>
                    <a:pt x="4151" y="14016"/>
                    <a:pt x="4151" y="14016"/>
                    <a:pt x="4151" y="14016"/>
                  </a:cubicBezTo>
                  <a:cubicBezTo>
                    <a:pt x="4141" y="14078"/>
                    <a:pt x="4141" y="14078"/>
                    <a:pt x="4141" y="14078"/>
                  </a:cubicBezTo>
                  <a:cubicBezTo>
                    <a:pt x="4213" y="14110"/>
                    <a:pt x="4213" y="14110"/>
                    <a:pt x="4213" y="14110"/>
                  </a:cubicBezTo>
                  <a:lnTo>
                    <a:pt x="4211" y="14183"/>
                  </a:lnTo>
                  <a:close/>
                  <a:moveTo>
                    <a:pt x="4156" y="14070"/>
                  </a:moveTo>
                  <a:cubicBezTo>
                    <a:pt x="4163" y="14032"/>
                    <a:pt x="4163" y="14032"/>
                    <a:pt x="4163" y="14032"/>
                  </a:cubicBezTo>
                  <a:cubicBezTo>
                    <a:pt x="4377" y="14065"/>
                    <a:pt x="4377" y="14065"/>
                    <a:pt x="4377" y="14065"/>
                  </a:cubicBezTo>
                  <a:cubicBezTo>
                    <a:pt x="4368" y="14096"/>
                    <a:pt x="4368" y="14096"/>
                    <a:pt x="4368" y="14096"/>
                  </a:cubicBezTo>
                  <a:cubicBezTo>
                    <a:pt x="4317" y="14086"/>
                    <a:pt x="4317" y="14086"/>
                    <a:pt x="4317" y="14086"/>
                  </a:cubicBezTo>
                  <a:cubicBezTo>
                    <a:pt x="4303" y="14084"/>
                    <a:pt x="4303" y="14084"/>
                    <a:pt x="4303" y="14084"/>
                  </a:cubicBezTo>
                  <a:cubicBezTo>
                    <a:pt x="4300" y="14098"/>
                    <a:pt x="4300" y="14098"/>
                    <a:pt x="4300" y="14098"/>
                  </a:cubicBezTo>
                  <a:cubicBezTo>
                    <a:pt x="4291" y="14158"/>
                    <a:pt x="4291" y="14158"/>
                    <a:pt x="4291" y="14158"/>
                  </a:cubicBezTo>
                  <a:cubicBezTo>
                    <a:pt x="4225" y="14167"/>
                    <a:pt x="4225" y="14167"/>
                    <a:pt x="4225" y="14167"/>
                  </a:cubicBezTo>
                  <a:cubicBezTo>
                    <a:pt x="4227" y="14110"/>
                    <a:pt x="4227" y="14110"/>
                    <a:pt x="4227" y="14110"/>
                  </a:cubicBezTo>
                  <a:cubicBezTo>
                    <a:pt x="4227" y="14101"/>
                    <a:pt x="4227" y="14101"/>
                    <a:pt x="4227" y="14101"/>
                  </a:cubicBezTo>
                  <a:cubicBezTo>
                    <a:pt x="4218" y="14097"/>
                    <a:pt x="4218" y="14097"/>
                    <a:pt x="4218" y="14097"/>
                  </a:cubicBezTo>
                  <a:lnTo>
                    <a:pt x="4156" y="14070"/>
                  </a:lnTo>
                  <a:close/>
                  <a:moveTo>
                    <a:pt x="866" y="14821"/>
                  </a:moveTo>
                  <a:cubicBezTo>
                    <a:pt x="875" y="14811"/>
                    <a:pt x="875" y="14811"/>
                    <a:pt x="875" y="14811"/>
                  </a:cubicBezTo>
                  <a:cubicBezTo>
                    <a:pt x="865" y="14802"/>
                    <a:pt x="865" y="14802"/>
                    <a:pt x="865" y="14802"/>
                  </a:cubicBezTo>
                  <a:cubicBezTo>
                    <a:pt x="821" y="14765"/>
                    <a:pt x="821" y="14765"/>
                    <a:pt x="821" y="14765"/>
                  </a:cubicBezTo>
                  <a:cubicBezTo>
                    <a:pt x="803" y="14750"/>
                    <a:pt x="803" y="14750"/>
                    <a:pt x="803" y="14750"/>
                  </a:cubicBezTo>
                  <a:cubicBezTo>
                    <a:pt x="798" y="14772"/>
                    <a:pt x="798" y="14772"/>
                    <a:pt x="798" y="14772"/>
                  </a:cubicBezTo>
                  <a:cubicBezTo>
                    <a:pt x="767" y="14897"/>
                    <a:pt x="767" y="14897"/>
                    <a:pt x="767" y="14897"/>
                  </a:cubicBezTo>
                  <a:cubicBezTo>
                    <a:pt x="792" y="14910"/>
                    <a:pt x="792" y="14910"/>
                    <a:pt x="792" y="14910"/>
                  </a:cubicBezTo>
                  <a:lnTo>
                    <a:pt x="866" y="14821"/>
                  </a:lnTo>
                  <a:close/>
                  <a:moveTo>
                    <a:pt x="812" y="14776"/>
                  </a:moveTo>
                  <a:cubicBezTo>
                    <a:pt x="856" y="14812"/>
                    <a:pt x="856" y="14812"/>
                    <a:pt x="856" y="14812"/>
                  </a:cubicBezTo>
                  <a:cubicBezTo>
                    <a:pt x="781" y="14901"/>
                    <a:pt x="781" y="14901"/>
                    <a:pt x="781" y="14901"/>
                  </a:cubicBezTo>
                  <a:lnTo>
                    <a:pt x="812" y="14776"/>
                  </a:lnTo>
                  <a:close/>
                  <a:moveTo>
                    <a:pt x="537" y="15475"/>
                  </a:moveTo>
                  <a:cubicBezTo>
                    <a:pt x="416" y="15452"/>
                    <a:pt x="299" y="15473"/>
                    <a:pt x="299" y="15473"/>
                  </a:cubicBezTo>
                  <a:cubicBezTo>
                    <a:pt x="307" y="15559"/>
                    <a:pt x="307" y="15559"/>
                    <a:pt x="307" y="15559"/>
                  </a:cubicBezTo>
                  <a:cubicBezTo>
                    <a:pt x="307" y="15559"/>
                    <a:pt x="421" y="15542"/>
                    <a:pt x="422" y="15589"/>
                  </a:cubicBezTo>
                  <a:cubicBezTo>
                    <a:pt x="422" y="15590"/>
                    <a:pt x="505" y="15597"/>
                    <a:pt x="505" y="15597"/>
                  </a:cubicBezTo>
                  <a:cubicBezTo>
                    <a:pt x="574" y="15630"/>
                    <a:pt x="574" y="15630"/>
                    <a:pt x="574" y="15630"/>
                  </a:cubicBezTo>
                  <a:cubicBezTo>
                    <a:pt x="574" y="15630"/>
                    <a:pt x="584" y="15602"/>
                    <a:pt x="613" y="15615"/>
                  </a:cubicBezTo>
                  <a:cubicBezTo>
                    <a:pt x="642" y="15629"/>
                    <a:pt x="675" y="15645"/>
                    <a:pt x="675" y="15645"/>
                  </a:cubicBezTo>
                  <a:cubicBezTo>
                    <a:pt x="730" y="15574"/>
                    <a:pt x="730" y="15574"/>
                    <a:pt x="730" y="15574"/>
                  </a:cubicBezTo>
                  <a:cubicBezTo>
                    <a:pt x="730" y="15574"/>
                    <a:pt x="656" y="15497"/>
                    <a:pt x="537" y="15475"/>
                  </a:cubicBezTo>
                  <a:close/>
                  <a:moveTo>
                    <a:pt x="671" y="15628"/>
                  </a:moveTo>
                  <a:cubicBezTo>
                    <a:pt x="659" y="15622"/>
                    <a:pt x="638" y="15612"/>
                    <a:pt x="619" y="15603"/>
                  </a:cubicBezTo>
                  <a:cubicBezTo>
                    <a:pt x="612" y="15599"/>
                    <a:pt x="605" y="15598"/>
                    <a:pt x="598" y="15598"/>
                  </a:cubicBezTo>
                  <a:cubicBezTo>
                    <a:pt x="585" y="15598"/>
                    <a:pt x="575" y="15604"/>
                    <a:pt x="569" y="15612"/>
                  </a:cubicBezTo>
                  <a:cubicBezTo>
                    <a:pt x="511" y="15584"/>
                    <a:pt x="511" y="15584"/>
                    <a:pt x="511" y="15584"/>
                  </a:cubicBezTo>
                  <a:cubicBezTo>
                    <a:pt x="509" y="15583"/>
                    <a:pt x="509" y="15583"/>
                    <a:pt x="509" y="15583"/>
                  </a:cubicBezTo>
                  <a:cubicBezTo>
                    <a:pt x="506" y="15583"/>
                    <a:pt x="506" y="15583"/>
                    <a:pt x="506" y="15583"/>
                  </a:cubicBezTo>
                  <a:cubicBezTo>
                    <a:pt x="478" y="15581"/>
                    <a:pt x="448" y="15578"/>
                    <a:pt x="434" y="15576"/>
                  </a:cubicBezTo>
                  <a:cubicBezTo>
                    <a:pt x="428" y="15559"/>
                    <a:pt x="408" y="15542"/>
                    <a:pt x="352" y="15542"/>
                  </a:cubicBezTo>
                  <a:cubicBezTo>
                    <a:pt x="339" y="15542"/>
                    <a:pt x="328" y="15543"/>
                    <a:pt x="320" y="15544"/>
                  </a:cubicBezTo>
                  <a:cubicBezTo>
                    <a:pt x="314" y="15485"/>
                    <a:pt x="314" y="15485"/>
                    <a:pt x="314" y="15485"/>
                  </a:cubicBezTo>
                  <a:cubicBezTo>
                    <a:pt x="333" y="15482"/>
                    <a:pt x="370" y="15478"/>
                    <a:pt x="416" y="15478"/>
                  </a:cubicBezTo>
                  <a:cubicBezTo>
                    <a:pt x="458" y="15478"/>
                    <a:pt x="498" y="15482"/>
                    <a:pt x="535" y="15488"/>
                  </a:cubicBezTo>
                  <a:cubicBezTo>
                    <a:pt x="625" y="15506"/>
                    <a:pt x="689" y="15556"/>
                    <a:pt x="711" y="15576"/>
                  </a:cubicBezTo>
                  <a:lnTo>
                    <a:pt x="671" y="15628"/>
                  </a:lnTo>
                  <a:close/>
                  <a:moveTo>
                    <a:pt x="1018" y="14419"/>
                  </a:moveTo>
                  <a:cubicBezTo>
                    <a:pt x="956" y="14545"/>
                    <a:pt x="956" y="14545"/>
                    <a:pt x="956" y="14545"/>
                  </a:cubicBezTo>
                  <a:cubicBezTo>
                    <a:pt x="886" y="14411"/>
                    <a:pt x="886" y="14411"/>
                    <a:pt x="886" y="14411"/>
                  </a:cubicBezTo>
                  <a:cubicBezTo>
                    <a:pt x="787" y="14515"/>
                    <a:pt x="787" y="14515"/>
                    <a:pt x="787" y="14515"/>
                  </a:cubicBezTo>
                  <a:cubicBezTo>
                    <a:pt x="1000" y="14668"/>
                    <a:pt x="1000" y="14668"/>
                    <a:pt x="1000" y="14668"/>
                  </a:cubicBezTo>
                  <a:cubicBezTo>
                    <a:pt x="1151" y="14362"/>
                    <a:pt x="1151" y="14362"/>
                    <a:pt x="1151" y="14362"/>
                  </a:cubicBezTo>
                  <a:cubicBezTo>
                    <a:pt x="998" y="14278"/>
                    <a:pt x="998" y="14278"/>
                    <a:pt x="998" y="14278"/>
                  </a:cubicBezTo>
                  <a:cubicBezTo>
                    <a:pt x="924" y="14357"/>
                    <a:pt x="924" y="14357"/>
                    <a:pt x="924" y="14357"/>
                  </a:cubicBezTo>
                  <a:lnTo>
                    <a:pt x="1018" y="14419"/>
                  </a:lnTo>
                  <a:close/>
                  <a:moveTo>
                    <a:pt x="1001" y="14296"/>
                  </a:moveTo>
                  <a:cubicBezTo>
                    <a:pt x="1132" y="14368"/>
                    <a:pt x="1132" y="14368"/>
                    <a:pt x="1132" y="14368"/>
                  </a:cubicBezTo>
                  <a:cubicBezTo>
                    <a:pt x="995" y="14647"/>
                    <a:pt x="995" y="14647"/>
                    <a:pt x="995" y="14647"/>
                  </a:cubicBezTo>
                  <a:cubicBezTo>
                    <a:pt x="808" y="14513"/>
                    <a:pt x="808" y="14513"/>
                    <a:pt x="808" y="14513"/>
                  </a:cubicBezTo>
                  <a:cubicBezTo>
                    <a:pt x="883" y="14434"/>
                    <a:pt x="883" y="14434"/>
                    <a:pt x="883" y="14434"/>
                  </a:cubicBezTo>
                  <a:cubicBezTo>
                    <a:pt x="944" y="14551"/>
                    <a:pt x="944" y="14551"/>
                    <a:pt x="944" y="14551"/>
                  </a:cubicBezTo>
                  <a:cubicBezTo>
                    <a:pt x="957" y="14576"/>
                    <a:pt x="957" y="14576"/>
                    <a:pt x="957" y="14576"/>
                  </a:cubicBezTo>
                  <a:cubicBezTo>
                    <a:pt x="969" y="14551"/>
                    <a:pt x="969" y="14551"/>
                    <a:pt x="969" y="14551"/>
                  </a:cubicBezTo>
                  <a:cubicBezTo>
                    <a:pt x="1030" y="14425"/>
                    <a:pt x="1030" y="14425"/>
                    <a:pt x="1030" y="14425"/>
                  </a:cubicBezTo>
                  <a:cubicBezTo>
                    <a:pt x="1036" y="14414"/>
                    <a:pt x="1036" y="14414"/>
                    <a:pt x="1036" y="14414"/>
                  </a:cubicBezTo>
                  <a:cubicBezTo>
                    <a:pt x="1025" y="14407"/>
                    <a:pt x="1025" y="14407"/>
                    <a:pt x="1025" y="14407"/>
                  </a:cubicBezTo>
                  <a:cubicBezTo>
                    <a:pt x="946" y="14355"/>
                    <a:pt x="946" y="14355"/>
                    <a:pt x="946" y="14355"/>
                  </a:cubicBezTo>
                  <a:lnTo>
                    <a:pt x="1001" y="14296"/>
                  </a:lnTo>
                  <a:close/>
                  <a:moveTo>
                    <a:pt x="1532" y="13833"/>
                  </a:moveTo>
                  <a:cubicBezTo>
                    <a:pt x="1637" y="13661"/>
                    <a:pt x="1637" y="13661"/>
                    <a:pt x="1637" y="13661"/>
                  </a:cubicBezTo>
                  <a:cubicBezTo>
                    <a:pt x="1522" y="13616"/>
                    <a:pt x="1522" y="13616"/>
                    <a:pt x="1522" y="13616"/>
                  </a:cubicBezTo>
                  <a:cubicBezTo>
                    <a:pt x="1409" y="13790"/>
                    <a:pt x="1409" y="13790"/>
                    <a:pt x="1409" y="13790"/>
                  </a:cubicBezTo>
                  <a:lnTo>
                    <a:pt x="1532" y="13833"/>
                  </a:lnTo>
                  <a:close/>
                  <a:moveTo>
                    <a:pt x="1527" y="13634"/>
                  </a:moveTo>
                  <a:cubicBezTo>
                    <a:pt x="1616" y="13668"/>
                    <a:pt x="1616" y="13668"/>
                    <a:pt x="1616" y="13668"/>
                  </a:cubicBezTo>
                  <a:cubicBezTo>
                    <a:pt x="1526" y="13816"/>
                    <a:pt x="1526" y="13816"/>
                    <a:pt x="1526" y="13816"/>
                  </a:cubicBezTo>
                  <a:cubicBezTo>
                    <a:pt x="1431" y="13782"/>
                    <a:pt x="1431" y="13782"/>
                    <a:pt x="1431" y="13782"/>
                  </a:cubicBezTo>
                  <a:lnTo>
                    <a:pt x="1527" y="13634"/>
                  </a:lnTo>
                  <a:close/>
                  <a:moveTo>
                    <a:pt x="3579" y="11655"/>
                  </a:moveTo>
                  <a:cubicBezTo>
                    <a:pt x="3580" y="11660"/>
                    <a:pt x="3580" y="11660"/>
                    <a:pt x="3580" y="11660"/>
                  </a:cubicBezTo>
                  <a:cubicBezTo>
                    <a:pt x="3580" y="11660"/>
                    <a:pt x="3581" y="11660"/>
                    <a:pt x="3582" y="11660"/>
                  </a:cubicBezTo>
                  <a:cubicBezTo>
                    <a:pt x="3769" y="11757"/>
                    <a:pt x="3769" y="11757"/>
                    <a:pt x="3769" y="11757"/>
                  </a:cubicBezTo>
                  <a:cubicBezTo>
                    <a:pt x="3834" y="11922"/>
                    <a:pt x="3834" y="11922"/>
                    <a:pt x="3834" y="11922"/>
                  </a:cubicBezTo>
                  <a:cubicBezTo>
                    <a:pt x="4038" y="11857"/>
                    <a:pt x="4038" y="11857"/>
                    <a:pt x="4038" y="11857"/>
                  </a:cubicBezTo>
                  <a:cubicBezTo>
                    <a:pt x="3923" y="11696"/>
                    <a:pt x="3923" y="11696"/>
                    <a:pt x="3923" y="11696"/>
                  </a:cubicBezTo>
                  <a:cubicBezTo>
                    <a:pt x="3792" y="11607"/>
                    <a:pt x="3792" y="11607"/>
                    <a:pt x="3792" y="11607"/>
                  </a:cubicBezTo>
                  <a:cubicBezTo>
                    <a:pt x="3791" y="11603"/>
                    <a:pt x="3791" y="11603"/>
                    <a:pt x="3791" y="11603"/>
                  </a:cubicBezTo>
                  <a:cubicBezTo>
                    <a:pt x="3791" y="11603"/>
                    <a:pt x="3791" y="11603"/>
                    <a:pt x="3791" y="11603"/>
                  </a:cubicBezTo>
                  <a:cubicBezTo>
                    <a:pt x="3764" y="11497"/>
                    <a:pt x="3764" y="11497"/>
                    <a:pt x="3764" y="11497"/>
                  </a:cubicBezTo>
                  <a:cubicBezTo>
                    <a:pt x="3498" y="11448"/>
                    <a:pt x="3498" y="11448"/>
                    <a:pt x="3498" y="11448"/>
                  </a:cubicBezTo>
                  <a:lnTo>
                    <a:pt x="3579" y="11655"/>
                  </a:lnTo>
                  <a:close/>
                  <a:moveTo>
                    <a:pt x="3913" y="11706"/>
                  </a:moveTo>
                  <a:cubicBezTo>
                    <a:pt x="4015" y="11850"/>
                    <a:pt x="4015" y="11850"/>
                    <a:pt x="4015" y="11850"/>
                  </a:cubicBezTo>
                  <a:cubicBezTo>
                    <a:pt x="3842" y="11905"/>
                    <a:pt x="3842" y="11905"/>
                    <a:pt x="3842" y="11905"/>
                  </a:cubicBezTo>
                  <a:cubicBezTo>
                    <a:pt x="3783" y="11754"/>
                    <a:pt x="3783" y="11754"/>
                    <a:pt x="3783" y="11754"/>
                  </a:cubicBezTo>
                  <a:cubicBezTo>
                    <a:pt x="3909" y="11703"/>
                    <a:pt x="3909" y="11703"/>
                    <a:pt x="3909" y="11703"/>
                  </a:cubicBezTo>
                  <a:lnTo>
                    <a:pt x="3913" y="11706"/>
                  </a:lnTo>
                  <a:close/>
                  <a:moveTo>
                    <a:pt x="3779" y="11615"/>
                  </a:moveTo>
                  <a:cubicBezTo>
                    <a:pt x="3784" y="11618"/>
                    <a:pt x="3784" y="11618"/>
                    <a:pt x="3784" y="11618"/>
                  </a:cubicBezTo>
                  <a:cubicBezTo>
                    <a:pt x="3901" y="11698"/>
                    <a:pt x="3901" y="11698"/>
                    <a:pt x="3901" y="11698"/>
                  </a:cubicBezTo>
                  <a:cubicBezTo>
                    <a:pt x="3779" y="11747"/>
                    <a:pt x="3779" y="11747"/>
                    <a:pt x="3779" y="11747"/>
                  </a:cubicBezTo>
                  <a:cubicBezTo>
                    <a:pt x="3775" y="11744"/>
                    <a:pt x="3775" y="11744"/>
                    <a:pt x="3775" y="11744"/>
                  </a:cubicBezTo>
                  <a:cubicBezTo>
                    <a:pt x="3603" y="11655"/>
                    <a:pt x="3603" y="11655"/>
                    <a:pt x="3603" y="11655"/>
                  </a:cubicBezTo>
                  <a:cubicBezTo>
                    <a:pt x="3647" y="11645"/>
                    <a:pt x="3743" y="11623"/>
                    <a:pt x="3779" y="11614"/>
                  </a:cubicBezTo>
                  <a:lnTo>
                    <a:pt x="3779" y="11615"/>
                  </a:lnTo>
                  <a:close/>
                  <a:moveTo>
                    <a:pt x="3777" y="11606"/>
                  </a:moveTo>
                  <a:cubicBezTo>
                    <a:pt x="3739" y="11615"/>
                    <a:pt x="3630" y="11641"/>
                    <a:pt x="3592" y="11649"/>
                  </a:cubicBezTo>
                  <a:cubicBezTo>
                    <a:pt x="3520" y="11467"/>
                    <a:pt x="3520" y="11467"/>
                    <a:pt x="3520" y="11467"/>
                  </a:cubicBezTo>
                  <a:cubicBezTo>
                    <a:pt x="3753" y="11509"/>
                    <a:pt x="3753" y="11509"/>
                    <a:pt x="3753" y="11509"/>
                  </a:cubicBezTo>
                  <a:lnTo>
                    <a:pt x="3777" y="11606"/>
                  </a:lnTo>
                  <a:close/>
                  <a:moveTo>
                    <a:pt x="4282" y="6665"/>
                  </a:moveTo>
                  <a:cubicBezTo>
                    <a:pt x="4289" y="6663"/>
                    <a:pt x="4289" y="6663"/>
                    <a:pt x="4289" y="6663"/>
                  </a:cubicBezTo>
                  <a:cubicBezTo>
                    <a:pt x="4262" y="6604"/>
                    <a:pt x="4262" y="6604"/>
                    <a:pt x="4262" y="6604"/>
                  </a:cubicBezTo>
                  <a:cubicBezTo>
                    <a:pt x="4176" y="6640"/>
                    <a:pt x="4176" y="6640"/>
                    <a:pt x="4176" y="6640"/>
                  </a:cubicBezTo>
                  <a:cubicBezTo>
                    <a:pt x="4207" y="6696"/>
                    <a:pt x="4207" y="6696"/>
                    <a:pt x="4207" y="6696"/>
                  </a:cubicBezTo>
                  <a:lnTo>
                    <a:pt x="4282" y="6665"/>
                  </a:lnTo>
                  <a:close/>
                  <a:moveTo>
                    <a:pt x="4255" y="6621"/>
                  </a:moveTo>
                  <a:cubicBezTo>
                    <a:pt x="4271" y="6656"/>
                    <a:pt x="4271" y="6656"/>
                    <a:pt x="4271" y="6656"/>
                  </a:cubicBezTo>
                  <a:cubicBezTo>
                    <a:pt x="4213" y="6679"/>
                    <a:pt x="4213" y="6679"/>
                    <a:pt x="4213" y="6679"/>
                  </a:cubicBezTo>
                  <a:cubicBezTo>
                    <a:pt x="4195" y="6646"/>
                    <a:pt x="4195" y="6646"/>
                    <a:pt x="4195" y="6646"/>
                  </a:cubicBezTo>
                  <a:lnTo>
                    <a:pt x="4255" y="6621"/>
                  </a:lnTo>
                  <a:close/>
                  <a:moveTo>
                    <a:pt x="10359" y="217"/>
                  </a:moveTo>
                  <a:cubicBezTo>
                    <a:pt x="10350" y="0"/>
                    <a:pt x="10350" y="0"/>
                    <a:pt x="10350" y="0"/>
                  </a:cubicBezTo>
                  <a:cubicBezTo>
                    <a:pt x="10364" y="0"/>
                    <a:pt x="10364" y="0"/>
                    <a:pt x="10364" y="0"/>
                  </a:cubicBezTo>
                  <a:cubicBezTo>
                    <a:pt x="10372" y="216"/>
                    <a:pt x="10372" y="216"/>
                    <a:pt x="10372" y="216"/>
                  </a:cubicBezTo>
                  <a:lnTo>
                    <a:pt x="10359" y="217"/>
                  </a:lnTo>
                  <a:close/>
                  <a:moveTo>
                    <a:pt x="180" y="16051"/>
                  </a:moveTo>
                  <a:cubicBezTo>
                    <a:pt x="4" y="16296"/>
                    <a:pt x="4" y="16296"/>
                    <a:pt x="4" y="16296"/>
                  </a:cubicBezTo>
                  <a:cubicBezTo>
                    <a:pt x="4" y="16272"/>
                    <a:pt x="4" y="16272"/>
                    <a:pt x="4" y="16272"/>
                  </a:cubicBezTo>
                  <a:cubicBezTo>
                    <a:pt x="75" y="16174"/>
                    <a:pt x="75" y="16174"/>
                    <a:pt x="75" y="16174"/>
                  </a:cubicBezTo>
                  <a:cubicBezTo>
                    <a:pt x="4" y="16124"/>
                    <a:pt x="4" y="16124"/>
                    <a:pt x="4" y="16124"/>
                  </a:cubicBezTo>
                  <a:cubicBezTo>
                    <a:pt x="4" y="16106"/>
                    <a:pt x="4" y="16106"/>
                    <a:pt x="4" y="16106"/>
                  </a:cubicBezTo>
                  <a:cubicBezTo>
                    <a:pt x="83" y="16163"/>
                    <a:pt x="83" y="16163"/>
                    <a:pt x="83" y="16163"/>
                  </a:cubicBezTo>
                  <a:cubicBezTo>
                    <a:pt x="169" y="16043"/>
                    <a:pt x="169" y="16043"/>
                    <a:pt x="169" y="16043"/>
                  </a:cubicBezTo>
                  <a:lnTo>
                    <a:pt x="180" y="16051"/>
                  </a:lnTo>
                  <a:close/>
                  <a:moveTo>
                    <a:pt x="4" y="13086"/>
                  </a:moveTo>
                  <a:cubicBezTo>
                    <a:pt x="6" y="13097"/>
                    <a:pt x="7" y="13109"/>
                    <a:pt x="7" y="13120"/>
                  </a:cubicBezTo>
                  <a:cubicBezTo>
                    <a:pt x="7" y="13132"/>
                    <a:pt x="6" y="13145"/>
                    <a:pt x="4" y="13157"/>
                  </a:cubicBezTo>
                  <a:lnTo>
                    <a:pt x="4" y="13086"/>
                  </a:lnTo>
                  <a:close/>
                  <a:moveTo>
                    <a:pt x="18008" y="610"/>
                  </a:moveTo>
                  <a:cubicBezTo>
                    <a:pt x="17968" y="639"/>
                    <a:pt x="17928" y="667"/>
                    <a:pt x="17890" y="692"/>
                  </a:cubicBezTo>
                  <a:cubicBezTo>
                    <a:pt x="17885" y="685"/>
                    <a:pt x="17880" y="678"/>
                    <a:pt x="17874" y="671"/>
                  </a:cubicBezTo>
                  <a:cubicBezTo>
                    <a:pt x="17749" y="516"/>
                    <a:pt x="17540" y="284"/>
                    <a:pt x="17114" y="0"/>
                  </a:cubicBezTo>
                  <a:cubicBezTo>
                    <a:pt x="16994" y="0"/>
                    <a:pt x="16994" y="0"/>
                    <a:pt x="16994" y="0"/>
                  </a:cubicBezTo>
                  <a:cubicBezTo>
                    <a:pt x="17472" y="306"/>
                    <a:pt x="17692" y="551"/>
                    <a:pt x="17823" y="712"/>
                  </a:cubicBezTo>
                  <a:cubicBezTo>
                    <a:pt x="17828" y="717"/>
                    <a:pt x="17832" y="723"/>
                    <a:pt x="17836" y="728"/>
                  </a:cubicBezTo>
                  <a:cubicBezTo>
                    <a:pt x="17388" y="1024"/>
                    <a:pt x="16683" y="1548"/>
                    <a:pt x="16196" y="1676"/>
                  </a:cubicBezTo>
                  <a:cubicBezTo>
                    <a:pt x="15695" y="1809"/>
                    <a:pt x="15118" y="1853"/>
                    <a:pt x="14939" y="1885"/>
                  </a:cubicBezTo>
                  <a:cubicBezTo>
                    <a:pt x="14888" y="1894"/>
                    <a:pt x="14691" y="1898"/>
                    <a:pt x="14459" y="1898"/>
                  </a:cubicBezTo>
                  <a:cubicBezTo>
                    <a:pt x="14225" y="1898"/>
                    <a:pt x="13953" y="1895"/>
                    <a:pt x="13739" y="1891"/>
                  </a:cubicBezTo>
                  <a:cubicBezTo>
                    <a:pt x="13525" y="1888"/>
                    <a:pt x="13370" y="1884"/>
                    <a:pt x="13370" y="1884"/>
                  </a:cubicBezTo>
                  <a:cubicBezTo>
                    <a:pt x="13369" y="1884"/>
                    <a:pt x="13369" y="1884"/>
                    <a:pt x="13369" y="1884"/>
                  </a:cubicBezTo>
                  <a:cubicBezTo>
                    <a:pt x="13368" y="1884"/>
                    <a:pt x="13368" y="1884"/>
                    <a:pt x="13368" y="1884"/>
                  </a:cubicBezTo>
                  <a:cubicBezTo>
                    <a:pt x="13324" y="1886"/>
                    <a:pt x="13264" y="1887"/>
                    <a:pt x="13202" y="1909"/>
                  </a:cubicBezTo>
                  <a:cubicBezTo>
                    <a:pt x="13193" y="1855"/>
                    <a:pt x="13173" y="1739"/>
                    <a:pt x="13151" y="1652"/>
                  </a:cubicBezTo>
                  <a:cubicBezTo>
                    <a:pt x="13123" y="1545"/>
                    <a:pt x="13019" y="1248"/>
                    <a:pt x="12955" y="1080"/>
                  </a:cubicBezTo>
                  <a:cubicBezTo>
                    <a:pt x="13096" y="1051"/>
                    <a:pt x="13214" y="1024"/>
                    <a:pt x="13268" y="1024"/>
                  </a:cubicBezTo>
                  <a:cubicBezTo>
                    <a:pt x="13268" y="1024"/>
                    <a:pt x="13268" y="1024"/>
                    <a:pt x="13268" y="1024"/>
                  </a:cubicBezTo>
                  <a:cubicBezTo>
                    <a:pt x="13268" y="1022"/>
                    <a:pt x="13268" y="1022"/>
                    <a:pt x="13268" y="1022"/>
                  </a:cubicBezTo>
                  <a:cubicBezTo>
                    <a:pt x="13476" y="1023"/>
                    <a:pt x="13702" y="1027"/>
                    <a:pt x="13931" y="1027"/>
                  </a:cubicBezTo>
                  <a:cubicBezTo>
                    <a:pt x="13954" y="1027"/>
                    <a:pt x="13976" y="1027"/>
                    <a:pt x="13999" y="1027"/>
                  </a:cubicBezTo>
                  <a:cubicBezTo>
                    <a:pt x="14335" y="1025"/>
                    <a:pt x="14552" y="1004"/>
                    <a:pt x="14712" y="967"/>
                  </a:cubicBezTo>
                  <a:cubicBezTo>
                    <a:pt x="14871" y="930"/>
                    <a:pt x="14973" y="875"/>
                    <a:pt x="15061" y="817"/>
                  </a:cubicBezTo>
                  <a:cubicBezTo>
                    <a:pt x="15083" y="802"/>
                    <a:pt x="15099" y="784"/>
                    <a:pt x="15117" y="763"/>
                  </a:cubicBezTo>
                  <a:cubicBezTo>
                    <a:pt x="15134" y="742"/>
                    <a:pt x="15152" y="717"/>
                    <a:pt x="15172" y="688"/>
                  </a:cubicBezTo>
                  <a:cubicBezTo>
                    <a:pt x="15210" y="630"/>
                    <a:pt x="15254" y="556"/>
                    <a:pt x="15302" y="471"/>
                  </a:cubicBezTo>
                  <a:cubicBezTo>
                    <a:pt x="15378" y="334"/>
                    <a:pt x="15464" y="169"/>
                    <a:pt x="15549" y="0"/>
                  </a:cubicBezTo>
                  <a:cubicBezTo>
                    <a:pt x="15531" y="0"/>
                    <a:pt x="15531" y="0"/>
                    <a:pt x="15531" y="0"/>
                  </a:cubicBezTo>
                  <a:cubicBezTo>
                    <a:pt x="15447" y="166"/>
                    <a:pt x="15363" y="328"/>
                    <a:pt x="15288" y="463"/>
                  </a:cubicBezTo>
                  <a:cubicBezTo>
                    <a:pt x="15240" y="548"/>
                    <a:pt x="15196" y="622"/>
                    <a:pt x="15158" y="679"/>
                  </a:cubicBezTo>
                  <a:cubicBezTo>
                    <a:pt x="15139" y="708"/>
                    <a:pt x="15121" y="732"/>
                    <a:pt x="15104" y="753"/>
                  </a:cubicBezTo>
                  <a:cubicBezTo>
                    <a:pt x="15087" y="774"/>
                    <a:pt x="15072" y="789"/>
                    <a:pt x="15052" y="803"/>
                  </a:cubicBezTo>
                  <a:cubicBezTo>
                    <a:pt x="14965" y="860"/>
                    <a:pt x="14866" y="914"/>
                    <a:pt x="14708" y="951"/>
                  </a:cubicBezTo>
                  <a:cubicBezTo>
                    <a:pt x="14551" y="987"/>
                    <a:pt x="14334" y="1009"/>
                    <a:pt x="13999" y="1010"/>
                  </a:cubicBezTo>
                  <a:cubicBezTo>
                    <a:pt x="13976" y="1010"/>
                    <a:pt x="13954" y="1010"/>
                    <a:pt x="13931" y="1010"/>
                  </a:cubicBezTo>
                  <a:cubicBezTo>
                    <a:pt x="13684" y="1010"/>
                    <a:pt x="13440" y="1006"/>
                    <a:pt x="13218" y="1006"/>
                  </a:cubicBezTo>
                  <a:cubicBezTo>
                    <a:pt x="13218" y="1006"/>
                    <a:pt x="13218" y="1006"/>
                    <a:pt x="13218" y="1006"/>
                  </a:cubicBezTo>
                  <a:cubicBezTo>
                    <a:pt x="13218" y="1012"/>
                    <a:pt x="13218" y="1012"/>
                    <a:pt x="13218" y="1012"/>
                  </a:cubicBezTo>
                  <a:cubicBezTo>
                    <a:pt x="13153" y="1021"/>
                    <a:pt x="13058" y="1042"/>
                    <a:pt x="12949" y="1065"/>
                  </a:cubicBezTo>
                  <a:cubicBezTo>
                    <a:pt x="12945" y="1054"/>
                    <a:pt x="12941" y="1044"/>
                    <a:pt x="12937" y="1034"/>
                  </a:cubicBezTo>
                  <a:cubicBezTo>
                    <a:pt x="12917" y="982"/>
                    <a:pt x="12902" y="932"/>
                    <a:pt x="12891" y="888"/>
                  </a:cubicBezTo>
                  <a:cubicBezTo>
                    <a:pt x="12993" y="884"/>
                    <a:pt x="13102" y="883"/>
                    <a:pt x="13218" y="883"/>
                  </a:cubicBezTo>
                  <a:cubicBezTo>
                    <a:pt x="13441" y="883"/>
                    <a:pt x="13685" y="887"/>
                    <a:pt x="13931" y="887"/>
                  </a:cubicBezTo>
                  <a:cubicBezTo>
                    <a:pt x="13953" y="887"/>
                    <a:pt x="13976" y="887"/>
                    <a:pt x="13999" y="887"/>
                  </a:cubicBezTo>
                  <a:cubicBezTo>
                    <a:pt x="14329" y="886"/>
                    <a:pt x="14537" y="865"/>
                    <a:pt x="14680" y="831"/>
                  </a:cubicBezTo>
                  <a:cubicBezTo>
                    <a:pt x="14823" y="797"/>
                    <a:pt x="14902" y="754"/>
                    <a:pt x="14984" y="701"/>
                  </a:cubicBezTo>
                  <a:cubicBezTo>
                    <a:pt x="14984" y="701"/>
                    <a:pt x="14984" y="701"/>
                    <a:pt x="14984" y="701"/>
                  </a:cubicBezTo>
                  <a:cubicBezTo>
                    <a:pt x="14984" y="701"/>
                    <a:pt x="14984" y="701"/>
                    <a:pt x="14984" y="701"/>
                  </a:cubicBezTo>
                  <a:cubicBezTo>
                    <a:pt x="14984" y="701"/>
                    <a:pt x="14984" y="701"/>
                    <a:pt x="14984" y="701"/>
                  </a:cubicBezTo>
                  <a:cubicBezTo>
                    <a:pt x="14984" y="700"/>
                    <a:pt x="14984" y="700"/>
                    <a:pt x="14985" y="700"/>
                  </a:cubicBezTo>
                  <a:cubicBezTo>
                    <a:pt x="14985" y="700"/>
                    <a:pt x="14985" y="700"/>
                    <a:pt x="14985" y="700"/>
                  </a:cubicBezTo>
                  <a:cubicBezTo>
                    <a:pt x="14985" y="700"/>
                    <a:pt x="14985" y="700"/>
                    <a:pt x="14985" y="700"/>
                  </a:cubicBezTo>
                  <a:cubicBezTo>
                    <a:pt x="14985" y="700"/>
                    <a:pt x="14986" y="700"/>
                    <a:pt x="14986" y="700"/>
                  </a:cubicBezTo>
                  <a:cubicBezTo>
                    <a:pt x="14986" y="700"/>
                    <a:pt x="14986" y="700"/>
                    <a:pt x="14985" y="700"/>
                  </a:cubicBezTo>
                  <a:cubicBezTo>
                    <a:pt x="14987" y="699"/>
                    <a:pt x="14987" y="699"/>
                    <a:pt x="14987" y="699"/>
                  </a:cubicBezTo>
                  <a:cubicBezTo>
                    <a:pt x="14987" y="699"/>
                    <a:pt x="14987" y="699"/>
                    <a:pt x="14987" y="699"/>
                  </a:cubicBezTo>
                  <a:cubicBezTo>
                    <a:pt x="14987" y="698"/>
                    <a:pt x="14987" y="698"/>
                    <a:pt x="14987" y="698"/>
                  </a:cubicBezTo>
                  <a:cubicBezTo>
                    <a:pt x="14989" y="697"/>
                    <a:pt x="14991" y="695"/>
                    <a:pt x="14993" y="693"/>
                  </a:cubicBezTo>
                  <a:cubicBezTo>
                    <a:pt x="15011" y="676"/>
                    <a:pt x="15043" y="632"/>
                    <a:pt x="15080" y="573"/>
                  </a:cubicBezTo>
                  <a:cubicBezTo>
                    <a:pt x="15164" y="440"/>
                    <a:pt x="15278" y="227"/>
                    <a:pt x="15393" y="0"/>
                  </a:cubicBezTo>
                  <a:cubicBezTo>
                    <a:pt x="15375" y="0"/>
                    <a:pt x="15375" y="0"/>
                    <a:pt x="15375" y="0"/>
                  </a:cubicBezTo>
                  <a:cubicBezTo>
                    <a:pt x="15261" y="224"/>
                    <a:pt x="15149" y="434"/>
                    <a:pt x="15066" y="565"/>
                  </a:cubicBezTo>
                  <a:cubicBezTo>
                    <a:pt x="15030" y="623"/>
                    <a:pt x="14997" y="666"/>
                    <a:pt x="14981" y="682"/>
                  </a:cubicBezTo>
                  <a:cubicBezTo>
                    <a:pt x="14979" y="684"/>
                    <a:pt x="14977" y="686"/>
                    <a:pt x="14976" y="686"/>
                  </a:cubicBezTo>
                  <a:cubicBezTo>
                    <a:pt x="14976" y="686"/>
                    <a:pt x="14976" y="687"/>
                    <a:pt x="14976" y="687"/>
                  </a:cubicBezTo>
                  <a:cubicBezTo>
                    <a:pt x="14894" y="740"/>
                    <a:pt x="14818" y="782"/>
                    <a:pt x="14677" y="815"/>
                  </a:cubicBezTo>
                  <a:cubicBezTo>
                    <a:pt x="14535" y="848"/>
                    <a:pt x="14328" y="870"/>
                    <a:pt x="13999" y="871"/>
                  </a:cubicBezTo>
                  <a:cubicBezTo>
                    <a:pt x="13976" y="871"/>
                    <a:pt x="13953" y="871"/>
                    <a:pt x="13931" y="871"/>
                  </a:cubicBezTo>
                  <a:cubicBezTo>
                    <a:pt x="13685" y="871"/>
                    <a:pt x="13441" y="867"/>
                    <a:pt x="13218" y="867"/>
                  </a:cubicBezTo>
                  <a:cubicBezTo>
                    <a:pt x="13101" y="867"/>
                    <a:pt x="12990" y="868"/>
                    <a:pt x="12887" y="872"/>
                  </a:cubicBezTo>
                  <a:cubicBezTo>
                    <a:pt x="12879" y="838"/>
                    <a:pt x="12873" y="809"/>
                    <a:pt x="12869" y="789"/>
                  </a:cubicBezTo>
                  <a:cubicBezTo>
                    <a:pt x="12924" y="788"/>
                    <a:pt x="12982" y="788"/>
                    <a:pt x="13041" y="788"/>
                  </a:cubicBezTo>
                  <a:cubicBezTo>
                    <a:pt x="13355" y="786"/>
                    <a:pt x="13723" y="784"/>
                    <a:pt x="13984" y="782"/>
                  </a:cubicBezTo>
                  <a:cubicBezTo>
                    <a:pt x="14160" y="780"/>
                    <a:pt x="14283" y="778"/>
                    <a:pt x="14322" y="775"/>
                  </a:cubicBezTo>
                  <a:cubicBezTo>
                    <a:pt x="14386" y="770"/>
                    <a:pt x="14472" y="764"/>
                    <a:pt x="14556" y="748"/>
                  </a:cubicBezTo>
                  <a:cubicBezTo>
                    <a:pt x="14640" y="731"/>
                    <a:pt x="14722" y="708"/>
                    <a:pt x="14786" y="653"/>
                  </a:cubicBezTo>
                  <a:cubicBezTo>
                    <a:pt x="14888" y="563"/>
                    <a:pt x="14947" y="439"/>
                    <a:pt x="14965" y="402"/>
                  </a:cubicBezTo>
                  <a:cubicBezTo>
                    <a:pt x="14970" y="391"/>
                    <a:pt x="15051" y="216"/>
                    <a:pt x="15150" y="0"/>
                  </a:cubicBezTo>
                  <a:cubicBezTo>
                    <a:pt x="14983" y="0"/>
                    <a:pt x="14983" y="0"/>
                    <a:pt x="14983" y="0"/>
                  </a:cubicBezTo>
                  <a:cubicBezTo>
                    <a:pt x="14897" y="185"/>
                    <a:pt x="14831" y="328"/>
                    <a:pt x="14826" y="338"/>
                  </a:cubicBezTo>
                  <a:cubicBezTo>
                    <a:pt x="14815" y="365"/>
                    <a:pt x="14756" y="478"/>
                    <a:pt x="14685" y="539"/>
                  </a:cubicBezTo>
                  <a:cubicBezTo>
                    <a:pt x="14664" y="560"/>
                    <a:pt x="14600" y="585"/>
                    <a:pt x="14527" y="598"/>
                  </a:cubicBezTo>
                  <a:cubicBezTo>
                    <a:pt x="14455" y="612"/>
                    <a:pt x="14374" y="619"/>
                    <a:pt x="14310" y="623"/>
                  </a:cubicBezTo>
                  <a:cubicBezTo>
                    <a:pt x="14290" y="625"/>
                    <a:pt x="14198" y="627"/>
                    <a:pt x="14070" y="628"/>
                  </a:cubicBezTo>
                  <a:cubicBezTo>
                    <a:pt x="14075" y="617"/>
                    <a:pt x="14079" y="604"/>
                    <a:pt x="14085" y="589"/>
                  </a:cubicBezTo>
                  <a:cubicBezTo>
                    <a:pt x="14102" y="541"/>
                    <a:pt x="14123" y="477"/>
                    <a:pt x="14144" y="412"/>
                  </a:cubicBezTo>
                  <a:cubicBezTo>
                    <a:pt x="14150" y="395"/>
                    <a:pt x="14155" y="378"/>
                    <a:pt x="14161" y="361"/>
                  </a:cubicBezTo>
                  <a:cubicBezTo>
                    <a:pt x="14195" y="257"/>
                    <a:pt x="14224" y="166"/>
                    <a:pt x="14224" y="166"/>
                  </a:cubicBezTo>
                  <a:cubicBezTo>
                    <a:pt x="14230" y="148"/>
                    <a:pt x="14230" y="148"/>
                    <a:pt x="14230" y="148"/>
                  </a:cubicBezTo>
                  <a:cubicBezTo>
                    <a:pt x="14228" y="145"/>
                    <a:pt x="14228" y="145"/>
                    <a:pt x="14228" y="145"/>
                  </a:cubicBezTo>
                  <a:cubicBezTo>
                    <a:pt x="14229" y="143"/>
                    <a:pt x="14229" y="143"/>
                    <a:pt x="14229" y="143"/>
                  </a:cubicBezTo>
                  <a:cubicBezTo>
                    <a:pt x="14099" y="12"/>
                    <a:pt x="14099" y="12"/>
                    <a:pt x="14099" y="12"/>
                  </a:cubicBezTo>
                  <a:cubicBezTo>
                    <a:pt x="14088" y="0"/>
                    <a:pt x="14088" y="0"/>
                    <a:pt x="14088" y="0"/>
                  </a:cubicBezTo>
                  <a:cubicBezTo>
                    <a:pt x="13996" y="0"/>
                    <a:pt x="13996" y="0"/>
                    <a:pt x="13996" y="0"/>
                  </a:cubicBezTo>
                  <a:cubicBezTo>
                    <a:pt x="14156" y="165"/>
                    <a:pt x="14156" y="165"/>
                    <a:pt x="14156" y="165"/>
                  </a:cubicBezTo>
                  <a:cubicBezTo>
                    <a:pt x="14136" y="226"/>
                    <a:pt x="14071" y="424"/>
                    <a:pt x="14029" y="546"/>
                  </a:cubicBezTo>
                  <a:cubicBezTo>
                    <a:pt x="14016" y="583"/>
                    <a:pt x="14005" y="614"/>
                    <a:pt x="13999" y="629"/>
                  </a:cubicBezTo>
                  <a:cubicBezTo>
                    <a:pt x="13993" y="629"/>
                    <a:pt x="13988" y="629"/>
                    <a:pt x="13983" y="629"/>
                  </a:cubicBezTo>
                  <a:cubicBezTo>
                    <a:pt x="13809" y="631"/>
                    <a:pt x="13588" y="632"/>
                    <a:pt x="13366" y="634"/>
                  </a:cubicBezTo>
                  <a:cubicBezTo>
                    <a:pt x="12923" y="636"/>
                    <a:pt x="12484" y="638"/>
                    <a:pt x="12418" y="640"/>
                  </a:cubicBezTo>
                  <a:cubicBezTo>
                    <a:pt x="12297" y="646"/>
                    <a:pt x="12176" y="646"/>
                    <a:pt x="12058" y="699"/>
                  </a:cubicBezTo>
                  <a:cubicBezTo>
                    <a:pt x="11995" y="727"/>
                    <a:pt x="11939" y="774"/>
                    <a:pt x="11890" y="821"/>
                  </a:cubicBezTo>
                  <a:cubicBezTo>
                    <a:pt x="11847" y="863"/>
                    <a:pt x="11812" y="904"/>
                    <a:pt x="11788" y="936"/>
                  </a:cubicBezTo>
                  <a:cubicBezTo>
                    <a:pt x="11787" y="933"/>
                    <a:pt x="11785" y="931"/>
                    <a:pt x="11784" y="928"/>
                  </a:cubicBezTo>
                  <a:cubicBezTo>
                    <a:pt x="11767" y="898"/>
                    <a:pt x="11745" y="853"/>
                    <a:pt x="11723" y="793"/>
                  </a:cubicBezTo>
                  <a:cubicBezTo>
                    <a:pt x="11678" y="672"/>
                    <a:pt x="11632" y="492"/>
                    <a:pt x="11631" y="252"/>
                  </a:cubicBezTo>
                  <a:cubicBezTo>
                    <a:pt x="11630" y="163"/>
                    <a:pt x="11629" y="80"/>
                    <a:pt x="11627" y="4"/>
                  </a:cubicBezTo>
                  <a:cubicBezTo>
                    <a:pt x="11663" y="0"/>
                    <a:pt x="11663" y="0"/>
                    <a:pt x="11663" y="0"/>
                  </a:cubicBezTo>
                  <a:cubicBezTo>
                    <a:pt x="11562" y="0"/>
                    <a:pt x="11562" y="0"/>
                    <a:pt x="11562" y="0"/>
                  </a:cubicBezTo>
                  <a:cubicBezTo>
                    <a:pt x="11563" y="53"/>
                    <a:pt x="11564" y="108"/>
                    <a:pt x="11564" y="167"/>
                  </a:cubicBezTo>
                  <a:cubicBezTo>
                    <a:pt x="11408" y="165"/>
                    <a:pt x="11408" y="165"/>
                    <a:pt x="11408" y="165"/>
                  </a:cubicBezTo>
                  <a:cubicBezTo>
                    <a:pt x="11399" y="0"/>
                    <a:pt x="11399" y="0"/>
                    <a:pt x="11399" y="0"/>
                  </a:cubicBezTo>
                  <a:cubicBezTo>
                    <a:pt x="11385" y="0"/>
                    <a:pt x="11385" y="0"/>
                    <a:pt x="11385" y="0"/>
                  </a:cubicBezTo>
                  <a:cubicBezTo>
                    <a:pt x="11394" y="165"/>
                    <a:pt x="11394" y="165"/>
                    <a:pt x="11394" y="165"/>
                  </a:cubicBezTo>
                  <a:cubicBezTo>
                    <a:pt x="11232" y="163"/>
                    <a:pt x="11232" y="163"/>
                    <a:pt x="11232" y="163"/>
                  </a:cubicBezTo>
                  <a:cubicBezTo>
                    <a:pt x="11221" y="0"/>
                    <a:pt x="11221" y="0"/>
                    <a:pt x="11221" y="0"/>
                  </a:cubicBezTo>
                  <a:cubicBezTo>
                    <a:pt x="11207" y="0"/>
                    <a:pt x="11207" y="0"/>
                    <a:pt x="11207" y="0"/>
                  </a:cubicBezTo>
                  <a:cubicBezTo>
                    <a:pt x="11218" y="162"/>
                    <a:pt x="11218" y="162"/>
                    <a:pt x="11218" y="162"/>
                  </a:cubicBezTo>
                  <a:cubicBezTo>
                    <a:pt x="11090" y="161"/>
                    <a:pt x="11090" y="161"/>
                    <a:pt x="11090" y="161"/>
                  </a:cubicBezTo>
                  <a:cubicBezTo>
                    <a:pt x="11078" y="0"/>
                    <a:pt x="11078" y="0"/>
                    <a:pt x="11078" y="0"/>
                  </a:cubicBezTo>
                  <a:cubicBezTo>
                    <a:pt x="11064" y="0"/>
                    <a:pt x="11064" y="0"/>
                    <a:pt x="11064" y="0"/>
                  </a:cubicBezTo>
                  <a:cubicBezTo>
                    <a:pt x="11076" y="160"/>
                    <a:pt x="11076" y="160"/>
                    <a:pt x="11076" y="160"/>
                  </a:cubicBezTo>
                  <a:cubicBezTo>
                    <a:pt x="10901" y="158"/>
                    <a:pt x="10901" y="158"/>
                    <a:pt x="10901" y="158"/>
                  </a:cubicBezTo>
                  <a:cubicBezTo>
                    <a:pt x="10892" y="0"/>
                    <a:pt x="10892" y="0"/>
                    <a:pt x="10892" y="0"/>
                  </a:cubicBezTo>
                  <a:cubicBezTo>
                    <a:pt x="10878" y="0"/>
                    <a:pt x="10878" y="0"/>
                    <a:pt x="10878" y="0"/>
                  </a:cubicBezTo>
                  <a:cubicBezTo>
                    <a:pt x="10887" y="158"/>
                    <a:pt x="10887" y="158"/>
                    <a:pt x="10887" y="158"/>
                  </a:cubicBezTo>
                  <a:cubicBezTo>
                    <a:pt x="10754" y="156"/>
                    <a:pt x="10754" y="156"/>
                    <a:pt x="10754" y="156"/>
                  </a:cubicBezTo>
                  <a:cubicBezTo>
                    <a:pt x="10729" y="0"/>
                    <a:pt x="10729" y="0"/>
                    <a:pt x="10729" y="0"/>
                  </a:cubicBezTo>
                  <a:cubicBezTo>
                    <a:pt x="10715" y="0"/>
                    <a:pt x="10715" y="0"/>
                    <a:pt x="10715" y="0"/>
                  </a:cubicBezTo>
                  <a:cubicBezTo>
                    <a:pt x="10740" y="158"/>
                    <a:pt x="10740" y="158"/>
                    <a:pt x="10740" y="158"/>
                  </a:cubicBezTo>
                  <a:cubicBezTo>
                    <a:pt x="10716" y="167"/>
                    <a:pt x="10603" y="208"/>
                    <a:pt x="10592" y="212"/>
                  </a:cubicBezTo>
                  <a:cubicBezTo>
                    <a:pt x="10211" y="220"/>
                    <a:pt x="10211" y="220"/>
                    <a:pt x="10211" y="220"/>
                  </a:cubicBezTo>
                  <a:cubicBezTo>
                    <a:pt x="10196" y="0"/>
                    <a:pt x="10196" y="0"/>
                    <a:pt x="10196" y="0"/>
                  </a:cubicBezTo>
                  <a:cubicBezTo>
                    <a:pt x="10182" y="0"/>
                    <a:pt x="10182" y="0"/>
                    <a:pt x="10182" y="0"/>
                  </a:cubicBezTo>
                  <a:cubicBezTo>
                    <a:pt x="10197" y="220"/>
                    <a:pt x="10197" y="220"/>
                    <a:pt x="10197" y="220"/>
                  </a:cubicBezTo>
                  <a:cubicBezTo>
                    <a:pt x="10008" y="225"/>
                    <a:pt x="10008" y="225"/>
                    <a:pt x="10008" y="225"/>
                  </a:cubicBezTo>
                  <a:cubicBezTo>
                    <a:pt x="9995" y="0"/>
                    <a:pt x="9995" y="0"/>
                    <a:pt x="9995" y="0"/>
                  </a:cubicBezTo>
                  <a:cubicBezTo>
                    <a:pt x="9981" y="0"/>
                    <a:pt x="9981" y="0"/>
                    <a:pt x="9981" y="0"/>
                  </a:cubicBezTo>
                  <a:cubicBezTo>
                    <a:pt x="9994" y="225"/>
                    <a:pt x="9994" y="225"/>
                    <a:pt x="9994" y="225"/>
                  </a:cubicBezTo>
                  <a:cubicBezTo>
                    <a:pt x="9839" y="228"/>
                    <a:pt x="9839" y="228"/>
                    <a:pt x="9839" y="228"/>
                  </a:cubicBezTo>
                  <a:cubicBezTo>
                    <a:pt x="9835" y="149"/>
                    <a:pt x="9832" y="71"/>
                    <a:pt x="9829" y="0"/>
                  </a:cubicBezTo>
                  <a:cubicBezTo>
                    <a:pt x="9763" y="0"/>
                    <a:pt x="9763" y="0"/>
                    <a:pt x="9763" y="0"/>
                  </a:cubicBezTo>
                  <a:cubicBezTo>
                    <a:pt x="9767" y="75"/>
                    <a:pt x="9770" y="158"/>
                    <a:pt x="9774" y="242"/>
                  </a:cubicBezTo>
                  <a:cubicBezTo>
                    <a:pt x="9785" y="510"/>
                    <a:pt x="9796" y="793"/>
                    <a:pt x="9798" y="885"/>
                  </a:cubicBezTo>
                  <a:cubicBezTo>
                    <a:pt x="9710" y="885"/>
                    <a:pt x="9710" y="885"/>
                    <a:pt x="9710" y="885"/>
                  </a:cubicBezTo>
                  <a:cubicBezTo>
                    <a:pt x="9697" y="886"/>
                    <a:pt x="9697" y="889"/>
                    <a:pt x="9694" y="889"/>
                  </a:cubicBezTo>
                  <a:cubicBezTo>
                    <a:pt x="9692" y="890"/>
                    <a:pt x="9690" y="891"/>
                    <a:pt x="9689" y="892"/>
                  </a:cubicBezTo>
                  <a:cubicBezTo>
                    <a:pt x="9685" y="894"/>
                    <a:pt x="9681" y="897"/>
                    <a:pt x="9677" y="900"/>
                  </a:cubicBezTo>
                  <a:cubicBezTo>
                    <a:pt x="9668" y="906"/>
                    <a:pt x="9656" y="914"/>
                    <a:pt x="9641" y="924"/>
                  </a:cubicBezTo>
                  <a:cubicBezTo>
                    <a:pt x="9613" y="944"/>
                    <a:pt x="9575" y="970"/>
                    <a:pt x="9536" y="997"/>
                  </a:cubicBezTo>
                  <a:cubicBezTo>
                    <a:pt x="9464" y="1049"/>
                    <a:pt x="9384" y="1105"/>
                    <a:pt x="9361" y="1119"/>
                  </a:cubicBezTo>
                  <a:cubicBezTo>
                    <a:pt x="9359" y="1119"/>
                    <a:pt x="9357" y="1119"/>
                    <a:pt x="9356" y="1119"/>
                  </a:cubicBezTo>
                  <a:cubicBezTo>
                    <a:pt x="9275" y="1119"/>
                    <a:pt x="8801" y="1134"/>
                    <a:pt x="8556" y="1134"/>
                  </a:cubicBezTo>
                  <a:cubicBezTo>
                    <a:pt x="8518" y="1134"/>
                    <a:pt x="8486" y="1134"/>
                    <a:pt x="8462" y="1133"/>
                  </a:cubicBezTo>
                  <a:cubicBezTo>
                    <a:pt x="8281" y="1126"/>
                    <a:pt x="7924" y="1105"/>
                    <a:pt x="7807" y="1105"/>
                  </a:cubicBezTo>
                  <a:cubicBezTo>
                    <a:pt x="7817" y="578"/>
                    <a:pt x="7817" y="578"/>
                    <a:pt x="7817" y="578"/>
                  </a:cubicBezTo>
                  <a:cubicBezTo>
                    <a:pt x="7647" y="243"/>
                    <a:pt x="7647" y="243"/>
                    <a:pt x="7647" y="243"/>
                  </a:cubicBezTo>
                  <a:cubicBezTo>
                    <a:pt x="7646" y="242"/>
                    <a:pt x="7646" y="242"/>
                    <a:pt x="7646" y="242"/>
                  </a:cubicBezTo>
                  <a:cubicBezTo>
                    <a:pt x="7646" y="242"/>
                    <a:pt x="7575" y="122"/>
                    <a:pt x="7502" y="0"/>
                  </a:cubicBezTo>
                  <a:cubicBezTo>
                    <a:pt x="7426" y="0"/>
                    <a:pt x="7426" y="0"/>
                    <a:pt x="7426" y="0"/>
                  </a:cubicBezTo>
                  <a:cubicBezTo>
                    <a:pt x="7431" y="10"/>
                    <a:pt x="7437" y="19"/>
                    <a:pt x="7442" y="28"/>
                  </a:cubicBezTo>
                  <a:cubicBezTo>
                    <a:pt x="7512" y="146"/>
                    <a:pt x="7582" y="263"/>
                    <a:pt x="7589" y="275"/>
                  </a:cubicBezTo>
                  <a:cubicBezTo>
                    <a:pt x="7751" y="593"/>
                    <a:pt x="7751" y="593"/>
                    <a:pt x="7751" y="593"/>
                  </a:cubicBezTo>
                  <a:cubicBezTo>
                    <a:pt x="7741" y="1109"/>
                    <a:pt x="7741" y="1109"/>
                    <a:pt x="7741" y="1109"/>
                  </a:cubicBezTo>
                  <a:cubicBezTo>
                    <a:pt x="7642" y="1121"/>
                    <a:pt x="7480" y="1157"/>
                    <a:pt x="7422" y="1180"/>
                  </a:cubicBezTo>
                  <a:cubicBezTo>
                    <a:pt x="7398" y="1190"/>
                    <a:pt x="7335" y="1205"/>
                    <a:pt x="7275" y="1217"/>
                  </a:cubicBezTo>
                  <a:cubicBezTo>
                    <a:pt x="7215" y="1229"/>
                    <a:pt x="7157" y="1240"/>
                    <a:pt x="7137" y="1243"/>
                  </a:cubicBezTo>
                  <a:cubicBezTo>
                    <a:pt x="7107" y="1248"/>
                    <a:pt x="7089" y="1269"/>
                    <a:pt x="7079" y="1287"/>
                  </a:cubicBezTo>
                  <a:cubicBezTo>
                    <a:pt x="7070" y="1306"/>
                    <a:pt x="7066" y="1323"/>
                    <a:pt x="7066" y="1338"/>
                  </a:cubicBezTo>
                  <a:cubicBezTo>
                    <a:pt x="7066" y="1341"/>
                    <a:pt x="7066" y="1344"/>
                    <a:pt x="7067" y="1347"/>
                  </a:cubicBezTo>
                  <a:cubicBezTo>
                    <a:pt x="7067" y="1349"/>
                    <a:pt x="7068" y="1351"/>
                    <a:pt x="7069" y="1354"/>
                  </a:cubicBezTo>
                  <a:cubicBezTo>
                    <a:pt x="7068" y="1359"/>
                    <a:pt x="7067" y="1368"/>
                    <a:pt x="7065" y="1377"/>
                  </a:cubicBezTo>
                  <a:cubicBezTo>
                    <a:pt x="7062" y="1393"/>
                    <a:pt x="7059" y="1413"/>
                    <a:pt x="7055" y="1432"/>
                  </a:cubicBezTo>
                  <a:cubicBezTo>
                    <a:pt x="7054" y="1440"/>
                    <a:pt x="7052" y="1447"/>
                    <a:pt x="7051" y="1455"/>
                  </a:cubicBezTo>
                  <a:cubicBezTo>
                    <a:pt x="7026" y="1438"/>
                    <a:pt x="7003" y="1423"/>
                    <a:pt x="6987" y="1407"/>
                  </a:cubicBezTo>
                  <a:cubicBezTo>
                    <a:pt x="6950" y="1369"/>
                    <a:pt x="6923" y="1327"/>
                    <a:pt x="6912" y="1310"/>
                  </a:cubicBezTo>
                  <a:cubicBezTo>
                    <a:pt x="6908" y="1304"/>
                    <a:pt x="6907" y="1301"/>
                    <a:pt x="6907" y="1301"/>
                  </a:cubicBezTo>
                  <a:cubicBezTo>
                    <a:pt x="6628" y="798"/>
                    <a:pt x="6628" y="798"/>
                    <a:pt x="6628" y="798"/>
                  </a:cubicBezTo>
                  <a:cubicBezTo>
                    <a:pt x="6563" y="684"/>
                    <a:pt x="6466" y="651"/>
                    <a:pt x="6392" y="652"/>
                  </a:cubicBezTo>
                  <a:cubicBezTo>
                    <a:pt x="6321" y="652"/>
                    <a:pt x="6269" y="678"/>
                    <a:pt x="6266" y="680"/>
                  </a:cubicBezTo>
                  <a:cubicBezTo>
                    <a:pt x="6265" y="680"/>
                    <a:pt x="6265" y="680"/>
                    <a:pt x="6265" y="680"/>
                  </a:cubicBezTo>
                  <a:cubicBezTo>
                    <a:pt x="6264" y="681"/>
                    <a:pt x="6264" y="681"/>
                    <a:pt x="6264" y="681"/>
                  </a:cubicBezTo>
                  <a:cubicBezTo>
                    <a:pt x="6264" y="681"/>
                    <a:pt x="6034" y="814"/>
                    <a:pt x="5922" y="876"/>
                  </a:cubicBezTo>
                  <a:cubicBezTo>
                    <a:pt x="5820" y="931"/>
                    <a:pt x="5766" y="955"/>
                    <a:pt x="5671" y="955"/>
                  </a:cubicBezTo>
                  <a:cubicBezTo>
                    <a:pt x="5660" y="955"/>
                    <a:pt x="5649" y="955"/>
                    <a:pt x="5637" y="954"/>
                  </a:cubicBezTo>
                  <a:cubicBezTo>
                    <a:pt x="5596" y="952"/>
                    <a:pt x="5531" y="939"/>
                    <a:pt x="5452" y="920"/>
                  </a:cubicBezTo>
                  <a:cubicBezTo>
                    <a:pt x="5459" y="896"/>
                    <a:pt x="5469" y="861"/>
                    <a:pt x="5479" y="822"/>
                  </a:cubicBezTo>
                  <a:cubicBezTo>
                    <a:pt x="5496" y="754"/>
                    <a:pt x="5515" y="680"/>
                    <a:pt x="5517" y="638"/>
                  </a:cubicBezTo>
                  <a:cubicBezTo>
                    <a:pt x="5521" y="575"/>
                    <a:pt x="5531" y="563"/>
                    <a:pt x="5552" y="505"/>
                  </a:cubicBezTo>
                  <a:cubicBezTo>
                    <a:pt x="5553" y="505"/>
                    <a:pt x="5554" y="504"/>
                    <a:pt x="5555" y="502"/>
                  </a:cubicBezTo>
                  <a:cubicBezTo>
                    <a:pt x="5557" y="499"/>
                    <a:pt x="5562" y="495"/>
                    <a:pt x="5567" y="490"/>
                  </a:cubicBezTo>
                  <a:cubicBezTo>
                    <a:pt x="5578" y="480"/>
                    <a:pt x="5594" y="467"/>
                    <a:pt x="5613" y="453"/>
                  </a:cubicBezTo>
                  <a:cubicBezTo>
                    <a:pt x="5651" y="425"/>
                    <a:pt x="5701" y="391"/>
                    <a:pt x="5751" y="358"/>
                  </a:cubicBezTo>
                  <a:cubicBezTo>
                    <a:pt x="5836" y="304"/>
                    <a:pt x="5924" y="251"/>
                    <a:pt x="5990" y="212"/>
                  </a:cubicBezTo>
                  <a:cubicBezTo>
                    <a:pt x="5955" y="156"/>
                    <a:pt x="5955" y="156"/>
                    <a:pt x="5955" y="156"/>
                  </a:cubicBezTo>
                  <a:cubicBezTo>
                    <a:pt x="5917" y="179"/>
                    <a:pt x="5906" y="186"/>
                    <a:pt x="5893" y="193"/>
                  </a:cubicBezTo>
                  <a:cubicBezTo>
                    <a:pt x="5861" y="212"/>
                    <a:pt x="5818" y="239"/>
                    <a:pt x="5771" y="268"/>
                  </a:cubicBezTo>
                  <a:cubicBezTo>
                    <a:pt x="5678" y="326"/>
                    <a:pt x="5575" y="394"/>
                    <a:pt x="5525" y="440"/>
                  </a:cubicBezTo>
                  <a:cubicBezTo>
                    <a:pt x="5510" y="454"/>
                    <a:pt x="5499" y="463"/>
                    <a:pt x="5491" y="481"/>
                  </a:cubicBezTo>
                  <a:cubicBezTo>
                    <a:pt x="5472" y="532"/>
                    <a:pt x="5455" y="562"/>
                    <a:pt x="5452" y="635"/>
                  </a:cubicBezTo>
                  <a:cubicBezTo>
                    <a:pt x="5451" y="662"/>
                    <a:pt x="5433" y="740"/>
                    <a:pt x="5415" y="805"/>
                  </a:cubicBezTo>
                  <a:cubicBezTo>
                    <a:pt x="5405" y="844"/>
                    <a:pt x="5395" y="880"/>
                    <a:pt x="5388" y="903"/>
                  </a:cubicBezTo>
                  <a:cubicBezTo>
                    <a:pt x="5256" y="869"/>
                    <a:pt x="5095" y="821"/>
                    <a:pt x="4938" y="774"/>
                  </a:cubicBezTo>
                  <a:cubicBezTo>
                    <a:pt x="4724" y="710"/>
                    <a:pt x="4569" y="639"/>
                    <a:pt x="4505" y="607"/>
                  </a:cubicBezTo>
                  <a:cubicBezTo>
                    <a:pt x="4493" y="601"/>
                    <a:pt x="4484" y="596"/>
                    <a:pt x="4479" y="594"/>
                  </a:cubicBezTo>
                  <a:cubicBezTo>
                    <a:pt x="4458" y="78"/>
                    <a:pt x="4458" y="78"/>
                    <a:pt x="4458" y="78"/>
                  </a:cubicBezTo>
                  <a:cubicBezTo>
                    <a:pt x="4755" y="64"/>
                    <a:pt x="4941" y="23"/>
                    <a:pt x="5024" y="0"/>
                  </a:cubicBezTo>
                  <a:cubicBezTo>
                    <a:pt x="4624" y="0"/>
                    <a:pt x="4624" y="0"/>
                    <a:pt x="4624" y="0"/>
                  </a:cubicBezTo>
                  <a:cubicBezTo>
                    <a:pt x="4567" y="5"/>
                    <a:pt x="4506" y="10"/>
                    <a:pt x="4438" y="13"/>
                  </a:cubicBezTo>
                  <a:cubicBezTo>
                    <a:pt x="4427" y="0"/>
                    <a:pt x="4427" y="0"/>
                    <a:pt x="4427" y="0"/>
                  </a:cubicBezTo>
                  <a:cubicBezTo>
                    <a:pt x="4339" y="0"/>
                    <a:pt x="4339" y="0"/>
                    <a:pt x="4339" y="0"/>
                  </a:cubicBezTo>
                  <a:cubicBezTo>
                    <a:pt x="4391" y="59"/>
                    <a:pt x="4391" y="59"/>
                    <a:pt x="4391" y="59"/>
                  </a:cubicBezTo>
                  <a:cubicBezTo>
                    <a:pt x="4415" y="616"/>
                    <a:pt x="4415" y="616"/>
                    <a:pt x="4415" y="616"/>
                  </a:cubicBezTo>
                  <a:cubicBezTo>
                    <a:pt x="4176" y="1078"/>
                    <a:pt x="4176" y="1078"/>
                    <a:pt x="4176" y="1078"/>
                  </a:cubicBezTo>
                  <a:cubicBezTo>
                    <a:pt x="4176" y="1082"/>
                    <a:pt x="4176" y="1082"/>
                    <a:pt x="4176" y="1082"/>
                  </a:cubicBezTo>
                  <a:cubicBezTo>
                    <a:pt x="4176" y="1082"/>
                    <a:pt x="4167" y="1115"/>
                    <a:pt x="4154" y="1157"/>
                  </a:cubicBezTo>
                  <a:cubicBezTo>
                    <a:pt x="4141" y="1199"/>
                    <a:pt x="4122" y="1249"/>
                    <a:pt x="4104" y="1279"/>
                  </a:cubicBezTo>
                  <a:cubicBezTo>
                    <a:pt x="4062" y="1348"/>
                    <a:pt x="4034" y="1400"/>
                    <a:pt x="4034" y="1401"/>
                  </a:cubicBezTo>
                  <a:cubicBezTo>
                    <a:pt x="4032" y="1405"/>
                    <a:pt x="4032" y="1405"/>
                    <a:pt x="4032" y="1405"/>
                  </a:cubicBezTo>
                  <a:cubicBezTo>
                    <a:pt x="3965" y="1739"/>
                    <a:pt x="3965" y="1739"/>
                    <a:pt x="3965" y="1739"/>
                  </a:cubicBezTo>
                  <a:cubicBezTo>
                    <a:pt x="3944" y="1731"/>
                    <a:pt x="3924" y="1724"/>
                    <a:pt x="3903" y="1717"/>
                  </a:cubicBezTo>
                  <a:cubicBezTo>
                    <a:pt x="3626" y="1625"/>
                    <a:pt x="2857" y="1348"/>
                    <a:pt x="2800" y="1327"/>
                  </a:cubicBezTo>
                  <a:cubicBezTo>
                    <a:pt x="2771" y="1317"/>
                    <a:pt x="2738" y="1304"/>
                    <a:pt x="2709" y="1287"/>
                  </a:cubicBezTo>
                  <a:cubicBezTo>
                    <a:pt x="2681" y="1270"/>
                    <a:pt x="2661" y="1250"/>
                    <a:pt x="2652" y="1231"/>
                  </a:cubicBezTo>
                  <a:cubicBezTo>
                    <a:pt x="2642" y="1212"/>
                    <a:pt x="2629" y="1170"/>
                    <a:pt x="2619" y="1130"/>
                  </a:cubicBezTo>
                  <a:cubicBezTo>
                    <a:pt x="2609" y="1089"/>
                    <a:pt x="2601" y="1047"/>
                    <a:pt x="2596" y="1021"/>
                  </a:cubicBezTo>
                  <a:cubicBezTo>
                    <a:pt x="2592" y="1003"/>
                    <a:pt x="2591" y="993"/>
                    <a:pt x="2591" y="993"/>
                  </a:cubicBezTo>
                  <a:cubicBezTo>
                    <a:pt x="2590" y="991"/>
                    <a:pt x="2590" y="991"/>
                    <a:pt x="2590" y="991"/>
                  </a:cubicBezTo>
                  <a:cubicBezTo>
                    <a:pt x="2387" y="0"/>
                    <a:pt x="2387" y="0"/>
                    <a:pt x="2387" y="0"/>
                  </a:cubicBezTo>
                  <a:cubicBezTo>
                    <a:pt x="2231" y="0"/>
                    <a:pt x="2231" y="0"/>
                    <a:pt x="2231" y="0"/>
                  </a:cubicBezTo>
                  <a:cubicBezTo>
                    <a:pt x="2440" y="1020"/>
                    <a:pt x="2440" y="1020"/>
                    <a:pt x="2440" y="1020"/>
                  </a:cubicBezTo>
                  <a:cubicBezTo>
                    <a:pt x="2442" y="1029"/>
                    <a:pt x="2449" y="1071"/>
                    <a:pt x="2461" y="1123"/>
                  </a:cubicBezTo>
                  <a:cubicBezTo>
                    <a:pt x="2474" y="1180"/>
                    <a:pt x="2490" y="1246"/>
                    <a:pt x="2514" y="1297"/>
                  </a:cubicBezTo>
                  <a:cubicBezTo>
                    <a:pt x="2516" y="1301"/>
                    <a:pt x="2519" y="1304"/>
                    <a:pt x="2521" y="1308"/>
                  </a:cubicBezTo>
                  <a:cubicBezTo>
                    <a:pt x="2519" y="1309"/>
                    <a:pt x="2517" y="1310"/>
                    <a:pt x="2515" y="1312"/>
                  </a:cubicBezTo>
                  <a:cubicBezTo>
                    <a:pt x="2504" y="1321"/>
                    <a:pt x="2490" y="1333"/>
                    <a:pt x="2472" y="1348"/>
                  </a:cubicBezTo>
                  <a:cubicBezTo>
                    <a:pt x="2436" y="1378"/>
                    <a:pt x="2385" y="1422"/>
                    <a:pt x="2324" y="1474"/>
                  </a:cubicBezTo>
                  <a:cubicBezTo>
                    <a:pt x="2202" y="1578"/>
                    <a:pt x="2042" y="1716"/>
                    <a:pt x="1881" y="1855"/>
                  </a:cubicBezTo>
                  <a:cubicBezTo>
                    <a:pt x="1623" y="2079"/>
                    <a:pt x="1365" y="2302"/>
                    <a:pt x="1276" y="2380"/>
                  </a:cubicBezTo>
                  <a:cubicBezTo>
                    <a:pt x="845" y="2048"/>
                    <a:pt x="845" y="2048"/>
                    <a:pt x="845" y="2048"/>
                  </a:cubicBezTo>
                  <a:cubicBezTo>
                    <a:pt x="843" y="2045"/>
                    <a:pt x="841" y="2041"/>
                    <a:pt x="838" y="2037"/>
                  </a:cubicBezTo>
                  <a:cubicBezTo>
                    <a:pt x="831" y="2027"/>
                    <a:pt x="822" y="2013"/>
                    <a:pt x="813" y="1996"/>
                  </a:cubicBezTo>
                  <a:cubicBezTo>
                    <a:pt x="793" y="1962"/>
                    <a:pt x="770" y="1917"/>
                    <a:pt x="756" y="1872"/>
                  </a:cubicBezTo>
                  <a:cubicBezTo>
                    <a:pt x="755" y="1871"/>
                    <a:pt x="755" y="1871"/>
                    <a:pt x="755" y="1871"/>
                  </a:cubicBezTo>
                  <a:cubicBezTo>
                    <a:pt x="755" y="1870"/>
                    <a:pt x="755" y="1870"/>
                    <a:pt x="755" y="1870"/>
                  </a:cubicBezTo>
                  <a:cubicBezTo>
                    <a:pt x="750" y="1860"/>
                    <a:pt x="749" y="1861"/>
                    <a:pt x="747" y="1858"/>
                  </a:cubicBezTo>
                  <a:cubicBezTo>
                    <a:pt x="746" y="1856"/>
                    <a:pt x="744" y="1855"/>
                    <a:pt x="742" y="1853"/>
                  </a:cubicBezTo>
                  <a:cubicBezTo>
                    <a:pt x="739" y="1850"/>
                    <a:pt x="735" y="1846"/>
                    <a:pt x="729" y="1841"/>
                  </a:cubicBezTo>
                  <a:cubicBezTo>
                    <a:pt x="718" y="1831"/>
                    <a:pt x="703" y="1818"/>
                    <a:pt x="683" y="1802"/>
                  </a:cubicBezTo>
                  <a:cubicBezTo>
                    <a:pt x="645" y="1769"/>
                    <a:pt x="590" y="1723"/>
                    <a:pt x="525" y="1669"/>
                  </a:cubicBezTo>
                  <a:cubicBezTo>
                    <a:pt x="394" y="1561"/>
                    <a:pt x="220" y="1420"/>
                    <a:pt x="47" y="1279"/>
                  </a:cubicBezTo>
                  <a:cubicBezTo>
                    <a:pt x="33" y="1267"/>
                    <a:pt x="19" y="1255"/>
                    <a:pt x="4" y="1244"/>
                  </a:cubicBezTo>
                  <a:cubicBezTo>
                    <a:pt x="4" y="1328"/>
                    <a:pt x="4" y="1328"/>
                    <a:pt x="4" y="1328"/>
                  </a:cubicBezTo>
                  <a:cubicBezTo>
                    <a:pt x="255" y="1532"/>
                    <a:pt x="506" y="1738"/>
                    <a:pt x="628" y="1841"/>
                  </a:cubicBezTo>
                  <a:cubicBezTo>
                    <a:pt x="662" y="1869"/>
                    <a:pt x="687" y="1891"/>
                    <a:pt x="696" y="1899"/>
                  </a:cubicBezTo>
                  <a:cubicBezTo>
                    <a:pt x="729" y="1999"/>
                    <a:pt x="793" y="2088"/>
                    <a:pt x="794" y="2089"/>
                  </a:cubicBezTo>
                  <a:cubicBezTo>
                    <a:pt x="797" y="2093"/>
                    <a:pt x="797" y="2093"/>
                    <a:pt x="797" y="2093"/>
                  </a:cubicBezTo>
                  <a:cubicBezTo>
                    <a:pt x="1227" y="2425"/>
                    <a:pt x="1227" y="2425"/>
                    <a:pt x="1227" y="2425"/>
                  </a:cubicBezTo>
                  <a:cubicBezTo>
                    <a:pt x="4" y="3733"/>
                    <a:pt x="4" y="3733"/>
                    <a:pt x="4" y="3733"/>
                  </a:cubicBezTo>
                  <a:cubicBezTo>
                    <a:pt x="4" y="3829"/>
                    <a:pt x="4" y="3829"/>
                    <a:pt x="4" y="3829"/>
                  </a:cubicBezTo>
                  <a:cubicBezTo>
                    <a:pt x="536" y="3260"/>
                    <a:pt x="536" y="3260"/>
                    <a:pt x="536" y="3260"/>
                  </a:cubicBezTo>
                  <a:cubicBezTo>
                    <a:pt x="626" y="3378"/>
                    <a:pt x="925" y="3768"/>
                    <a:pt x="1110" y="4003"/>
                  </a:cubicBezTo>
                  <a:cubicBezTo>
                    <a:pt x="1183" y="4096"/>
                    <a:pt x="1237" y="4163"/>
                    <a:pt x="1257" y="4184"/>
                  </a:cubicBezTo>
                  <a:cubicBezTo>
                    <a:pt x="1258" y="4185"/>
                    <a:pt x="1258" y="4185"/>
                    <a:pt x="1259" y="4186"/>
                  </a:cubicBezTo>
                  <a:cubicBezTo>
                    <a:pt x="160" y="6197"/>
                    <a:pt x="160" y="6197"/>
                    <a:pt x="160" y="6197"/>
                  </a:cubicBezTo>
                  <a:cubicBezTo>
                    <a:pt x="145" y="6190"/>
                    <a:pt x="130" y="6185"/>
                    <a:pt x="116" y="6181"/>
                  </a:cubicBezTo>
                  <a:cubicBezTo>
                    <a:pt x="84" y="6171"/>
                    <a:pt x="46" y="6161"/>
                    <a:pt x="4" y="6151"/>
                  </a:cubicBezTo>
                  <a:cubicBezTo>
                    <a:pt x="4" y="6218"/>
                    <a:pt x="4" y="6218"/>
                    <a:pt x="4" y="6218"/>
                  </a:cubicBezTo>
                  <a:cubicBezTo>
                    <a:pt x="39" y="6227"/>
                    <a:pt x="70" y="6235"/>
                    <a:pt x="97" y="6243"/>
                  </a:cubicBezTo>
                  <a:cubicBezTo>
                    <a:pt x="106" y="6246"/>
                    <a:pt x="115" y="6249"/>
                    <a:pt x="124" y="6253"/>
                  </a:cubicBezTo>
                  <a:cubicBezTo>
                    <a:pt x="96" y="6290"/>
                    <a:pt x="66" y="6335"/>
                    <a:pt x="4" y="6378"/>
                  </a:cubicBezTo>
                  <a:cubicBezTo>
                    <a:pt x="4" y="6456"/>
                    <a:pt x="4" y="6456"/>
                    <a:pt x="4" y="6456"/>
                  </a:cubicBezTo>
                  <a:cubicBezTo>
                    <a:pt x="7" y="6454"/>
                    <a:pt x="11" y="6452"/>
                    <a:pt x="14" y="6450"/>
                  </a:cubicBezTo>
                  <a:cubicBezTo>
                    <a:pt x="117" y="6388"/>
                    <a:pt x="159" y="6312"/>
                    <a:pt x="187" y="6279"/>
                  </a:cubicBezTo>
                  <a:cubicBezTo>
                    <a:pt x="316" y="6338"/>
                    <a:pt x="500" y="6451"/>
                    <a:pt x="659" y="6582"/>
                  </a:cubicBezTo>
                  <a:cubicBezTo>
                    <a:pt x="578" y="6672"/>
                    <a:pt x="486" y="6775"/>
                    <a:pt x="419" y="6847"/>
                  </a:cubicBezTo>
                  <a:cubicBezTo>
                    <a:pt x="386" y="6884"/>
                    <a:pt x="358" y="6914"/>
                    <a:pt x="342" y="6929"/>
                  </a:cubicBezTo>
                  <a:cubicBezTo>
                    <a:pt x="342" y="6929"/>
                    <a:pt x="342" y="6929"/>
                    <a:pt x="341" y="6929"/>
                  </a:cubicBezTo>
                  <a:cubicBezTo>
                    <a:pt x="341" y="6929"/>
                    <a:pt x="341" y="6929"/>
                    <a:pt x="341" y="6929"/>
                  </a:cubicBezTo>
                  <a:cubicBezTo>
                    <a:pt x="341" y="6929"/>
                    <a:pt x="341" y="6929"/>
                    <a:pt x="341" y="6929"/>
                  </a:cubicBezTo>
                  <a:cubicBezTo>
                    <a:pt x="341" y="6929"/>
                    <a:pt x="341" y="6929"/>
                    <a:pt x="341" y="6929"/>
                  </a:cubicBezTo>
                  <a:cubicBezTo>
                    <a:pt x="340" y="6929"/>
                    <a:pt x="340" y="6928"/>
                    <a:pt x="338" y="6928"/>
                  </a:cubicBezTo>
                  <a:cubicBezTo>
                    <a:pt x="336" y="6927"/>
                    <a:pt x="333" y="6926"/>
                    <a:pt x="329" y="6924"/>
                  </a:cubicBezTo>
                  <a:cubicBezTo>
                    <a:pt x="322" y="6921"/>
                    <a:pt x="311" y="6916"/>
                    <a:pt x="298" y="6911"/>
                  </a:cubicBezTo>
                  <a:cubicBezTo>
                    <a:pt x="273" y="6899"/>
                    <a:pt x="239" y="6883"/>
                    <a:pt x="203" y="6867"/>
                  </a:cubicBezTo>
                  <a:cubicBezTo>
                    <a:pt x="131" y="6834"/>
                    <a:pt x="52" y="6797"/>
                    <a:pt x="17" y="6782"/>
                  </a:cubicBezTo>
                  <a:cubicBezTo>
                    <a:pt x="11" y="6780"/>
                    <a:pt x="7" y="6778"/>
                    <a:pt x="4" y="6777"/>
                  </a:cubicBezTo>
                  <a:cubicBezTo>
                    <a:pt x="4" y="6838"/>
                    <a:pt x="4" y="6838"/>
                    <a:pt x="4" y="6838"/>
                  </a:cubicBezTo>
                  <a:cubicBezTo>
                    <a:pt x="5" y="6820"/>
                    <a:pt x="6" y="6804"/>
                    <a:pt x="6" y="6794"/>
                  </a:cubicBezTo>
                  <a:cubicBezTo>
                    <a:pt x="6" y="6794"/>
                    <a:pt x="6" y="6793"/>
                    <a:pt x="6" y="6793"/>
                  </a:cubicBezTo>
                  <a:cubicBezTo>
                    <a:pt x="7" y="6793"/>
                    <a:pt x="8" y="6793"/>
                    <a:pt x="9" y="6794"/>
                  </a:cubicBezTo>
                  <a:cubicBezTo>
                    <a:pt x="16" y="6797"/>
                    <a:pt x="27" y="6802"/>
                    <a:pt x="39" y="6807"/>
                  </a:cubicBezTo>
                  <a:cubicBezTo>
                    <a:pt x="65" y="6819"/>
                    <a:pt x="99" y="6834"/>
                    <a:pt x="135" y="6851"/>
                  </a:cubicBezTo>
                  <a:cubicBezTo>
                    <a:pt x="207" y="6884"/>
                    <a:pt x="286" y="6921"/>
                    <a:pt x="321" y="6936"/>
                  </a:cubicBezTo>
                  <a:cubicBezTo>
                    <a:pt x="325" y="6937"/>
                    <a:pt x="328" y="6939"/>
                    <a:pt x="331" y="6940"/>
                  </a:cubicBezTo>
                  <a:cubicBezTo>
                    <a:pt x="330" y="6940"/>
                    <a:pt x="330" y="6941"/>
                    <a:pt x="329" y="6941"/>
                  </a:cubicBezTo>
                  <a:cubicBezTo>
                    <a:pt x="324" y="6942"/>
                    <a:pt x="324" y="6945"/>
                    <a:pt x="322" y="6947"/>
                  </a:cubicBezTo>
                  <a:cubicBezTo>
                    <a:pt x="320" y="6949"/>
                    <a:pt x="318" y="6953"/>
                    <a:pt x="316" y="6957"/>
                  </a:cubicBezTo>
                  <a:cubicBezTo>
                    <a:pt x="311" y="6965"/>
                    <a:pt x="306" y="6977"/>
                    <a:pt x="299" y="6991"/>
                  </a:cubicBezTo>
                  <a:cubicBezTo>
                    <a:pt x="286" y="7019"/>
                    <a:pt x="270" y="7057"/>
                    <a:pt x="254" y="7095"/>
                  </a:cubicBezTo>
                  <a:cubicBezTo>
                    <a:pt x="230" y="7152"/>
                    <a:pt x="205" y="7211"/>
                    <a:pt x="192" y="7240"/>
                  </a:cubicBezTo>
                  <a:cubicBezTo>
                    <a:pt x="4" y="7170"/>
                    <a:pt x="4" y="7170"/>
                    <a:pt x="4" y="7170"/>
                  </a:cubicBezTo>
                  <a:cubicBezTo>
                    <a:pt x="4" y="7218"/>
                    <a:pt x="4" y="7218"/>
                    <a:pt x="4" y="7218"/>
                  </a:cubicBezTo>
                  <a:cubicBezTo>
                    <a:pt x="154" y="7274"/>
                    <a:pt x="154" y="7274"/>
                    <a:pt x="154" y="7274"/>
                  </a:cubicBezTo>
                  <a:cubicBezTo>
                    <a:pt x="151" y="7276"/>
                    <a:pt x="147" y="7279"/>
                    <a:pt x="144" y="7281"/>
                  </a:cubicBezTo>
                  <a:cubicBezTo>
                    <a:pt x="122" y="7295"/>
                    <a:pt x="94" y="7314"/>
                    <a:pt x="66" y="7333"/>
                  </a:cubicBezTo>
                  <a:cubicBezTo>
                    <a:pt x="44" y="7348"/>
                    <a:pt x="23" y="7362"/>
                    <a:pt x="4" y="7375"/>
                  </a:cubicBezTo>
                  <a:cubicBezTo>
                    <a:pt x="4" y="7391"/>
                    <a:pt x="4" y="7391"/>
                    <a:pt x="4" y="7391"/>
                  </a:cubicBezTo>
                  <a:cubicBezTo>
                    <a:pt x="23" y="7379"/>
                    <a:pt x="45" y="7364"/>
                    <a:pt x="68" y="7348"/>
                  </a:cubicBezTo>
                  <a:cubicBezTo>
                    <a:pt x="107" y="7322"/>
                    <a:pt x="148" y="7295"/>
                    <a:pt x="170" y="7280"/>
                  </a:cubicBezTo>
                  <a:cubicBezTo>
                    <a:pt x="171" y="7281"/>
                    <a:pt x="171" y="7281"/>
                    <a:pt x="171" y="7281"/>
                  </a:cubicBezTo>
                  <a:cubicBezTo>
                    <a:pt x="332" y="7505"/>
                    <a:pt x="332" y="7505"/>
                    <a:pt x="332" y="7505"/>
                  </a:cubicBezTo>
                  <a:cubicBezTo>
                    <a:pt x="322" y="7532"/>
                    <a:pt x="302" y="7585"/>
                    <a:pt x="281" y="7640"/>
                  </a:cubicBezTo>
                  <a:cubicBezTo>
                    <a:pt x="253" y="7713"/>
                    <a:pt x="221" y="7791"/>
                    <a:pt x="213" y="7805"/>
                  </a:cubicBezTo>
                  <a:cubicBezTo>
                    <a:pt x="197" y="7804"/>
                    <a:pt x="137" y="7796"/>
                    <a:pt x="128" y="7796"/>
                  </a:cubicBezTo>
                  <a:cubicBezTo>
                    <a:pt x="120" y="7798"/>
                    <a:pt x="122" y="7800"/>
                    <a:pt x="119" y="7802"/>
                  </a:cubicBezTo>
                  <a:cubicBezTo>
                    <a:pt x="118" y="7804"/>
                    <a:pt x="116" y="7807"/>
                    <a:pt x="114" y="7811"/>
                  </a:cubicBezTo>
                  <a:cubicBezTo>
                    <a:pt x="110" y="7818"/>
                    <a:pt x="104" y="7827"/>
                    <a:pt x="98" y="7839"/>
                  </a:cubicBezTo>
                  <a:cubicBezTo>
                    <a:pt x="86" y="7862"/>
                    <a:pt x="71" y="7893"/>
                    <a:pt x="56" y="7924"/>
                  </a:cubicBezTo>
                  <a:cubicBezTo>
                    <a:pt x="36" y="7966"/>
                    <a:pt x="17" y="8007"/>
                    <a:pt x="6" y="8030"/>
                  </a:cubicBezTo>
                  <a:cubicBezTo>
                    <a:pt x="5" y="8030"/>
                    <a:pt x="5" y="8030"/>
                    <a:pt x="4" y="8029"/>
                  </a:cubicBezTo>
                  <a:cubicBezTo>
                    <a:pt x="4" y="8106"/>
                    <a:pt x="4" y="8106"/>
                    <a:pt x="4" y="8106"/>
                  </a:cubicBezTo>
                  <a:cubicBezTo>
                    <a:pt x="73" y="8148"/>
                    <a:pt x="131" y="8192"/>
                    <a:pt x="171" y="8224"/>
                  </a:cubicBezTo>
                  <a:cubicBezTo>
                    <a:pt x="185" y="8236"/>
                    <a:pt x="197" y="8245"/>
                    <a:pt x="206" y="8253"/>
                  </a:cubicBezTo>
                  <a:cubicBezTo>
                    <a:pt x="160" y="8300"/>
                    <a:pt x="100" y="8355"/>
                    <a:pt x="4" y="8399"/>
                  </a:cubicBezTo>
                  <a:cubicBezTo>
                    <a:pt x="4" y="8470"/>
                    <a:pt x="4" y="8470"/>
                    <a:pt x="4" y="8470"/>
                  </a:cubicBezTo>
                  <a:cubicBezTo>
                    <a:pt x="64" y="8445"/>
                    <a:pt x="114" y="8416"/>
                    <a:pt x="154" y="8386"/>
                  </a:cubicBezTo>
                  <a:cubicBezTo>
                    <a:pt x="225" y="8462"/>
                    <a:pt x="225" y="8462"/>
                    <a:pt x="225" y="8462"/>
                  </a:cubicBezTo>
                  <a:cubicBezTo>
                    <a:pt x="186" y="8502"/>
                    <a:pt x="186" y="8502"/>
                    <a:pt x="186" y="8502"/>
                  </a:cubicBezTo>
                  <a:cubicBezTo>
                    <a:pt x="186" y="8502"/>
                    <a:pt x="186" y="8502"/>
                    <a:pt x="186" y="8502"/>
                  </a:cubicBezTo>
                  <a:cubicBezTo>
                    <a:pt x="197" y="8511"/>
                    <a:pt x="197" y="8511"/>
                    <a:pt x="197" y="8511"/>
                  </a:cubicBezTo>
                  <a:cubicBezTo>
                    <a:pt x="197" y="8511"/>
                    <a:pt x="197" y="8511"/>
                    <a:pt x="197" y="8511"/>
                  </a:cubicBezTo>
                  <a:cubicBezTo>
                    <a:pt x="319" y="8636"/>
                    <a:pt x="319" y="8636"/>
                    <a:pt x="319" y="8636"/>
                  </a:cubicBezTo>
                  <a:cubicBezTo>
                    <a:pt x="4" y="8898"/>
                    <a:pt x="4" y="8898"/>
                    <a:pt x="4" y="8898"/>
                  </a:cubicBezTo>
                  <a:cubicBezTo>
                    <a:pt x="4" y="8983"/>
                    <a:pt x="4" y="8983"/>
                    <a:pt x="4" y="8983"/>
                  </a:cubicBezTo>
                  <a:cubicBezTo>
                    <a:pt x="145" y="8866"/>
                    <a:pt x="145" y="8866"/>
                    <a:pt x="145" y="8866"/>
                  </a:cubicBezTo>
                  <a:cubicBezTo>
                    <a:pt x="331" y="9021"/>
                    <a:pt x="331" y="9021"/>
                    <a:pt x="331" y="9021"/>
                  </a:cubicBezTo>
                  <a:cubicBezTo>
                    <a:pt x="236" y="9248"/>
                    <a:pt x="236" y="9248"/>
                    <a:pt x="236" y="9248"/>
                  </a:cubicBezTo>
                  <a:cubicBezTo>
                    <a:pt x="233" y="9250"/>
                    <a:pt x="230" y="9251"/>
                    <a:pt x="227" y="9252"/>
                  </a:cubicBezTo>
                  <a:cubicBezTo>
                    <a:pt x="211" y="9258"/>
                    <a:pt x="175" y="9274"/>
                    <a:pt x="140" y="9290"/>
                  </a:cubicBezTo>
                  <a:cubicBezTo>
                    <a:pt x="125" y="9297"/>
                    <a:pt x="110" y="9304"/>
                    <a:pt x="98" y="9310"/>
                  </a:cubicBezTo>
                  <a:cubicBezTo>
                    <a:pt x="4" y="9125"/>
                    <a:pt x="4" y="9125"/>
                    <a:pt x="4" y="9125"/>
                  </a:cubicBezTo>
                  <a:cubicBezTo>
                    <a:pt x="4" y="9268"/>
                    <a:pt x="4" y="9268"/>
                    <a:pt x="4" y="9268"/>
                  </a:cubicBezTo>
                  <a:cubicBezTo>
                    <a:pt x="39" y="9337"/>
                    <a:pt x="39" y="9337"/>
                    <a:pt x="39" y="9337"/>
                  </a:cubicBezTo>
                  <a:cubicBezTo>
                    <a:pt x="39" y="9337"/>
                    <a:pt x="39" y="9337"/>
                    <a:pt x="39" y="9337"/>
                  </a:cubicBezTo>
                  <a:cubicBezTo>
                    <a:pt x="131" y="9508"/>
                    <a:pt x="131" y="9508"/>
                    <a:pt x="131" y="9508"/>
                  </a:cubicBezTo>
                  <a:cubicBezTo>
                    <a:pt x="34" y="9534"/>
                    <a:pt x="34" y="9534"/>
                    <a:pt x="34" y="9534"/>
                  </a:cubicBezTo>
                  <a:cubicBezTo>
                    <a:pt x="34" y="9535"/>
                    <a:pt x="34" y="9535"/>
                    <a:pt x="34" y="9535"/>
                  </a:cubicBezTo>
                  <a:cubicBezTo>
                    <a:pt x="4" y="9543"/>
                    <a:pt x="4" y="9543"/>
                    <a:pt x="4" y="9543"/>
                  </a:cubicBezTo>
                  <a:cubicBezTo>
                    <a:pt x="4" y="9557"/>
                    <a:pt x="4" y="9557"/>
                    <a:pt x="4" y="9557"/>
                  </a:cubicBezTo>
                  <a:cubicBezTo>
                    <a:pt x="31" y="9550"/>
                    <a:pt x="31" y="9550"/>
                    <a:pt x="31" y="9550"/>
                  </a:cubicBezTo>
                  <a:cubicBezTo>
                    <a:pt x="26" y="9578"/>
                    <a:pt x="11" y="9655"/>
                    <a:pt x="4" y="9699"/>
                  </a:cubicBezTo>
                  <a:cubicBezTo>
                    <a:pt x="2" y="9714"/>
                    <a:pt x="1" y="9724"/>
                    <a:pt x="1" y="9729"/>
                  </a:cubicBezTo>
                  <a:cubicBezTo>
                    <a:pt x="1" y="9730"/>
                    <a:pt x="1" y="9730"/>
                    <a:pt x="1" y="9732"/>
                  </a:cubicBezTo>
                  <a:cubicBezTo>
                    <a:pt x="1" y="9732"/>
                    <a:pt x="1" y="9734"/>
                    <a:pt x="4" y="9737"/>
                  </a:cubicBezTo>
                  <a:cubicBezTo>
                    <a:pt x="5" y="9737"/>
                    <a:pt x="5" y="9737"/>
                    <a:pt x="5" y="9737"/>
                  </a:cubicBezTo>
                  <a:cubicBezTo>
                    <a:pt x="5" y="9738"/>
                    <a:pt x="5" y="9738"/>
                    <a:pt x="5" y="9738"/>
                  </a:cubicBezTo>
                  <a:cubicBezTo>
                    <a:pt x="5" y="9738"/>
                    <a:pt x="6" y="9738"/>
                    <a:pt x="6" y="9738"/>
                  </a:cubicBezTo>
                  <a:cubicBezTo>
                    <a:pt x="7" y="9739"/>
                    <a:pt x="8" y="9740"/>
                    <a:pt x="10" y="9741"/>
                  </a:cubicBezTo>
                  <a:cubicBezTo>
                    <a:pt x="13" y="9744"/>
                    <a:pt x="18" y="9748"/>
                    <a:pt x="23" y="9753"/>
                  </a:cubicBezTo>
                  <a:cubicBezTo>
                    <a:pt x="35" y="9764"/>
                    <a:pt x="50" y="9778"/>
                    <a:pt x="65" y="9792"/>
                  </a:cubicBezTo>
                  <a:cubicBezTo>
                    <a:pt x="73" y="9800"/>
                    <a:pt x="82" y="9808"/>
                    <a:pt x="90" y="9815"/>
                  </a:cubicBezTo>
                  <a:cubicBezTo>
                    <a:pt x="78" y="9835"/>
                    <a:pt x="43" y="9889"/>
                    <a:pt x="4" y="9950"/>
                  </a:cubicBezTo>
                  <a:cubicBezTo>
                    <a:pt x="4" y="9980"/>
                    <a:pt x="4" y="9980"/>
                    <a:pt x="4" y="9980"/>
                  </a:cubicBezTo>
                  <a:cubicBezTo>
                    <a:pt x="46" y="9914"/>
                    <a:pt x="87" y="9851"/>
                    <a:pt x="102" y="9827"/>
                  </a:cubicBezTo>
                  <a:cubicBezTo>
                    <a:pt x="118" y="9842"/>
                    <a:pt x="131" y="9854"/>
                    <a:pt x="136" y="9859"/>
                  </a:cubicBezTo>
                  <a:cubicBezTo>
                    <a:pt x="138" y="9860"/>
                    <a:pt x="138" y="9860"/>
                    <a:pt x="141" y="9862"/>
                  </a:cubicBezTo>
                  <a:cubicBezTo>
                    <a:pt x="142" y="9862"/>
                    <a:pt x="142" y="9862"/>
                    <a:pt x="142" y="9862"/>
                  </a:cubicBezTo>
                  <a:cubicBezTo>
                    <a:pt x="143" y="9862"/>
                    <a:pt x="143" y="9862"/>
                    <a:pt x="143" y="9862"/>
                  </a:cubicBezTo>
                  <a:cubicBezTo>
                    <a:pt x="143" y="9862"/>
                    <a:pt x="144" y="9862"/>
                    <a:pt x="144" y="9862"/>
                  </a:cubicBezTo>
                  <a:cubicBezTo>
                    <a:pt x="144" y="9862"/>
                    <a:pt x="144" y="9862"/>
                    <a:pt x="144" y="9862"/>
                  </a:cubicBezTo>
                  <a:cubicBezTo>
                    <a:pt x="150" y="9861"/>
                    <a:pt x="150" y="9860"/>
                    <a:pt x="156" y="9858"/>
                  </a:cubicBezTo>
                  <a:cubicBezTo>
                    <a:pt x="160" y="9856"/>
                    <a:pt x="166" y="9853"/>
                    <a:pt x="173" y="9849"/>
                  </a:cubicBezTo>
                  <a:cubicBezTo>
                    <a:pt x="186" y="9842"/>
                    <a:pt x="204" y="9832"/>
                    <a:pt x="221" y="9822"/>
                  </a:cubicBezTo>
                  <a:cubicBezTo>
                    <a:pt x="245" y="9809"/>
                    <a:pt x="269" y="9795"/>
                    <a:pt x="281" y="9788"/>
                  </a:cubicBezTo>
                  <a:cubicBezTo>
                    <a:pt x="371" y="9957"/>
                    <a:pt x="371" y="9957"/>
                    <a:pt x="371" y="9957"/>
                  </a:cubicBezTo>
                  <a:cubicBezTo>
                    <a:pt x="356" y="9968"/>
                    <a:pt x="337" y="9984"/>
                    <a:pt x="325" y="9996"/>
                  </a:cubicBezTo>
                  <a:cubicBezTo>
                    <a:pt x="320" y="10001"/>
                    <a:pt x="303" y="10019"/>
                    <a:pt x="278" y="10046"/>
                  </a:cubicBezTo>
                  <a:cubicBezTo>
                    <a:pt x="234" y="10039"/>
                    <a:pt x="189" y="10034"/>
                    <a:pt x="149" y="10034"/>
                  </a:cubicBezTo>
                  <a:cubicBezTo>
                    <a:pt x="137" y="10034"/>
                    <a:pt x="126" y="10035"/>
                    <a:pt x="115" y="10036"/>
                  </a:cubicBezTo>
                  <a:cubicBezTo>
                    <a:pt x="74" y="10039"/>
                    <a:pt x="36" y="10054"/>
                    <a:pt x="4" y="10071"/>
                  </a:cubicBezTo>
                  <a:cubicBezTo>
                    <a:pt x="4" y="10089"/>
                    <a:pt x="4" y="10089"/>
                    <a:pt x="4" y="10089"/>
                  </a:cubicBezTo>
                  <a:cubicBezTo>
                    <a:pt x="36" y="10072"/>
                    <a:pt x="75" y="10055"/>
                    <a:pt x="117" y="10052"/>
                  </a:cubicBezTo>
                  <a:cubicBezTo>
                    <a:pt x="127" y="10051"/>
                    <a:pt x="137" y="10051"/>
                    <a:pt x="149" y="10051"/>
                  </a:cubicBezTo>
                  <a:cubicBezTo>
                    <a:pt x="185" y="10051"/>
                    <a:pt x="225" y="10055"/>
                    <a:pt x="265" y="10061"/>
                  </a:cubicBezTo>
                  <a:cubicBezTo>
                    <a:pt x="205" y="10126"/>
                    <a:pt x="108" y="10230"/>
                    <a:pt x="10" y="10336"/>
                  </a:cubicBezTo>
                  <a:cubicBezTo>
                    <a:pt x="8" y="10336"/>
                    <a:pt x="6" y="10336"/>
                    <a:pt x="4" y="10336"/>
                  </a:cubicBezTo>
                  <a:cubicBezTo>
                    <a:pt x="4" y="10566"/>
                    <a:pt x="4" y="10566"/>
                    <a:pt x="4" y="10566"/>
                  </a:cubicBezTo>
                  <a:cubicBezTo>
                    <a:pt x="35" y="10533"/>
                    <a:pt x="67" y="10498"/>
                    <a:pt x="100" y="10463"/>
                  </a:cubicBezTo>
                  <a:cubicBezTo>
                    <a:pt x="141" y="10418"/>
                    <a:pt x="183" y="10374"/>
                    <a:pt x="222" y="10331"/>
                  </a:cubicBezTo>
                  <a:cubicBezTo>
                    <a:pt x="251" y="10328"/>
                    <a:pt x="279" y="10324"/>
                    <a:pt x="304" y="10321"/>
                  </a:cubicBezTo>
                  <a:cubicBezTo>
                    <a:pt x="389" y="10305"/>
                    <a:pt x="389" y="10305"/>
                    <a:pt x="389" y="10305"/>
                  </a:cubicBezTo>
                  <a:cubicBezTo>
                    <a:pt x="406" y="10304"/>
                    <a:pt x="475" y="10281"/>
                    <a:pt x="476" y="10281"/>
                  </a:cubicBezTo>
                  <a:cubicBezTo>
                    <a:pt x="477" y="10281"/>
                    <a:pt x="477" y="10281"/>
                    <a:pt x="477" y="10281"/>
                  </a:cubicBezTo>
                  <a:cubicBezTo>
                    <a:pt x="478" y="10280"/>
                    <a:pt x="478" y="10280"/>
                    <a:pt x="478" y="10280"/>
                  </a:cubicBezTo>
                  <a:cubicBezTo>
                    <a:pt x="515" y="10256"/>
                    <a:pt x="545" y="10237"/>
                    <a:pt x="582" y="10214"/>
                  </a:cubicBezTo>
                  <a:cubicBezTo>
                    <a:pt x="588" y="10222"/>
                    <a:pt x="595" y="10230"/>
                    <a:pt x="602" y="10238"/>
                  </a:cubicBezTo>
                  <a:cubicBezTo>
                    <a:pt x="608" y="10245"/>
                    <a:pt x="615" y="10253"/>
                    <a:pt x="621" y="10260"/>
                  </a:cubicBezTo>
                  <a:cubicBezTo>
                    <a:pt x="553" y="10290"/>
                    <a:pt x="482" y="10324"/>
                    <a:pt x="437" y="10349"/>
                  </a:cubicBezTo>
                  <a:cubicBezTo>
                    <a:pt x="342" y="10400"/>
                    <a:pt x="221" y="10449"/>
                    <a:pt x="140" y="10538"/>
                  </a:cubicBezTo>
                  <a:cubicBezTo>
                    <a:pt x="93" y="10589"/>
                    <a:pt x="40" y="10654"/>
                    <a:pt x="4" y="10698"/>
                  </a:cubicBezTo>
                  <a:cubicBezTo>
                    <a:pt x="4" y="10738"/>
                    <a:pt x="4" y="10738"/>
                    <a:pt x="4" y="10738"/>
                  </a:cubicBezTo>
                  <a:cubicBezTo>
                    <a:pt x="38" y="10696"/>
                    <a:pt x="103" y="10615"/>
                    <a:pt x="158" y="10554"/>
                  </a:cubicBezTo>
                  <a:cubicBezTo>
                    <a:pt x="198" y="10511"/>
                    <a:pt x="249" y="10477"/>
                    <a:pt x="303" y="10446"/>
                  </a:cubicBezTo>
                  <a:cubicBezTo>
                    <a:pt x="338" y="10521"/>
                    <a:pt x="338" y="10521"/>
                    <a:pt x="338" y="10521"/>
                  </a:cubicBezTo>
                  <a:cubicBezTo>
                    <a:pt x="346" y="10516"/>
                    <a:pt x="346" y="10516"/>
                    <a:pt x="346" y="10516"/>
                  </a:cubicBezTo>
                  <a:cubicBezTo>
                    <a:pt x="314" y="10537"/>
                    <a:pt x="314" y="10537"/>
                    <a:pt x="314" y="10537"/>
                  </a:cubicBezTo>
                  <a:cubicBezTo>
                    <a:pt x="314" y="10537"/>
                    <a:pt x="325" y="10563"/>
                    <a:pt x="341" y="10602"/>
                  </a:cubicBezTo>
                  <a:cubicBezTo>
                    <a:pt x="337" y="10606"/>
                    <a:pt x="167" y="10723"/>
                    <a:pt x="79" y="10786"/>
                  </a:cubicBezTo>
                  <a:cubicBezTo>
                    <a:pt x="66" y="10796"/>
                    <a:pt x="54" y="10804"/>
                    <a:pt x="25" y="10826"/>
                  </a:cubicBezTo>
                  <a:cubicBezTo>
                    <a:pt x="4" y="10794"/>
                    <a:pt x="4" y="10794"/>
                    <a:pt x="4" y="10794"/>
                  </a:cubicBezTo>
                  <a:cubicBezTo>
                    <a:pt x="4" y="10909"/>
                    <a:pt x="4" y="10909"/>
                    <a:pt x="4" y="10909"/>
                  </a:cubicBezTo>
                  <a:cubicBezTo>
                    <a:pt x="7" y="10913"/>
                    <a:pt x="10" y="10918"/>
                    <a:pt x="14" y="10925"/>
                  </a:cubicBezTo>
                  <a:cubicBezTo>
                    <a:pt x="18" y="10929"/>
                    <a:pt x="18" y="10929"/>
                    <a:pt x="18" y="10929"/>
                  </a:cubicBezTo>
                  <a:cubicBezTo>
                    <a:pt x="21" y="10934"/>
                    <a:pt x="25" y="10940"/>
                    <a:pt x="29" y="10945"/>
                  </a:cubicBezTo>
                  <a:cubicBezTo>
                    <a:pt x="9" y="10962"/>
                    <a:pt x="9" y="10962"/>
                    <a:pt x="9" y="10962"/>
                  </a:cubicBezTo>
                  <a:cubicBezTo>
                    <a:pt x="8" y="10963"/>
                    <a:pt x="6" y="10965"/>
                    <a:pt x="4" y="10966"/>
                  </a:cubicBezTo>
                  <a:cubicBezTo>
                    <a:pt x="4" y="10987"/>
                    <a:pt x="4" y="10987"/>
                    <a:pt x="4" y="10987"/>
                  </a:cubicBezTo>
                  <a:cubicBezTo>
                    <a:pt x="16" y="10976"/>
                    <a:pt x="27" y="10967"/>
                    <a:pt x="37" y="10958"/>
                  </a:cubicBezTo>
                  <a:cubicBezTo>
                    <a:pt x="37" y="10957"/>
                    <a:pt x="37" y="10957"/>
                    <a:pt x="37" y="10957"/>
                  </a:cubicBezTo>
                  <a:cubicBezTo>
                    <a:pt x="38" y="10958"/>
                    <a:pt x="38" y="10958"/>
                    <a:pt x="38" y="10958"/>
                  </a:cubicBezTo>
                  <a:cubicBezTo>
                    <a:pt x="38" y="10958"/>
                    <a:pt x="38" y="10958"/>
                    <a:pt x="38" y="10958"/>
                  </a:cubicBezTo>
                  <a:cubicBezTo>
                    <a:pt x="56" y="10984"/>
                    <a:pt x="80" y="11015"/>
                    <a:pt x="104" y="11051"/>
                  </a:cubicBezTo>
                  <a:cubicBezTo>
                    <a:pt x="142" y="11107"/>
                    <a:pt x="188" y="11174"/>
                    <a:pt x="237" y="11247"/>
                  </a:cubicBezTo>
                  <a:cubicBezTo>
                    <a:pt x="206" y="11262"/>
                    <a:pt x="111" y="11309"/>
                    <a:pt x="4" y="11363"/>
                  </a:cubicBezTo>
                  <a:cubicBezTo>
                    <a:pt x="4" y="11379"/>
                    <a:pt x="4" y="11379"/>
                    <a:pt x="4" y="11379"/>
                  </a:cubicBezTo>
                  <a:cubicBezTo>
                    <a:pt x="116" y="11323"/>
                    <a:pt x="215" y="11273"/>
                    <a:pt x="245" y="11258"/>
                  </a:cubicBezTo>
                  <a:cubicBezTo>
                    <a:pt x="276" y="11303"/>
                    <a:pt x="309" y="11351"/>
                    <a:pt x="342" y="11398"/>
                  </a:cubicBezTo>
                  <a:cubicBezTo>
                    <a:pt x="339" y="11401"/>
                    <a:pt x="335" y="11403"/>
                    <a:pt x="330" y="11406"/>
                  </a:cubicBezTo>
                  <a:cubicBezTo>
                    <a:pt x="313" y="11417"/>
                    <a:pt x="289" y="11432"/>
                    <a:pt x="262" y="11451"/>
                  </a:cubicBezTo>
                  <a:cubicBezTo>
                    <a:pt x="206" y="11487"/>
                    <a:pt x="132" y="11536"/>
                    <a:pt x="59" y="11584"/>
                  </a:cubicBezTo>
                  <a:cubicBezTo>
                    <a:pt x="41" y="11596"/>
                    <a:pt x="22" y="11608"/>
                    <a:pt x="4" y="11620"/>
                  </a:cubicBezTo>
                  <a:cubicBezTo>
                    <a:pt x="4" y="11637"/>
                    <a:pt x="4" y="11637"/>
                    <a:pt x="4" y="11637"/>
                  </a:cubicBezTo>
                  <a:cubicBezTo>
                    <a:pt x="24" y="11624"/>
                    <a:pt x="43" y="11611"/>
                    <a:pt x="63" y="11598"/>
                  </a:cubicBezTo>
                  <a:cubicBezTo>
                    <a:pt x="185" y="11517"/>
                    <a:pt x="310" y="11436"/>
                    <a:pt x="350" y="11410"/>
                  </a:cubicBezTo>
                  <a:cubicBezTo>
                    <a:pt x="354" y="11415"/>
                    <a:pt x="357" y="11419"/>
                    <a:pt x="360" y="11424"/>
                  </a:cubicBezTo>
                  <a:cubicBezTo>
                    <a:pt x="435" y="11531"/>
                    <a:pt x="512" y="11639"/>
                    <a:pt x="581" y="11737"/>
                  </a:cubicBezTo>
                  <a:cubicBezTo>
                    <a:pt x="131" y="11954"/>
                    <a:pt x="131" y="11954"/>
                    <a:pt x="131" y="11954"/>
                  </a:cubicBezTo>
                  <a:cubicBezTo>
                    <a:pt x="4" y="11880"/>
                    <a:pt x="4" y="11880"/>
                    <a:pt x="4" y="11880"/>
                  </a:cubicBezTo>
                  <a:cubicBezTo>
                    <a:pt x="4" y="11932"/>
                    <a:pt x="4" y="11932"/>
                    <a:pt x="4" y="11932"/>
                  </a:cubicBezTo>
                  <a:cubicBezTo>
                    <a:pt x="104" y="11991"/>
                    <a:pt x="104" y="11991"/>
                    <a:pt x="104" y="11991"/>
                  </a:cubicBezTo>
                  <a:cubicBezTo>
                    <a:pt x="71" y="12130"/>
                    <a:pt x="71" y="12130"/>
                    <a:pt x="71" y="12130"/>
                  </a:cubicBezTo>
                  <a:cubicBezTo>
                    <a:pt x="48" y="12126"/>
                    <a:pt x="26" y="12124"/>
                    <a:pt x="4" y="12122"/>
                  </a:cubicBezTo>
                  <a:cubicBezTo>
                    <a:pt x="4" y="12188"/>
                    <a:pt x="4" y="12188"/>
                    <a:pt x="4" y="12188"/>
                  </a:cubicBezTo>
                  <a:cubicBezTo>
                    <a:pt x="59" y="12193"/>
                    <a:pt x="125" y="12205"/>
                    <a:pt x="152" y="12222"/>
                  </a:cubicBezTo>
                  <a:cubicBezTo>
                    <a:pt x="171" y="12233"/>
                    <a:pt x="215" y="12279"/>
                    <a:pt x="254" y="12327"/>
                  </a:cubicBezTo>
                  <a:cubicBezTo>
                    <a:pt x="272" y="12349"/>
                    <a:pt x="289" y="12371"/>
                    <a:pt x="305" y="12392"/>
                  </a:cubicBezTo>
                  <a:cubicBezTo>
                    <a:pt x="115" y="12621"/>
                    <a:pt x="115" y="12621"/>
                    <a:pt x="115" y="12621"/>
                  </a:cubicBezTo>
                  <a:cubicBezTo>
                    <a:pt x="106" y="12617"/>
                    <a:pt x="100" y="12614"/>
                    <a:pt x="90" y="12613"/>
                  </a:cubicBezTo>
                  <a:cubicBezTo>
                    <a:pt x="90" y="12613"/>
                    <a:pt x="90" y="12613"/>
                    <a:pt x="90" y="12613"/>
                  </a:cubicBezTo>
                  <a:cubicBezTo>
                    <a:pt x="90" y="12613"/>
                    <a:pt x="90" y="12613"/>
                    <a:pt x="90" y="12613"/>
                  </a:cubicBezTo>
                  <a:cubicBezTo>
                    <a:pt x="89" y="12613"/>
                    <a:pt x="88" y="12613"/>
                    <a:pt x="87" y="12613"/>
                  </a:cubicBezTo>
                  <a:cubicBezTo>
                    <a:pt x="84" y="12612"/>
                    <a:pt x="81" y="12612"/>
                    <a:pt x="76" y="12611"/>
                  </a:cubicBezTo>
                  <a:cubicBezTo>
                    <a:pt x="68" y="12610"/>
                    <a:pt x="56" y="12608"/>
                    <a:pt x="42" y="12606"/>
                  </a:cubicBezTo>
                  <a:cubicBezTo>
                    <a:pt x="31" y="12604"/>
                    <a:pt x="18" y="12602"/>
                    <a:pt x="4" y="12599"/>
                  </a:cubicBezTo>
                  <a:cubicBezTo>
                    <a:pt x="4" y="12645"/>
                    <a:pt x="4" y="12645"/>
                    <a:pt x="4" y="12645"/>
                  </a:cubicBezTo>
                  <a:cubicBezTo>
                    <a:pt x="31" y="12650"/>
                    <a:pt x="55" y="12654"/>
                    <a:pt x="70" y="12656"/>
                  </a:cubicBezTo>
                  <a:cubicBezTo>
                    <a:pt x="78" y="12657"/>
                    <a:pt x="82" y="12658"/>
                    <a:pt x="88" y="12658"/>
                  </a:cubicBezTo>
                  <a:cubicBezTo>
                    <a:pt x="88" y="12658"/>
                    <a:pt x="88" y="12658"/>
                    <a:pt x="88" y="12658"/>
                  </a:cubicBezTo>
                  <a:cubicBezTo>
                    <a:pt x="90" y="12659"/>
                    <a:pt x="92" y="12660"/>
                    <a:pt x="95" y="12661"/>
                  </a:cubicBezTo>
                  <a:cubicBezTo>
                    <a:pt x="101" y="12664"/>
                    <a:pt x="110" y="12669"/>
                    <a:pt x="119" y="12675"/>
                  </a:cubicBezTo>
                  <a:cubicBezTo>
                    <a:pt x="137" y="12688"/>
                    <a:pt x="159" y="12707"/>
                    <a:pt x="178" y="12731"/>
                  </a:cubicBezTo>
                  <a:cubicBezTo>
                    <a:pt x="202" y="12762"/>
                    <a:pt x="234" y="12817"/>
                    <a:pt x="249" y="12884"/>
                  </a:cubicBezTo>
                  <a:cubicBezTo>
                    <a:pt x="241" y="12888"/>
                    <a:pt x="231" y="12892"/>
                    <a:pt x="219" y="12897"/>
                  </a:cubicBezTo>
                  <a:cubicBezTo>
                    <a:pt x="188" y="12910"/>
                    <a:pt x="147" y="12927"/>
                    <a:pt x="107" y="12945"/>
                  </a:cubicBezTo>
                  <a:cubicBezTo>
                    <a:pt x="69" y="12961"/>
                    <a:pt x="33" y="12976"/>
                    <a:pt x="4" y="12989"/>
                  </a:cubicBezTo>
                  <a:cubicBezTo>
                    <a:pt x="4" y="13004"/>
                    <a:pt x="4" y="13004"/>
                    <a:pt x="4" y="13004"/>
                  </a:cubicBezTo>
                  <a:cubicBezTo>
                    <a:pt x="33" y="12992"/>
                    <a:pt x="70" y="12976"/>
                    <a:pt x="108" y="12959"/>
                  </a:cubicBezTo>
                  <a:cubicBezTo>
                    <a:pt x="163" y="12935"/>
                    <a:pt x="220" y="12911"/>
                    <a:pt x="252" y="12898"/>
                  </a:cubicBezTo>
                  <a:cubicBezTo>
                    <a:pt x="255" y="12918"/>
                    <a:pt x="258" y="12938"/>
                    <a:pt x="258" y="12959"/>
                  </a:cubicBezTo>
                  <a:cubicBezTo>
                    <a:pt x="258" y="12978"/>
                    <a:pt x="256" y="12997"/>
                    <a:pt x="253" y="13017"/>
                  </a:cubicBezTo>
                  <a:cubicBezTo>
                    <a:pt x="231" y="13138"/>
                    <a:pt x="229" y="13266"/>
                    <a:pt x="229" y="13297"/>
                  </a:cubicBezTo>
                  <a:cubicBezTo>
                    <a:pt x="117" y="13470"/>
                    <a:pt x="117" y="13470"/>
                    <a:pt x="117" y="13470"/>
                  </a:cubicBezTo>
                  <a:cubicBezTo>
                    <a:pt x="4" y="13444"/>
                    <a:pt x="4" y="13444"/>
                    <a:pt x="4" y="13444"/>
                  </a:cubicBezTo>
                  <a:cubicBezTo>
                    <a:pt x="4" y="13459"/>
                    <a:pt x="4" y="13459"/>
                    <a:pt x="4" y="13459"/>
                  </a:cubicBezTo>
                  <a:cubicBezTo>
                    <a:pt x="108" y="13482"/>
                    <a:pt x="108" y="13482"/>
                    <a:pt x="108" y="13482"/>
                  </a:cubicBezTo>
                  <a:cubicBezTo>
                    <a:pt x="108" y="13483"/>
                    <a:pt x="108" y="13483"/>
                    <a:pt x="108" y="13483"/>
                  </a:cubicBezTo>
                  <a:cubicBezTo>
                    <a:pt x="197" y="13644"/>
                    <a:pt x="197" y="13644"/>
                    <a:pt x="197" y="13644"/>
                  </a:cubicBezTo>
                  <a:cubicBezTo>
                    <a:pt x="178" y="13693"/>
                    <a:pt x="178" y="13693"/>
                    <a:pt x="178" y="13693"/>
                  </a:cubicBezTo>
                  <a:cubicBezTo>
                    <a:pt x="4" y="13617"/>
                    <a:pt x="4" y="13617"/>
                    <a:pt x="4" y="13617"/>
                  </a:cubicBezTo>
                  <a:cubicBezTo>
                    <a:pt x="4" y="13632"/>
                    <a:pt x="4" y="13632"/>
                    <a:pt x="4" y="13632"/>
                  </a:cubicBezTo>
                  <a:cubicBezTo>
                    <a:pt x="173" y="13706"/>
                    <a:pt x="173" y="13706"/>
                    <a:pt x="173" y="13706"/>
                  </a:cubicBezTo>
                  <a:cubicBezTo>
                    <a:pt x="119" y="13844"/>
                    <a:pt x="119" y="13844"/>
                    <a:pt x="119" y="13844"/>
                  </a:cubicBezTo>
                  <a:cubicBezTo>
                    <a:pt x="116" y="13842"/>
                    <a:pt x="112" y="13841"/>
                    <a:pt x="107" y="13838"/>
                  </a:cubicBezTo>
                  <a:cubicBezTo>
                    <a:pt x="94" y="13832"/>
                    <a:pt x="76" y="13823"/>
                    <a:pt x="54" y="13812"/>
                  </a:cubicBezTo>
                  <a:cubicBezTo>
                    <a:pt x="39" y="13804"/>
                    <a:pt x="22" y="13795"/>
                    <a:pt x="4" y="13786"/>
                  </a:cubicBezTo>
                  <a:cubicBezTo>
                    <a:pt x="4" y="13801"/>
                    <a:pt x="4" y="13801"/>
                    <a:pt x="4" y="13801"/>
                  </a:cubicBezTo>
                  <a:cubicBezTo>
                    <a:pt x="55" y="13828"/>
                    <a:pt x="96" y="13849"/>
                    <a:pt x="114" y="13857"/>
                  </a:cubicBezTo>
                  <a:cubicBezTo>
                    <a:pt x="50" y="14021"/>
                    <a:pt x="50" y="14021"/>
                    <a:pt x="50" y="14021"/>
                  </a:cubicBezTo>
                  <a:cubicBezTo>
                    <a:pt x="4" y="13986"/>
                    <a:pt x="4" y="13986"/>
                    <a:pt x="4" y="13986"/>
                  </a:cubicBezTo>
                  <a:cubicBezTo>
                    <a:pt x="4" y="14003"/>
                    <a:pt x="4" y="14003"/>
                    <a:pt x="4" y="14003"/>
                  </a:cubicBezTo>
                  <a:cubicBezTo>
                    <a:pt x="44" y="14034"/>
                    <a:pt x="44" y="14034"/>
                    <a:pt x="44" y="14034"/>
                  </a:cubicBezTo>
                  <a:cubicBezTo>
                    <a:pt x="4" y="14136"/>
                    <a:pt x="4" y="14136"/>
                    <a:pt x="4" y="14136"/>
                  </a:cubicBezTo>
                  <a:cubicBezTo>
                    <a:pt x="4" y="14225"/>
                    <a:pt x="4" y="14225"/>
                    <a:pt x="4" y="14225"/>
                  </a:cubicBezTo>
                  <a:cubicBezTo>
                    <a:pt x="137" y="14330"/>
                    <a:pt x="137" y="14330"/>
                    <a:pt x="137" y="14330"/>
                  </a:cubicBezTo>
                  <a:cubicBezTo>
                    <a:pt x="109" y="14372"/>
                    <a:pt x="50" y="14460"/>
                    <a:pt x="32" y="14492"/>
                  </a:cubicBezTo>
                  <a:cubicBezTo>
                    <a:pt x="30" y="14497"/>
                    <a:pt x="28" y="14499"/>
                    <a:pt x="27" y="14502"/>
                  </a:cubicBezTo>
                  <a:cubicBezTo>
                    <a:pt x="22" y="14504"/>
                    <a:pt x="14" y="14506"/>
                    <a:pt x="4" y="14510"/>
                  </a:cubicBezTo>
                  <a:cubicBezTo>
                    <a:pt x="4" y="14524"/>
                    <a:pt x="4" y="14524"/>
                    <a:pt x="4" y="14524"/>
                  </a:cubicBezTo>
                  <a:cubicBezTo>
                    <a:pt x="23" y="14518"/>
                    <a:pt x="35" y="14514"/>
                    <a:pt x="35" y="14514"/>
                  </a:cubicBezTo>
                  <a:cubicBezTo>
                    <a:pt x="34" y="14507"/>
                    <a:pt x="34" y="14507"/>
                    <a:pt x="34" y="14507"/>
                  </a:cubicBezTo>
                  <a:cubicBezTo>
                    <a:pt x="37" y="14507"/>
                    <a:pt x="37" y="14507"/>
                    <a:pt x="37" y="14507"/>
                  </a:cubicBezTo>
                  <a:cubicBezTo>
                    <a:pt x="40" y="14508"/>
                    <a:pt x="40" y="14508"/>
                    <a:pt x="40" y="14508"/>
                  </a:cubicBezTo>
                  <a:cubicBezTo>
                    <a:pt x="40" y="14508"/>
                    <a:pt x="40" y="14508"/>
                    <a:pt x="40" y="14508"/>
                  </a:cubicBezTo>
                  <a:cubicBezTo>
                    <a:pt x="40" y="14507"/>
                    <a:pt x="40" y="14507"/>
                    <a:pt x="40" y="14506"/>
                  </a:cubicBezTo>
                  <a:cubicBezTo>
                    <a:pt x="41" y="14504"/>
                    <a:pt x="43" y="14502"/>
                    <a:pt x="44" y="14499"/>
                  </a:cubicBezTo>
                  <a:cubicBezTo>
                    <a:pt x="48" y="14493"/>
                    <a:pt x="52" y="14485"/>
                    <a:pt x="58" y="14476"/>
                  </a:cubicBezTo>
                  <a:cubicBezTo>
                    <a:pt x="70" y="14457"/>
                    <a:pt x="86" y="14433"/>
                    <a:pt x="102" y="14409"/>
                  </a:cubicBezTo>
                  <a:cubicBezTo>
                    <a:pt x="119" y="14382"/>
                    <a:pt x="136" y="14357"/>
                    <a:pt x="148" y="14339"/>
                  </a:cubicBezTo>
                  <a:cubicBezTo>
                    <a:pt x="470" y="14593"/>
                    <a:pt x="470" y="14593"/>
                    <a:pt x="470" y="14593"/>
                  </a:cubicBezTo>
                  <a:cubicBezTo>
                    <a:pt x="470" y="14593"/>
                    <a:pt x="470" y="14593"/>
                    <a:pt x="470" y="14593"/>
                  </a:cubicBezTo>
                  <a:cubicBezTo>
                    <a:pt x="470" y="14593"/>
                    <a:pt x="471" y="14594"/>
                    <a:pt x="472" y="14595"/>
                  </a:cubicBezTo>
                  <a:cubicBezTo>
                    <a:pt x="481" y="14602"/>
                    <a:pt x="481" y="14602"/>
                    <a:pt x="481" y="14602"/>
                  </a:cubicBezTo>
                  <a:cubicBezTo>
                    <a:pt x="481" y="14602"/>
                    <a:pt x="481" y="14602"/>
                    <a:pt x="481" y="14602"/>
                  </a:cubicBezTo>
                  <a:cubicBezTo>
                    <a:pt x="485" y="14605"/>
                    <a:pt x="490" y="14609"/>
                    <a:pt x="496" y="14613"/>
                  </a:cubicBezTo>
                  <a:cubicBezTo>
                    <a:pt x="385" y="14874"/>
                    <a:pt x="385" y="14874"/>
                    <a:pt x="385" y="14874"/>
                  </a:cubicBezTo>
                  <a:cubicBezTo>
                    <a:pt x="282" y="14832"/>
                    <a:pt x="282" y="14832"/>
                    <a:pt x="282" y="14832"/>
                  </a:cubicBezTo>
                  <a:cubicBezTo>
                    <a:pt x="281" y="14835"/>
                    <a:pt x="281" y="14835"/>
                    <a:pt x="281" y="14835"/>
                  </a:cubicBezTo>
                  <a:cubicBezTo>
                    <a:pt x="282" y="14833"/>
                    <a:pt x="282" y="14833"/>
                    <a:pt x="282" y="14833"/>
                  </a:cubicBezTo>
                  <a:cubicBezTo>
                    <a:pt x="31" y="14726"/>
                    <a:pt x="31" y="14726"/>
                    <a:pt x="31" y="14726"/>
                  </a:cubicBezTo>
                  <a:cubicBezTo>
                    <a:pt x="4" y="14701"/>
                    <a:pt x="4" y="14701"/>
                    <a:pt x="4" y="14701"/>
                  </a:cubicBezTo>
                  <a:cubicBezTo>
                    <a:pt x="4" y="14720"/>
                    <a:pt x="4" y="14720"/>
                    <a:pt x="4" y="14720"/>
                  </a:cubicBezTo>
                  <a:cubicBezTo>
                    <a:pt x="24" y="14738"/>
                    <a:pt x="24" y="14738"/>
                    <a:pt x="24" y="14738"/>
                  </a:cubicBezTo>
                  <a:cubicBezTo>
                    <a:pt x="28" y="14740"/>
                    <a:pt x="28" y="14740"/>
                    <a:pt x="28" y="14740"/>
                  </a:cubicBezTo>
                  <a:cubicBezTo>
                    <a:pt x="4" y="14770"/>
                    <a:pt x="4" y="14770"/>
                    <a:pt x="4" y="14770"/>
                  </a:cubicBezTo>
                  <a:cubicBezTo>
                    <a:pt x="4" y="14793"/>
                    <a:pt x="4" y="14793"/>
                    <a:pt x="4" y="14793"/>
                  </a:cubicBezTo>
                  <a:cubicBezTo>
                    <a:pt x="42" y="14745"/>
                    <a:pt x="42" y="14745"/>
                    <a:pt x="42" y="14745"/>
                  </a:cubicBezTo>
                  <a:cubicBezTo>
                    <a:pt x="275" y="14845"/>
                    <a:pt x="275" y="14845"/>
                    <a:pt x="275" y="14845"/>
                  </a:cubicBezTo>
                  <a:cubicBezTo>
                    <a:pt x="70" y="15199"/>
                    <a:pt x="70" y="15199"/>
                    <a:pt x="70" y="15199"/>
                  </a:cubicBezTo>
                  <a:cubicBezTo>
                    <a:pt x="73" y="15201"/>
                    <a:pt x="73" y="15201"/>
                    <a:pt x="73" y="15201"/>
                  </a:cubicBezTo>
                  <a:cubicBezTo>
                    <a:pt x="52" y="15183"/>
                    <a:pt x="28" y="15163"/>
                    <a:pt x="4" y="15142"/>
                  </a:cubicBezTo>
                  <a:cubicBezTo>
                    <a:pt x="4" y="15229"/>
                    <a:pt x="4" y="15229"/>
                    <a:pt x="4" y="15229"/>
                  </a:cubicBezTo>
                  <a:cubicBezTo>
                    <a:pt x="87" y="15300"/>
                    <a:pt x="151" y="15355"/>
                    <a:pt x="181" y="15381"/>
                  </a:cubicBezTo>
                  <a:cubicBezTo>
                    <a:pt x="124" y="15455"/>
                    <a:pt x="76" y="15519"/>
                    <a:pt x="54" y="15547"/>
                  </a:cubicBezTo>
                  <a:cubicBezTo>
                    <a:pt x="4" y="15611"/>
                    <a:pt x="4" y="15611"/>
                    <a:pt x="4" y="15611"/>
                  </a:cubicBezTo>
                  <a:cubicBezTo>
                    <a:pt x="4" y="15718"/>
                    <a:pt x="4" y="15718"/>
                    <a:pt x="4" y="15718"/>
                  </a:cubicBezTo>
                  <a:cubicBezTo>
                    <a:pt x="110" y="15581"/>
                    <a:pt x="110" y="15581"/>
                    <a:pt x="110" y="15581"/>
                  </a:cubicBezTo>
                  <a:cubicBezTo>
                    <a:pt x="707" y="15746"/>
                    <a:pt x="707" y="15746"/>
                    <a:pt x="707" y="15746"/>
                  </a:cubicBezTo>
                  <a:cubicBezTo>
                    <a:pt x="672" y="15827"/>
                    <a:pt x="672" y="15827"/>
                    <a:pt x="672" y="15827"/>
                  </a:cubicBezTo>
                  <a:cubicBezTo>
                    <a:pt x="900" y="15862"/>
                    <a:pt x="900" y="15862"/>
                    <a:pt x="900" y="15862"/>
                  </a:cubicBezTo>
                  <a:cubicBezTo>
                    <a:pt x="832" y="16181"/>
                    <a:pt x="832" y="16181"/>
                    <a:pt x="832" y="16181"/>
                  </a:cubicBezTo>
                  <a:cubicBezTo>
                    <a:pt x="129" y="15814"/>
                    <a:pt x="129" y="15814"/>
                    <a:pt x="129" y="15814"/>
                  </a:cubicBezTo>
                  <a:cubicBezTo>
                    <a:pt x="197" y="15723"/>
                    <a:pt x="197" y="15723"/>
                    <a:pt x="197" y="15723"/>
                  </a:cubicBezTo>
                  <a:cubicBezTo>
                    <a:pt x="201" y="15718"/>
                    <a:pt x="201" y="15718"/>
                    <a:pt x="201" y="15718"/>
                  </a:cubicBezTo>
                  <a:cubicBezTo>
                    <a:pt x="92" y="15638"/>
                    <a:pt x="92" y="15638"/>
                    <a:pt x="92" y="15638"/>
                  </a:cubicBezTo>
                  <a:cubicBezTo>
                    <a:pt x="8" y="15751"/>
                    <a:pt x="8" y="15751"/>
                    <a:pt x="8" y="15751"/>
                  </a:cubicBezTo>
                  <a:cubicBezTo>
                    <a:pt x="4" y="15749"/>
                    <a:pt x="4" y="15749"/>
                    <a:pt x="4" y="15749"/>
                  </a:cubicBezTo>
                  <a:cubicBezTo>
                    <a:pt x="4" y="15777"/>
                    <a:pt x="4" y="15777"/>
                    <a:pt x="4" y="15777"/>
                  </a:cubicBezTo>
                  <a:cubicBezTo>
                    <a:pt x="11" y="15768"/>
                    <a:pt x="11" y="15768"/>
                    <a:pt x="11" y="15768"/>
                  </a:cubicBezTo>
                  <a:cubicBezTo>
                    <a:pt x="109" y="15819"/>
                    <a:pt x="109" y="15819"/>
                    <a:pt x="109" y="15819"/>
                  </a:cubicBezTo>
                  <a:cubicBezTo>
                    <a:pt x="16" y="15943"/>
                    <a:pt x="16" y="15943"/>
                    <a:pt x="16" y="15943"/>
                  </a:cubicBezTo>
                  <a:cubicBezTo>
                    <a:pt x="4" y="15936"/>
                    <a:pt x="4" y="15936"/>
                    <a:pt x="4" y="15936"/>
                  </a:cubicBezTo>
                  <a:cubicBezTo>
                    <a:pt x="4" y="15952"/>
                    <a:pt x="4" y="15952"/>
                    <a:pt x="4" y="15952"/>
                  </a:cubicBezTo>
                  <a:cubicBezTo>
                    <a:pt x="8" y="15954"/>
                    <a:pt x="8" y="15954"/>
                    <a:pt x="8" y="15954"/>
                  </a:cubicBezTo>
                  <a:cubicBezTo>
                    <a:pt x="4" y="15958"/>
                    <a:pt x="4" y="15958"/>
                    <a:pt x="4" y="15958"/>
                  </a:cubicBezTo>
                  <a:cubicBezTo>
                    <a:pt x="4" y="15980"/>
                    <a:pt x="4" y="15980"/>
                    <a:pt x="4" y="15980"/>
                  </a:cubicBezTo>
                  <a:cubicBezTo>
                    <a:pt x="19" y="15960"/>
                    <a:pt x="19" y="15960"/>
                    <a:pt x="19" y="15960"/>
                  </a:cubicBezTo>
                  <a:cubicBezTo>
                    <a:pt x="371" y="16145"/>
                    <a:pt x="371" y="16145"/>
                    <a:pt x="371" y="16145"/>
                  </a:cubicBezTo>
                  <a:cubicBezTo>
                    <a:pt x="295" y="16526"/>
                    <a:pt x="295" y="16526"/>
                    <a:pt x="295" y="16526"/>
                  </a:cubicBezTo>
                  <a:cubicBezTo>
                    <a:pt x="214" y="16632"/>
                    <a:pt x="214" y="16632"/>
                    <a:pt x="214" y="16632"/>
                  </a:cubicBezTo>
                  <a:cubicBezTo>
                    <a:pt x="176" y="16601"/>
                    <a:pt x="176" y="16601"/>
                    <a:pt x="176" y="16601"/>
                  </a:cubicBezTo>
                  <a:cubicBezTo>
                    <a:pt x="149" y="16635"/>
                    <a:pt x="149" y="16635"/>
                    <a:pt x="149" y="16635"/>
                  </a:cubicBezTo>
                  <a:cubicBezTo>
                    <a:pt x="112" y="16605"/>
                    <a:pt x="112" y="16605"/>
                    <a:pt x="112" y="16605"/>
                  </a:cubicBezTo>
                  <a:cubicBezTo>
                    <a:pt x="62" y="16668"/>
                    <a:pt x="62" y="16668"/>
                    <a:pt x="62" y="16668"/>
                  </a:cubicBezTo>
                  <a:cubicBezTo>
                    <a:pt x="58" y="16673"/>
                    <a:pt x="58" y="16673"/>
                    <a:pt x="58" y="16673"/>
                  </a:cubicBezTo>
                  <a:cubicBezTo>
                    <a:pt x="135" y="16734"/>
                    <a:pt x="135" y="16734"/>
                    <a:pt x="135" y="16734"/>
                  </a:cubicBezTo>
                  <a:cubicBezTo>
                    <a:pt x="117" y="16759"/>
                    <a:pt x="117" y="16759"/>
                    <a:pt x="117" y="16759"/>
                  </a:cubicBezTo>
                  <a:cubicBezTo>
                    <a:pt x="128" y="16767"/>
                    <a:pt x="128" y="16767"/>
                    <a:pt x="128" y="16767"/>
                  </a:cubicBezTo>
                  <a:cubicBezTo>
                    <a:pt x="146" y="16743"/>
                    <a:pt x="146" y="16743"/>
                    <a:pt x="146" y="16743"/>
                  </a:cubicBezTo>
                  <a:cubicBezTo>
                    <a:pt x="223" y="16804"/>
                    <a:pt x="223" y="16804"/>
                    <a:pt x="223" y="16804"/>
                  </a:cubicBezTo>
                  <a:cubicBezTo>
                    <a:pt x="277" y="16737"/>
                    <a:pt x="277" y="16737"/>
                    <a:pt x="277" y="16737"/>
                  </a:cubicBezTo>
                  <a:cubicBezTo>
                    <a:pt x="240" y="16707"/>
                    <a:pt x="240" y="16707"/>
                    <a:pt x="240" y="16707"/>
                  </a:cubicBezTo>
                  <a:cubicBezTo>
                    <a:pt x="267" y="16674"/>
                    <a:pt x="267" y="16674"/>
                    <a:pt x="267" y="16674"/>
                  </a:cubicBezTo>
                  <a:cubicBezTo>
                    <a:pt x="225" y="16640"/>
                    <a:pt x="225" y="16640"/>
                    <a:pt x="225" y="16640"/>
                  </a:cubicBezTo>
                  <a:cubicBezTo>
                    <a:pt x="308" y="16531"/>
                    <a:pt x="308" y="16531"/>
                    <a:pt x="308" y="16531"/>
                  </a:cubicBezTo>
                  <a:cubicBezTo>
                    <a:pt x="383" y="16157"/>
                    <a:pt x="383" y="16157"/>
                    <a:pt x="383" y="16157"/>
                  </a:cubicBezTo>
                  <a:cubicBezTo>
                    <a:pt x="430" y="16210"/>
                    <a:pt x="650" y="16457"/>
                    <a:pt x="688" y="16496"/>
                  </a:cubicBezTo>
                  <a:cubicBezTo>
                    <a:pt x="688" y="16496"/>
                    <a:pt x="688" y="16496"/>
                    <a:pt x="687" y="16497"/>
                  </a:cubicBezTo>
                  <a:cubicBezTo>
                    <a:pt x="684" y="16501"/>
                    <a:pt x="679" y="16506"/>
                    <a:pt x="674" y="16512"/>
                  </a:cubicBezTo>
                  <a:cubicBezTo>
                    <a:pt x="663" y="16526"/>
                    <a:pt x="648" y="16545"/>
                    <a:pt x="631" y="16568"/>
                  </a:cubicBezTo>
                  <a:cubicBezTo>
                    <a:pt x="596" y="16613"/>
                    <a:pt x="551" y="16673"/>
                    <a:pt x="506" y="16734"/>
                  </a:cubicBezTo>
                  <a:cubicBezTo>
                    <a:pt x="429" y="16839"/>
                    <a:pt x="353" y="16943"/>
                    <a:pt x="333" y="16969"/>
                  </a:cubicBezTo>
                  <a:cubicBezTo>
                    <a:pt x="4" y="16656"/>
                    <a:pt x="4" y="16656"/>
                    <a:pt x="4" y="16656"/>
                  </a:cubicBezTo>
                  <a:cubicBezTo>
                    <a:pt x="4" y="16675"/>
                    <a:pt x="4" y="16675"/>
                    <a:pt x="4" y="16675"/>
                  </a:cubicBezTo>
                  <a:cubicBezTo>
                    <a:pt x="484" y="17132"/>
                    <a:pt x="484" y="17132"/>
                    <a:pt x="484" y="17132"/>
                  </a:cubicBezTo>
                  <a:cubicBezTo>
                    <a:pt x="484" y="17132"/>
                    <a:pt x="483" y="17133"/>
                    <a:pt x="483" y="17133"/>
                  </a:cubicBezTo>
                  <a:cubicBezTo>
                    <a:pt x="491" y="17139"/>
                    <a:pt x="491" y="17139"/>
                    <a:pt x="491" y="17139"/>
                  </a:cubicBezTo>
                  <a:cubicBezTo>
                    <a:pt x="692" y="17330"/>
                    <a:pt x="692" y="17330"/>
                    <a:pt x="692" y="17330"/>
                  </a:cubicBezTo>
                  <a:cubicBezTo>
                    <a:pt x="925" y="17432"/>
                    <a:pt x="925" y="17432"/>
                    <a:pt x="925" y="17432"/>
                  </a:cubicBezTo>
                  <a:cubicBezTo>
                    <a:pt x="924" y="17436"/>
                    <a:pt x="924" y="17436"/>
                    <a:pt x="924" y="17436"/>
                  </a:cubicBezTo>
                  <a:cubicBezTo>
                    <a:pt x="924" y="17436"/>
                    <a:pt x="924" y="17436"/>
                    <a:pt x="924" y="17436"/>
                  </a:cubicBezTo>
                  <a:cubicBezTo>
                    <a:pt x="924" y="17436"/>
                    <a:pt x="924" y="17436"/>
                    <a:pt x="925" y="17436"/>
                  </a:cubicBezTo>
                  <a:cubicBezTo>
                    <a:pt x="925" y="17436"/>
                    <a:pt x="926" y="17436"/>
                    <a:pt x="926" y="17436"/>
                  </a:cubicBezTo>
                  <a:cubicBezTo>
                    <a:pt x="927" y="17436"/>
                    <a:pt x="928" y="17436"/>
                    <a:pt x="929" y="17435"/>
                  </a:cubicBezTo>
                  <a:cubicBezTo>
                    <a:pt x="930" y="17435"/>
                    <a:pt x="930" y="17435"/>
                    <a:pt x="931" y="17434"/>
                  </a:cubicBezTo>
                  <a:cubicBezTo>
                    <a:pt x="1250" y="17573"/>
                    <a:pt x="1250" y="17573"/>
                    <a:pt x="1250" y="17573"/>
                  </a:cubicBezTo>
                  <a:cubicBezTo>
                    <a:pt x="1251" y="17573"/>
                    <a:pt x="1251" y="17573"/>
                    <a:pt x="1251" y="17573"/>
                  </a:cubicBezTo>
                  <a:cubicBezTo>
                    <a:pt x="1252" y="17574"/>
                    <a:pt x="2310" y="17788"/>
                    <a:pt x="2325" y="17788"/>
                  </a:cubicBezTo>
                  <a:cubicBezTo>
                    <a:pt x="2326" y="17788"/>
                    <a:pt x="2326" y="17788"/>
                    <a:pt x="2326" y="17788"/>
                  </a:cubicBezTo>
                  <a:cubicBezTo>
                    <a:pt x="2329" y="17788"/>
                    <a:pt x="2329" y="17788"/>
                    <a:pt x="2329" y="17788"/>
                  </a:cubicBezTo>
                  <a:cubicBezTo>
                    <a:pt x="2331" y="17786"/>
                    <a:pt x="2331" y="17786"/>
                    <a:pt x="2331" y="17786"/>
                  </a:cubicBezTo>
                  <a:cubicBezTo>
                    <a:pt x="2370" y="17738"/>
                    <a:pt x="2419" y="17707"/>
                    <a:pt x="2458" y="17689"/>
                  </a:cubicBezTo>
                  <a:cubicBezTo>
                    <a:pt x="2498" y="17670"/>
                    <a:pt x="2527" y="17663"/>
                    <a:pt x="2527" y="17663"/>
                  </a:cubicBezTo>
                  <a:cubicBezTo>
                    <a:pt x="2532" y="17662"/>
                    <a:pt x="2532" y="17662"/>
                    <a:pt x="2532" y="17662"/>
                  </a:cubicBezTo>
                  <a:cubicBezTo>
                    <a:pt x="2535" y="17398"/>
                    <a:pt x="2535" y="17398"/>
                    <a:pt x="2535" y="17398"/>
                  </a:cubicBezTo>
                  <a:cubicBezTo>
                    <a:pt x="2582" y="17406"/>
                    <a:pt x="2582" y="17406"/>
                    <a:pt x="2582" y="17406"/>
                  </a:cubicBezTo>
                  <a:cubicBezTo>
                    <a:pt x="2585" y="17555"/>
                    <a:pt x="2589" y="17670"/>
                    <a:pt x="2591" y="17723"/>
                  </a:cubicBezTo>
                  <a:cubicBezTo>
                    <a:pt x="2503" y="17736"/>
                    <a:pt x="2426" y="17781"/>
                    <a:pt x="2371" y="17845"/>
                  </a:cubicBezTo>
                  <a:cubicBezTo>
                    <a:pt x="2325" y="17830"/>
                    <a:pt x="2247" y="17808"/>
                    <a:pt x="2142" y="17786"/>
                  </a:cubicBezTo>
                  <a:cubicBezTo>
                    <a:pt x="1965" y="17750"/>
                    <a:pt x="1792" y="17737"/>
                    <a:pt x="1630" y="17706"/>
                  </a:cubicBezTo>
                  <a:cubicBezTo>
                    <a:pt x="1463" y="17673"/>
                    <a:pt x="1230" y="17597"/>
                    <a:pt x="954" y="17491"/>
                  </a:cubicBezTo>
                  <a:cubicBezTo>
                    <a:pt x="878" y="17463"/>
                    <a:pt x="763" y="17391"/>
                    <a:pt x="639" y="17299"/>
                  </a:cubicBezTo>
                  <a:cubicBezTo>
                    <a:pt x="515" y="17208"/>
                    <a:pt x="380" y="17095"/>
                    <a:pt x="252" y="16984"/>
                  </a:cubicBezTo>
                  <a:cubicBezTo>
                    <a:pt x="164" y="16907"/>
                    <a:pt x="79" y="16830"/>
                    <a:pt x="4" y="16761"/>
                  </a:cubicBezTo>
                  <a:cubicBezTo>
                    <a:pt x="4" y="17052"/>
                    <a:pt x="4" y="17052"/>
                    <a:pt x="4" y="17052"/>
                  </a:cubicBezTo>
                  <a:cubicBezTo>
                    <a:pt x="13" y="17061"/>
                    <a:pt x="21" y="17069"/>
                    <a:pt x="28" y="17076"/>
                  </a:cubicBezTo>
                  <a:cubicBezTo>
                    <a:pt x="89" y="17137"/>
                    <a:pt x="189" y="17250"/>
                    <a:pt x="293" y="17342"/>
                  </a:cubicBezTo>
                  <a:cubicBezTo>
                    <a:pt x="299" y="17371"/>
                    <a:pt x="307" y="17408"/>
                    <a:pt x="314" y="17451"/>
                  </a:cubicBezTo>
                  <a:cubicBezTo>
                    <a:pt x="332" y="17548"/>
                    <a:pt x="352" y="17671"/>
                    <a:pt x="358" y="17769"/>
                  </a:cubicBezTo>
                  <a:cubicBezTo>
                    <a:pt x="363" y="17856"/>
                    <a:pt x="370" y="17932"/>
                    <a:pt x="376" y="18000"/>
                  </a:cubicBezTo>
                  <a:cubicBezTo>
                    <a:pt x="421" y="18000"/>
                    <a:pt x="421" y="18000"/>
                    <a:pt x="421" y="18000"/>
                  </a:cubicBezTo>
                  <a:cubicBezTo>
                    <a:pt x="416" y="17930"/>
                    <a:pt x="408" y="17853"/>
                    <a:pt x="403" y="17767"/>
                  </a:cubicBezTo>
                  <a:cubicBezTo>
                    <a:pt x="395" y="17645"/>
                    <a:pt x="369" y="17493"/>
                    <a:pt x="349" y="17389"/>
                  </a:cubicBezTo>
                  <a:cubicBezTo>
                    <a:pt x="392" y="17425"/>
                    <a:pt x="432" y="17455"/>
                    <a:pt x="467" y="17480"/>
                  </a:cubicBezTo>
                  <a:cubicBezTo>
                    <a:pt x="514" y="17514"/>
                    <a:pt x="551" y="17540"/>
                    <a:pt x="558" y="17546"/>
                  </a:cubicBezTo>
                  <a:cubicBezTo>
                    <a:pt x="598" y="17577"/>
                    <a:pt x="698" y="17646"/>
                    <a:pt x="813" y="17722"/>
                  </a:cubicBezTo>
                  <a:cubicBezTo>
                    <a:pt x="928" y="17798"/>
                    <a:pt x="1053" y="17879"/>
                    <a:pt x="1139" y="17928"/>
                  </a:cubicBezTo>
                  <a:cubicBezTo>
                    <a:pt x="1181" y="17952"/>
                    <a:pt x="1222" y="17977"/>
                    <a:pt x="1262" y="18000"/>
                  </a:cubicBezTo>
                  <a:cubicBezTo>
                    <a:pt x="1623" y="18000"/>
                    <a:pt x="1623" y="18000"/>
                    <a:pt x="1623" y="18000"/>
                  </a:cubicBezTo>
                  <a:cubicBezTo>
                    <a:pt x="1478" y="17959"/>
                    <a:pt x="1371" y="17886"/>
                    <a:pt x="1215" y="17796"/>
                  </a:cubicBezTo>
                  <a:cubicBezTo>
                    <a:pt x="1166" y="17768"/>
                    <a:pt x="1101" y="17727"/>
                    <a:pt x="1032" y="17683"/>
                  </a:cubicBezTo>
                  <a:cubicBezTo>
                    <a:pt x="1255" y="17765"/>
                    <a:pt x="1446" y="17825"/>
                    <a:pt x="1601" y="17855"/>
                  </a:cubicBezTo>
                  <a:cubicBezTo>
                    <a:pt x="1775" y="17889"/>
                    <a:pt x="1947" y="17901"/>
                    <a:pt x="2111" y="17935"/>
                  </a:cubicBezTo>
                  <a:cubicBezTo>
                    <a:pt x="2192" y="17952"/>
                    <a:pt x="2254" y="17969"/>
                    <a:pt x="2297" y="17982"/>
                  </a:cubicBezTo>
                  <a:cubicBezTo>
                    <a:pt x="2295" y="17988"/>
                    <a:pt x="2294" y="17994"/>
                    <a:pt x="2293" y="18000"/>
                  </a:cubicBezTo>
                  <a:cubicBezTo>
                    <a:pt x="2458" y="18000"/>
                    <a:pt x="2458" y="18000"/>
                    <a:pt x="2458" y="18000"/>
                  </a:cubicBezTo>
                  <a:cubicBezTo>
                    <a:pt x="2490" y="17927"/>
                    <a:pt x="2563" y="17876"/>
                    <a:pt x="2648" y="17876"/>
                  </a:cubicBezTo>
                  <a:cubicBezTo>
                    <a:pt x="2733" y="17876"/>
                    <a:pt x="2806" y="17927"/>
                    <a:pt x="2838" y="18000"/>
                  </a:cubicBezTo>
                  <a:cubicBezTo>
                    <a:pt x="3003" y="18000"/>
                    <a:pt x="3003" y="18000"/>
                    <a:pt x="3003" y="18000"/>
                  </a:cubicBezTo>
                  <a:cubicBezTo>
                    <a:pt x="2966" y="17841"/>
                    <a:pt x="2826" y="17722"/>
                    <a:pt x="2656" y="17718"/>
                  </a:cubicBezTo>
                  <a:cubicBezTo>
                    <a:pt x="2655" y="17677"/>
                    <a:pt x="2652" y="17598"/>
                    <a:pt x="2650" y="17495"/>
                  </a:cubicBezTo>
                  <a:cubicBezTo>
                    <a:pt x="2647" y="17388"/>
                    <a:pt x="2644" y="17256"/>
                    <a:pt x="2642" y="17115"/>
                  </a:cubicBezTo>
                  <a:cubicBezTo>
                    <a:pt x="3006" y="17053"/>
                    <a:pt x="3006" y="17053"/>
                    <a:pt x="3006" y="17053"/>
                  </a:cubicBezTo>
                  <a:cubicBezTo>
                    <a:pt x="3061" y="17268"/>
                    <a:pt x="3061" y="17268"/>
                    <a:pt x="3061" y="17268"/>
                  </a:cubicBezTo>
                  <a:cubicBezTo>
                    <a:pt x="3181" y="17520"/>
                    <a:pt x="3181" y="17520"/>
                    <a:pt x="3181" y="17520"/>
                  </a:cubicBezTo>
                  <a:cubicBezTo>
                    <a:pt x="3532" y="17869"/>
                    <a:pt x="3532" y="17869"/>
                    <a:pt x="3532" y="17869"/>
                  </a:cubicBezTo>
                  <a:cubicBezTo>
                    <a:pt x="3532" y="17880"/>
                    <a:pt x="3532" y="17914"/>
                    <a:pt x="3531" y="17951"/>
                  </a:cubicBezTo>
                  <a:cubicBezTo>
                    <a:pt x="3531" y="17968"/>
                    <a:pt x="3531" y="17985"/>
                    <a:pt x="3530" y="18000"/>
                  </a:cubicBezTo>
                  <a:cubicBezTo>
                    <a:pt x="3544" y="18000"/>
                    <a:pt x="3544" y="18000"/>
                    <a:pt x="3544" y="18000"/>
                  </a:cubicBezTo>
                  <a:cubicBezTo>
                    <a:pt x="3544" y="17987"/>
                    <a:pt x="3545" y="17974"/>
                    <a:pt x="3545" y="17960"/>
                  </a:cubicBezTo>
                  <a:cubicBezTo>
                    <a:pt x="3546" y="17913"/>
                    <a:pt x="3546" y="17867"/>
                    <a:pt x="3546" y="17866"/>
                  </a:cubicBezTo>
                  <a:cubicBezTo>
                    <a:pt x="3546" y="17864"/>
                    <a:pt x="3546" y="17864"/>
                    <a:pt x="3546" y="17864"/>
                  </a:cubicBezTo>
                  <a:cubicBezTo>
                    <a:pt x="3209" y="17529"/>
                    <a:pt x="3209" y="17529"/>
                    <a:pt x="3209" y="17529"/>
                  </a:cubicBezTo>
                  <a:cubicBezTo>
                    <a:pt x="3210" y="17529"/>
                    <a:pt x="3211" y="17528"/>
                    <a:pt x="3212" y="17527"/>
                  </a:cubicBezTo>
                  <a:cubicBezTo>
                    <a:pt x="3216" y="17525"/>
                    <a:pt x="3221" y="17521"/>
                    <a:pt x="3228" y="17517"/>
                  </a:cubicBezTo>
                  <a:cubicBezTo>
                    <a:pt x="3243" y="17509"/>
                    <a:pt x="3263" y="17497"/>
                    <a:pt x="3287" y="17484"/>
                  </a:cubicBezTo>
                  <a:cubicBezTo>
                    <a:pt x="3336" y="17456"/>
                    <a:pt x="3400" y="17420"/>
                    <a:pt x="3465" y="17385"/>
                  </a:cubicBezTo>
                  <a:cubicBezTo>
                    <a:pt x="3576" y="17324"/>
                    <a:pt x="3686" y="17264"/>
                    <a:pt x="3716" y="17248"/>
                  </a:cubicBezTo>
                  <a:cubicBezTo>
                    <a:pt x="3809" y="17772"/>
                    <a:pt x="3809" y="17772"/>
                    <a:pt x="3809" y="17772"/>
                  </a:cubicBezTo>
                  <a:cubicBezTo>
                    <a:pt x="4166" y="17812"/>
                    <a:pt x="4166" y="17812"/>
                    <a:pt x="4166" y="17812"/>
                  </a:cubicBezTo>
                  <a:cubicBezTo>
                    <a:pt x="3898" y="17964"/>
                    <a:pt x="3898" y="17964"/>
                    <a:pt x="3898" y="17964"/>
                  </a:cubicBezTo>
                  <a:cubicBezTo>
                    <a:pt x="3882" y="18000"/>
                    <a:pt x="3882" y="18000"/>
                    <a:pt x="3882" y="18000"/>
                  </a:cubicBezTo>
                  <a:cubicBezTo>
                    <a:pt x="3898" y="18000"/>
                    <a:pt x="3898" y="18000"/>
                    <a:pt x="3898" y="18000"/>
                  </a:cubicBezTo>
                  <a:cubicBezTo>
                    <a:pt x="3909" y="17974"/>
                    <a:pt x="3909" y="17974"/>
                    <a:pt x="3909" y="17974"/>
                  </a:cubicBezTo>
                  <a:cubicBezTo>
                    <a:pt x="4190" y="17815"/>
                    <a:pt x="4190" y="17815"/>
                    <a:pt x="4190" y="17815"/>
                  </a:cubicBezTo>
                  <a:cubicBezTo>
                    <a:pt x="4283" y="17825"/>
                    <a:pt x="4283" y="17825"/>
                    <a:pt x="4283" y="17825"/>
                  </a:cubicBezTo>
                  <a:cubicBezTo>
                    <a:pt x="4266" y="18000"/>
                    <a:pt x="4266" y="18000"/>
                    <a:pt x="4266" y="18000"/>
                  </a:cubicBezTo>
                  <a:cubicBezTo>
                    <a:pt x="4311" y="18000"/>
                    <a:pt x="4311" y="18000"/>
                    <a:pt x="4311" y="18000"/>
                  </a:cubicBezTo>
                  <a:cubicBezTo>
                    <a:pt x="4332" y="17785"/>
                    <a:pt x="4332" y="17785"/>
                    <a:pt x="4332" y="17785"/>
                  </a:cubicBezTo>
                  <a:cubicBezTo>
                    <a:pt x="4184" y="17769"/>
                    <a:pt x="4184" y="17769"/>
                    <a:pt x="4184" y="17769"/>
                  </a:cubicBezTo>
                  <a:cubicBezTo>
                    <a:pt x="4195" y="17743"/>
                    <a:pt x="4237" y="17651"/>
                    <a:pt x="4260" y="17596"/>
                  </a:cubicBezTo>
                  <a:cubicBezTo>
                    <a:pt x="4268" y="17577"/>
                    <a:pt x="4274" y="17565"/>
                    <a:pt x="4275" y="17557"/>
                  </a:cubicBezTo>
                  <a:cubicBezTo>
                    <a:pt x="4277" y="17556"/>
                    <a:pt x="4279" y="17556"/>
                    <a:pt x="4281" y="17555"/>
                  </a:cubicBezTo>
                  <a:cubicBezTo>
                    <a:pt x="4288" y="17552"/>
                    <a:pt x="4297" y="17549"/>
                    <a:pt x="4308" y="17545"/>
                  </a:cubicBezTo>
                  <a:cubicBezTo>
                    <a:pt x="4331" y="17537"/>
                    <a:pt x="4361" y="17527"/>
                    <a:pt x="4392" y="17517"/>
                  </a:cubicBezTo>
                  <a:cubicBezTo>
                    <a:pt x="4442" y="17500"/>
                    <a:pt x="4492" y="17484"/>
                    <a:pt x="4508" y="17479"/>
                  </a:cubicBezTo>
                  <a:cubicBezTo>
                    <a:pt x="4710" y="17767"/>
                    <a:pt x="4710" y="17767"/>
                    <a:pt x="4710" y="17767"/>
                  </a:cubicBezTo>
                  <a:cubicBezTo>
                    <a:pt x="4636" y="18000"/>
                    <a:pt x="4636" y="18000"/>
                    <a:pt x="4636" y="18000"/>
                  </a:cubicBezTo>
                  <a:cubicBezTo>
                    <a:pt x="4650" y="18000"/>
                    <a:pt x="4650" y="18000"/>
                    <a:pt x="4650" y="18000"/>
                  </a:cubicBezTo>
                  <a:cubicBezTo>
                    <a:pt x="4723" y="17772"/>
                    <a:pt x="4723" y="17772"/>
                    <a:pt x="4723" y="17772"/>
                  </a:cubicBezTo>
                  <a:cubicBezTo>
                    <a:pt x="5035" y="17736"/>
                    <a:pt x="5035" y="17736"/>
                    <a:pt x="5035" y="17736"/>
                  </a:cubicBezTo>
                  <a:cubicBezTo>
                    <a:pt x="5035" y="17823"/>
                    <a:pt x="5034" y="17913"/>
                    <a:pt x="5033" y="18000"/>
                  </a:cubicBezTo>
                  <a:cubicBezTo>
                    <a:pt x="5098" y="18000"/>
                    <a:pt x="5098" y="18000"/>
                    <a:pt x="5098" y="18000"/>
                  </a:cubicBezTo>
                  <a:cubicBezTo>
                    <a:pt x="5100" y="17912"/>
                    <a:pt x="5101" y="17820"/>
                    <a:pt x="5101" y="17732"/>
                  </a:cubicBezTo>
                  <a:cubicBezTo>
                    <a:pt x="5101" y="17632"/>
                    <a:pt x="5100" y="17536"/>
                    <a:pt x="5096" y="17458"/>
                  </a:cubicBezTo>
                  <a:cubicBezTo>
                    <a:pt x="5094" y="17423"/>
                    <a:pt x="5092" y="17392"/>
                    <a:pt x="5089" y="17365"/>
                  </a:cubicBezTo>
                  <a:cubicBezTo>
                    <a:pt x="5134" y="17372"/>
                    <a:pt x="5223" y="17387"/>
                    <a:pt x="5322" y="17403"/>
                  </a:cubicBezTo>
                  <a:cubicBezTo>
                    <a:pt x="5463" y="17426"/>
                    <a:pt x="5624" y="17454"/>
                    <a:pt x="5703" y="17470"/>
                  </a:cubicBezTo>
                  <a:cubicBezTo>
                    <a:pt x="5861" y="17503"/>
                    <a:pt x="6069" y="17555"/>
                    <a:pt x="6178" y="17584"/>
                  </a:cubicBezTo>
                  <a:cubicBezTo>
                    <a:pt x="6283" y="17611"/>
                    <a:pt x="6374" y="17667"/>
                    <a:pt x="6755" y="17703"/>
                  </a:cubicBezTo>
                  <a:cubicBezTo>
                    <a:pt x="6762" y="17704"/>
                    <a:pt x="6770" y="17705"/>
                    <a:pt x="6777" y="17706"/>
                  </a:cubicBezTo>
                  <a:cubicBezTo>
                    <a:pt x="6777" y="17708"/>
                    <a:pt x="6777" y="17709"/>
                    <a:pt x="6776" y="17711"/>
                  </a:cubicBezTo>
                  <a:cubicBezTo>
                    <a:pt x="6772" y="17732"/>
                    <a:pt x="6767" y="17762"/>
                    <a:pt x="6761" y="17798"/>
                  </a:cubicBezTo>
                  <a:cubicBezTo>
                    <a:pt x="6752" y="17854"/>
                    <a:pt x="6740" y="17926"/>
                    <a:pt x="6727" y="18000"/>
                  </a:cubicBezTo>
                  <a:cubicBezTo>
                    <a:pt x="6794" y="18000"/>
                    <a:pt x="6794" y="18000"/>
                    <a:pt x="6794" y="18000"/>
                  </a:cubicBezTo>
                  <a:cubicBezTo>
                    <a:pt x="6804" y="17936"/>
                    <a:pt x="6815" y="17875"/>
                    <a:pt x="6823" y="17824"/>
                  </a:cubicBezTo>
                  <a:cubicBezTo>
                    <a:pt x="6831" y="17777"/>
                    <a:pt x="6838" y="17739"/>
                    <a:pt x="6842" y="17715"/>
                  </a:cubicBezTo>
                  <a:cubicBezTo>
                    <a:pt x="7099" y="17759"/>
                    <a:pt x="7386" y="17883"/>
                    <a:pt x="7520" y="17946"/>
                  </a:cubicBezTo>
                  <a:cubicBezTo>
                    <a:pt x="7566" y="17968"/>
                    <a:pt x="7595" y="17983"/>
                    <a:pt x="7599" y="17985"/>
                  </a:cubicBezTo>
                  <a:cubicBezTo>
                    <a:pt x="7605" y="17989"/>
                    <a:pt x="7605" y="17989"/>
                    <a:pt x="7605" y="17989"/>
                  </a:cubicBezTo>
                  <a:cubicBezTo>
                    <a:pt x="7599" y="18000"/>
                    <a:pt x="7599" y="18000"/>
                    <a:pt x="7599" y="18000"/>
                  </a:cubicBezTo>
                  <a:cubicBezTo>
                    <a:pt x="7753" y="18000"/>
                    <a:pt x="7753" y="18000"/>
                    <a:pt x="7753" y="18000"/>
                  </a:cubicBezTo>
                  <a:cubicBezTo>
                    <a:pt x="7694" y="17965"/>
                    <a:pt x="7694" y="17965"/>
                    <a:pt x="7694" y="17965"/>
                  </a:cubicBezTo>
                  <a:cubicBezTo>
                    <a:pt x="8586" y="16345"/>
                    <a:pt x="8586" y="16345"/>
                    <a:pt x="8586" y="16345"/>
                  </a:cubicBezTo>
                  <a:cubicBezTo>
                    <a:pt x="8629" y="16371"/>
                    <a:pt x="8712" y="16421"/>
                    <a:pt x="8806" y="16474"/>
                  </a:cubicBezTo>
                  <a:cubicBezTo>
                    <a:pt x="8940" y="16551"/>
                    <a:pt x="9092" y="16633"/>
                    <a:pt x="9177" y="16657"/>
                  </a:cubicBezTo>
                  <a:cubicBezTo>
                    <a:pt x="9333" y="16703"/>
                    <a:pt x="9520" y="16744"/>
                    <a:pt x="9663" y="16803"/>
                  </a:cubicBezTo>
                  <a:cubicBezTo>
                    <a:pt x="9700" y="16819"/>
                    <a:pt x="9746" y="16843"/>
                    <a:pt x="9794" y="16872"/>
                  </a:cubicBezTo>
                  <a:cubicBezTo>
                    <a:pt x="9794" y="16872"/>
                    <a:pt x="9794" y="16872"/>
                    <a:pt x="9794" y="16873"/>
                  </a:cubicBezTo>
                  <a:cubicBezTo>
                    <a:pt x="9786" y="16885"/>
                    <a:pt x="9775" y="16903"/>
                    <a:pt x="9761" y="16926"/>
                  </a:cubicBezTo>
                  <a:cubicBezTo>
                    <a:pt x="9733" y="16971"/>
                    <a:pt x="9694" y="17034"/>
                    <a:pt x="9650" y="17105"/>
                  </a:cubicBezTo>
                  <a:cubicBezTo>
                    <a:pt x="9560" y="17246"/>
                    <a:pt x="9448" y="17419"/>
                    <a:pt x="9352" y="17545"/>
                  </a:cubicBezTo>
                  <a:cubicBezTo>
                    <a:pt x="9187" y="17761"/>
                    <a:pt x="9169" y="17883"/>
                    <a:pt x="9169" y="17925"/>
                  </a:cubicBezTo>
                  <a:cubicBezTo>
                    <a:pt x="9169" y="17932"/>
                    <a:pt x="9169" y="17936"/>
                    <a:pt x="9170" y="17939"/>
                  </a:cubicBezTo>
                  <a:cubicBezTo>
                    <a:pt x="9173" y="18000"/>
                    <a:pt x="9173" y="18000"/>
                    <a:pt x="9173" y="18000"/>
                  </a:cubicBezTo>
                  <a:cubicBezTo>
                    <a:pt x="9239" y="18000"/>
                    <a:pt x="9239" y="18000"/>
                    <a:pt x="9239" y="18000"/>
                  </a:cubicBezTo>
                  <a:cubicBezTo>
                    <a:pt x="9235" y="17932"/>
                    <a:pt x="9235" y="17932"/>
                    <a:pt x="9235" y="17932"/>
                  </a:cubicBezTo>
                  <a:cubicBezTo>
                    <a:pt x="9235" y="17930"/>
                    <a:pt x="9235" y="17930"/>
                    <a:pt x="9235" y="17930"/>
                  </a:cubicBezTo>
                  <a:cubicBezTo>
                    <a:pt x="9235" y="17930"/>
                    <a:pt x="9235" y="17930"/>
                    <a:pt x="9235" y="17930"/>
                  </a:cubicBezTo>
                  <a:cubicBezTo>
                    <a:pt x="9235" y="17930"/>
                    <a:pt x="9234" y="17928"/>
                    <a:pt x="9234" y="17925"/>
                  </a:cubicBezTo>
                  <a:cubicBezTo>
                    <a:pt x="9234" y="17902"/>
                    <a:pt x="9245" y="17793"/>
                    <a:pt x="9404" y="17584"/>
                  </a:cubicBezTo>
                  <a:cubicBezTo>
                    <a:pt x="9545" y="17399"/>
                    <a:pt x="9719" y="17119"/>
                    <a:pt x="9806" y="16977"/>
                  </a:cubicBezTo>
                  <a:cubicBezTo>
                    <a:pt x="9825" y="16947"/>
                    <a:pt x="9840" y="16922"/>
                    <a:pt x="9850" y="16907"/>
                  </a:cubicBezTo>
                  <a:cubicBezTo>
                    <a:pt x="9873" y="16922"/>
                    <a:pt x="9896" y="16938"/>
                    <a:pt x="9918" y="16953"/>
                  </a:cubicBezTo>
                  <a:cubicBezTo>
                    <a:pt x="10004" y="17013"/>
                    <a:pt x="10080" y="17077"/>
                    <a:pt x="10098" y="17103"/>
                  </a:cubicBezTo>
                  <a:cubicBezTo>
                    <a:pt x="10105" y="17110"/>
                    <a:pt x="10123" y="17152"/>
                    <a:pt x="10140" y="17207"/>
                  </a:cubicBezTo>
                  <a:cubicBezTo>
                    <a:pt x="10158" y="17262"/>
                    <a:pt x="10178" y="17334"/>
                    <a:pt x="10199" y="17413"/>
                  </a:cubicBezTo>
                  <a:cubicBezTo>
                    <a:pt x="10241" y="17571"/>
                    <a:pt x="10284" y="17758"/>
                    <a:pt x="10317" y="17902"/>
                  </a:cubicBezTo>
                  <a:cubicBezTo>
                    <a:pt x="10325" y="17938"/>
                    <a:pt x="10328" y="17970"/>
                    <a:pt x="10329" y="18000"/>
                  </a:cubicBezTo>
                  <a:cubicBezTo>
                    <a:pt x="10395" y="18000"/>
                    <a:pt x="10395" y="18000"/>
                    <a:pt x="10395" y="18000"/>
                  </a:cubicBezTo>
                  <a:cubicBezTo>
                    <a:pt x="10394" y="17965"/>
                    <a:pt x="10390" y="17928"/>
                    <a:pt x="10381" y="17888"/>
                  </a:cubicBezTo>
                  <a:cubicBezTo>
                    <a:pt x="10332" y="17670"/>
                    <a:pt x="10258" y="17359"/>
                    <a:pt x="10202" y="17187"/>
                  </a:cubicBezTo>
                  <a:cubicBezTo>
                    <a:pt x="10195" y="17163"/>
                    <a:pt x="10188" y="17143"/>
                    <a:pt x="10181" y="17126"/>
                  </a:cubicBezTo>
                  <a:cubicBezTo>
                    <a:pt x="10207" y="17105"/>
                    <a:pt x="10267" y="17058"/>
                    <a:pt x="10349" y="16994"/>
                  </a:cubicBezTo>
                  <a:cubicBezTo>
                    <a:pt x="10380" y="16970"/>
                    <a:pt x="10414" y="16943"/>
                    <a:pt x="10451" y="16914"/>
                  </a:cubicBezTo>
                  <a:cubicBezTo>
                    <a:pt x="10840" y="17257"/>
                    <a:pt x="10840" y="17257"/>
                    <a:pt x="10840" y="17257"/>
                  </a:cubicBezTo>
                  <a:cubicBezTo>
                    <a:pt x="11491" y="17109"/>
                    <a:pt x="11491" y="17109"/>
                    <a:pt x="11491" y="17109"/>
                  </a:cubicBezTo>
                  <a:cubicBezTo>
                    <a:pt x="11495" y="17197"/>
                    <a:pt x="11503" y="17306"/>
                    <a:pt x="11519" y="17422"/>
                  </a:cubicBezTo>
                  <a:cubicBezTo>
                    <a:pt x="11539" y="17575"/>
                    <a:pt x="11570" y="17737"/>
                    <a:pt x="11622" y="17837"/>
                  </a:cubicBezTo>
                  <a:cubicBezTo>
                    <a:pt x="11660" y="17911"/>
                    <a:pt x="11693" y="17963"/>
                    <a:pt x="11720" y="18000"/>
                  </a:cubicBezTo>
                  <a:cubicBezTo>
                    <a:pt x="11853" y="18000"/>
                    <a:pt x="11853" y="18000"/>
                    <a:pt x="11853" y="18000"/>
                  </a:cubicBezTo>
                  <a:cubicBezTo>
                    <a:pt x="12138" y="17591"/>
                    <a:pt x="12138" y="17591"/>
                    <a:pt x="12138" y="17591"/>
                  </a:cubicBezTo>
                  <a:cubicBezTo>
                    <a:pt x="12867" y="18000"/>
                    <a:pt x="12867" y="18000"/>
                    <a:pt x="12867" y="18000"/>
                  </a:cubicBezTo>
                  <a:cubicBezTo>
                    <a:pt x="13002" y="18000"/>
                    <a:pt x="13002" y="18000"/>
                    <a:pt x="13002" y="18000"/>
                  </a:cubicBezTo>
                  <a:cubicBezTo>
                    <a:pt x="12157" y="17527"/>
                    <a:pt x="12157" y="17527"/>
                    <a:pt x="12157" y="17527"/>
                  </a:cubicBezTo>
                  <a:cubicBezTo>
                    <a:pt x="12166" y="17523"/>
                    <a:pt x="12166" y="17523"/>
                    <a:pt x="12166" y="17523"/>
                  </a:cubicBezTo>
                  <a:cubicBezTo>
                    <a:pt x="11827" y="16731"/>
                    <a:pt x="11827" y="16731"/>
                    <a:pt x="11827" y="16731"/>
                  </a:cubicBezTo>
                  <a:cubicBezTo>
                    <a:pt x="11894" y="16705"/>
                    <a:pt x="12243" y="16572"/>
                    <a:pt x="12358" y="16514"/>
                  </a:cubicBezTo>
                  <a:cubicBezTo>
                    <a:pt x="12415" y="16486"/>
                    <a:pt x="12454" y="16467"/>
                    <a:pt x="12483" y="16434"/>
                  </a:cubicBezTo>
                  <a:cubicBezTo>
                    <a:pt x="12513" y="16400"/>
                    <a:pt x="12521" y="16356"/>
                    <a:pt x="12521" y="16297"/>
                  </a:cubicBezTo>
                  <a:cubicBezTo>
                    <a:pt x="12521" y="16288"/>
                    <a:pt x="12521" y="16279"/>
                    <a:pt x="12520" y="16270"/>
                  </a:cubicBezTo>
                  <a:cubicBezTo>
                    <a:pt x="12520" y="16267"/>
                    <a:pt x="12520" y="16266"/>
                    <a:pt x="12520" y="16264"/>
                  </a:cubicBezTo>
                  <a:cubicBezTo>
                    <a:pt x="12521" y="16216"/>
                    <a:pt x="12541" y="16187"/>
                    <a:pt x="12566" y="16166"/>
                  </a:cubicBezTo>
                  <a:cubicBezTo>
                    <a:pt x="12590" y="16146"/>
                    <a:pt x="12620" y="16136"/>
                    <a:pt x="12631" y="16133"/>
                  </a:cubicBezTo>
                  <a:cubicBezTo>
                    <a:pt x="12631" y="16132"/>
                    <a:pt x="12632" y="16132"/>
                    <a:pt x="12632" y="16132"/>
                  </a:cubicBezTo>
                  <a:cubicBezTo>
                    <a:pt x="13635" y="16099"/>
                    <a:pt x="13635" y="16099"/>
                    <a:pt x="13635" y="16099"/>
                  </a:cubicBezTo>
                  <a:cubicBezTo>
                    <a:pt x="13637" y="16116"/>
                    <a:pt x="13638" y="16135"/>
                    <a:pt x="13640" y="16157"/>
                  </a:cubicBezTo>
                  <a:cubicBezTo>
                    <a:pt x="13646" y="16225"/>
                    <a:pt x="13654" y="16318"/>
                    <a:pt x="13664" y="16426"/>
                  </a:cubicBezTo>
                  <a:cubicBezTo>
                    <a:pt x="13683" y="16642"/>
                    <a:pt x="13709" y="16923"/>
                    <a:pt x="13735" y="17201"/>
                  </a:cubicBezTo>
                  <a:cubicBezTo>
                    <a:pt x="13763" y="17497"/>
                    <a:pt x="13790" y="17791"/>
                    <a:pt x="13810" y="18000"/>
                  </a:cubicBezTo>
                  <a:cubicBezTo>
                    <a:pt x="13963" y="18000"/>
                    <a:pt x="13963" y="18000"/>
                    <a:pt x="13963" y="18000"/>
                  </a:cubicBezTo>
                  <a:cubicBezTo>
                    <a:pt x="13963" y="17994"/>
                    <a:pt x="13962" y="17989"/>
                    <a:pt x="13962" y="17983"/>
                  </a:cubicBezTo>
                  <a:cubicBezTo>
                    <a:pt x="13944" y="17798"/>
                    <a:pt x="13921" y="17549"/>
                    <a:pt x="13897" y="17290"/>
                  </a:cubicBezTo>
                  <a:cubicBezTo>
                    <a:pt x="13864" y="16943"/>
                    <a:pt x="13830" y="16577"/>
                    <a:pt x="13808" y="16329"/>
                  </a:cubicBezTo>
                  <a:cubicBezTo>
                    <a:pt x="13863" y="16328"/>
                    <a:pt x="14010" y="16325"/>
                    <a:pt x="14210" y="16322"/>
                  </a:cubicBezTo>
                  <a:cubicBezTo>
                    <a:pt x="14297" y="16321"/>
                    <a:pt x="14395" y="16319"/>
                    <a:pt x="14498" y="16318"/>
                  </a:cubicBezTo>
                  <a:cubicBezTo>
                    <a:pt x="14534" y="16468"/>
                    <a:pt x="14673" y="17049"/>
                    <a:pt x="14801" y="17530"/>
                  </a:cubicBezTo>
                  <a:cubicBezTo>
                    <a:pt x="14836" y="17663"/>
                    <a:pt x="14882" y="17832"/>
                    <a:pt x="14928" y="18000"/>
                  </a:cubicBezTo>
                  <a:cubicBezTo>
                    <a:pt x="14996" y="18000"/>
                    <a:pt x="14996" y="18000"/>
                    <a:pt x="14996" y="18000"/>
                  </a:cubicBezTo>
                  <a:cubicBezTo>
                    <a:pt x="14948" y="17826"/>
                    <a:pt x="14900" y="17650"/>
                    <a:pt x="14864" y="17514"/>
                  </a:cubicBezTo>
                  <a:cubicBezTo>
                    <a:pt x="14790" y="17236"/>
                    <a:pt x="14713" y="16923"/>
                    <a:pt x="14653" y="16681"/>
                  </a:cubicBezTo>
                  <a:cubicBezTo>
                    <a:pt x="14613" y="16517"/>
                    <a:pt x="14582" y="16385"/>
                    <a:pt x="14566" y="16317"/>
                  </a:cubicBezTo>
                  <a:cubicBezTo>
                    <a:pt x="14752" y="16314"/>
                    <a:pt x="14956" y="16311"/>
                    <a:pt x="15163" y="16308"/>
                  </a:cubicBezTo>
                  <a:cubicBezTo>
                    <a:pt x="15864" y="16297"/>
                    <a:pt x="16588" y="16286"/>
                    <a:pt x="16677" y="16286"/>
                  </a:cubicBezTo>
                  <a:cubicBezTo>
                    <a:pt x="16678" y="16286"/>
                    <a:pt x="16680" y="16286"/>
                    <a:pt x="16681" y="16286"/>
                  </a:cubicBezTo>
                  <a:cubicBezTo>
                    <a:pt x="16681" y="16286"/>
                    <a:pt x="16681" y="16286"/>
                    <a:pt x="16681" y="16286"/>
                  </a:cubicBezTo>
                  <a:cubicBezTo>
                    <a:pt x="16684" y="16287"/>
                    <a:pt x="16684" y="16287"/>
                    <a:pt x="16685" y="16287"/>
                  </a:cubicBezTo>
                  <a:cubicBezTo>
                    <a:pt x="16687" y="16287"/>
                    <a:pt x="16688" y="16287"/>
                    <a:pt x="16689" y="16287"/>
                  </a:cubicBezTo>
                  <a:cubicBezTo>
                    <a:pt x="16693" y="16287"/>
                    <a:pt x="16699" y="16287"/>
                    <a:pt x="16708" y="16287"/>
                  </a:cubicBezTo>
                  <a:cubicBezTo>
                    <a:pt x="16794" y="16286"/>
                    <a:pt x="17136" y="16296"/>
                    <a:pt x="17465" y="16519"/>
                  </a:cubicBezTo>
                  <a:cubicBezTo>
                    <a:pt x="17679" y="16665"/>
                    <a:pt x="17847" y="16797"/>
                    <a:pt x="18008" y="16921"/>
                  </a:cubicBezTo>
                  <a:cubicBezTo>
                    <a:pt x="18008" y="16838"/>
                    <a:pt x="18008" y="16838"/>
                    <a:pt x="18008" y="16838"/>
                  </a:cubicBezTo>
                  <a:cubicBezTo>
                    <a:pt x="17860" y="16724"/>
                    <a:pt x="17701" y="16600"/>
                    <a:pt x="17502" y="16465"/>
                  </a:cubicBezTo>
                  <a:cubicBezTo>
                    <a:pt x="17375" y="16379"/>
                    <a:pt x="17247" y="16324"/>
                    <a:pt x="17131" y="16288"/>
                  </a:cubicBezTo>
                  <a:cubicBezTo>
                    <a:pt x="17178" y="16204"/>
                    <a:pt x="17319" y="15925"/>
                    <a:pt x="17319" y="15543"/>
                  </a:cubicBezTo>
                  <a:cubicBezTo>
                    <a:pt x="17319" y="15401"/>
                    <a:pt x="17299" y="15244"/>
                    <a:pt x="17247" y="15079"/>
                  </a:cubicBezTo>
                  <a:cubicBezTo>
                    <a:pt x="17238" y="15032"/>
                    <a:pt x="17089" y="14301"/>
                    <a:pt x="16509" y="13729"/>
                  </a:cubicBezTo>
                  <a:cubicBezTo>
                    <a:pt x="16143" y="13368"/>
                    <a:pt x="15690" y="13226"/>
                    <a:pt x="15490" y="13176"/>
                  </a:cubicBezTo>
                  <a:cubicBezTo>
                    <a:pt x="15541" y="12904"/>
                    <a:pt x="15694" y="12588"/>
                    <a:pt x="16224" y="12441"/>
                  </a:cubicBezTo>
                  <a:cubicBezTo>
                    <a:pt x="16628" y="12329"/>
                    <a:pt x="17136" y="12299"/>
                    <a:pt x="17397" y="12283"/>
                  </a:cubicBezTo>
                  <a:cubicBezTo>
                    <a:pt x="17485" y="12277"/>
                    <a:pt x="17542" y="12274"/>
                    <a:pt x="17570" y="12268"/>
                  </a:cubicBezTo>
                  <a:cubicBezTo>
                    <a:pt x="17623" y="12254"/>
                    <a:pt x="17799" y="12201"/>
                    <a:pt x="18008" y="12086"/>
                  </a:cubicBezTo>
                  <a:cubicBezTo>
                    <a:pt x="18008" y="12011"/>
                    <a:pt x="18008" y="12011"/>
                    <a:pt x="18008" y="12011"/>
                  </a:cubicBezTo>
                  <a:cubicBezTo>
                    <a:pt x="17792" y="12134"/>
                    <a:pt x="17605" y="12192"/>
                    <a:pt x="17554" y="12204"/>
                  </a:cubicBezTo>
                  <a:cubicBezTo>
                    <a:pt x="17542" y="12208"/>
                    <a:pt x="17479" y="12212"/>
                    <a:pt x="17393" y="12217"/>
                  </a:cubicBezTo>
                  <a:cubicBezTo>
                    <a:pt x="17306" y="12223"/>
                    <a:pt x="17191" y="12230"/>
                    <a:pt x="17061" y="12241"/>
                  </a:cubicBezTo>
                  <a:cubicBezTo>
                    <a:pt x="16801" y="12263"/>
                    <a:pt x="16483" y="12301"/>
                    <a:pt x="16206" y="12378"/>
                  </a:cubicBezTo>
                  <a:cubicBezTo>
                    <a:pt x="15656" y="12528"/>
                    <a:pt x="15478" y="12874"/>
                    <a:pt x="15426" y="13161"/>
                  </a:cubicBezTo>
                  <a:cubicBezTo>
                    <a:pt x="15414" y="13158"/>
                    <a:pt x="15404" y="13156"/>
                    <a:pt x="15398" y="13155"/>
                  </a:cubicBezTo>
                  <a:cubicBezTo>
                    <a:pt x="14203" y="12920"/>
                    <a:pt x="14203" y="12920"/>
                    <a:pt x="14203" y="12920"/>
                  </a:cubicBezTo>
                  <a:cubicBezTo>
                    <a:pt x="14228" y="12765"/>
                    <a:pt x="14252" y="12623"/>
                    <a:pt x="14272" y="12501"/>
                  </a:cubicBezTo>
                  <a:cubicBezTo>
                    <a:pt x="14303" y="12315"/>
                    <a:pt x="14325" y="12179"/>
                    <a:pt x="14335" y="12120"/>
                  </a:cubicBezTo>
                  <a:cubicBezTo>
                    <a:pt x="14393" y="12078"/>
                    <a:pt x="14533" y="11969"/>
                    <a:pt x="14637" y="11826"/>
                  </a:cubicBezTo>
                  <a:cubicBezTo>
                    <a:pt x="14751" y="11669"/>
                    <a:pt x="14820" y="11492"/>
                    <a:pt x="14837" y="11446"/>
                  </a:cubicBezTo>
                  <a:cubicBezTo>
                    <a:pt x="15135" y="11037"/>
                    <a:pt x="15135" y="11037"/>
                    <a:pt x="15135" y="11037"/>
                  </a:cubicBezTo>
                  <a:cubicBezTo>
                    <a:pt x="15328" y="11082"/>
                    <a:pt x="15766" y="11182"/>
                    <a:pt x="16044" y="11239"/>
                  </a:cubicBezTo>
                  <a:cubicBezTo>
                    <a:pt x="16220" y="11275"/>
                    <a:pt x="16763" y="11412"/>
                    <a:pt x="17258" y="11540"/>
                  </a:cubicBezTo>
                  <a:cubicBezTo>
                    <a:pt x="17552" y="11616"/>
                    <a:pt x="17830" y="11689"/>
                    <a:pt x="18008" y="11736"/>
                  </a:cubicBezTo>
                  <a:cubicBezTo>
                    <a:pt x="18008" y="11578"/>
                    <a:pt x="18008" y="11578"/>
                    <a:pt x="18008" y="11578"/>
                  </a:cubicBezTo>
                  <a:cubicBezTo>
                    <a:pt x="17830" y="11531"/>
                    <a:pt x="17570" y="11464"/>
                    <a:pt x="17296" y="11393"/>
                  </a:cubicBezTo>
                  <a:cubicBezTo>
                    <a:pt x="16799" y="11264"/>
                    <a:pt x="16259" y="11127"/>
                    <a:pt x="16074" y="11090"/>
                  </a:cubicBezTo>
                  <a:cubicBezTo>
                    <a:pt x="15894" y="11053"/>
                    <a:pt x="15643" y="10997"/>
                    <a:pt x="15438" y="10950"/>
                  </a:cubicBezTo>
                  <a:cubicBezTo>
                    <a:pt x="15262" y="10910"/>
                    <a:pt x="15120" y="10877"/>
                    <a:pt x="15082" y="10868"/>
                  </a:cubicBezTo>
                  <a:cubicBezTo>
                    <a:pt x="15080" y="10867"/>
                    <a:pt x="15076" y="10864"/>
                    <a:pt x="15072" y="10862"/>
                  </a:cubicBezTo>
                  <a:cubicBezTo>
                    <a:pt x="15058" y="10852"/>
                    <a:pt x="15036" y="10835"/>
                    <a:pt x="15004" y="10807"/>
                  </a:cubicBezTo>
                  <a:cubicBezTo>
                    <a:pt x="15000" y="10803"/>
                    <a:pt x="14986" y="10789"/>
                    <a:pt x="14970" y="10770"/>
                  </a:cubicBezTo>
                  <a:cubicBezTo>
                    <a:pt x="14953" y="10752"/>
                    <a:pt x="14931" y="10728"/>
                    <a:pt x="14908" y="10700"/>
                  </a:cubicBezTo>
                  <a:cubicBezTo>
                    <a:pt x="14860" y="10646"/>
                    <a:pt x="14803" y="10579"/>
                    <a:pt x="14748" y="10513"/>
                  </a:cubicBezTo>
                  <a:cubicBezTo>
                    <a:pt x="14651" y="10398"/>
                    <a:pt x="14561" y="10290"/>
                    <a:pt x="14540" y="10264"/>
                  </a:cubicBezTo>
                  <a:cubicBezTo>
                    <a:pt x="14520" y="10226"/>
                    <a:pt x="14438" y="10082"/>
                    <a:pt x="14287" y="9985"/>
                  </a:cubicBezTo>
                  <a:cubicBezTo>
                    <a:pt x="14201" y="9930"/>
                    <a:pt x="14106" y="9901"/>
                    <a:pt x="14020" y="9880"/>
                  </a:cubicBezTo>
                  <a:cubicBezTo>
                    <a:pt x="13935" y="9858"/>
                    <a:pt x="13856" y="9844"/>
                    <a:pt x="13807" y="9827"/>
                  </a:cubicBezTo>
                  <a:cubicBezTo>
                    <a:pt x="13763" y="9813"/>
                    <a:pt x="13683" y="9766"/>
                    <a:pt x="13612" y="9710"/>
                  </a:cubicBezTo>
                  <a:cubicBezTo>
                    <a:pt x="13553" y="9665"/>
                    <a:pt x="13499" y="9611"/>
                    <a:pt x="13470" y="9569"/>
                  </a:cubicBezTo>
                  <a:cubicBezTo>
                    <a:pt x="13472" y="9557"/>
                    <a:pt x="13475" y="9543"/>
                    <a:pt x="13478" y="9527"/>
                  </a:cubicBezTo>
                  <a:cubicBezTo>
                    <a:pt x="13484" y="9484"/>
                    <a:pt x="13490" y="9427"/>
                    <a:pt x="13490" y="9366"/>
                  </a:cubicBezTo>
                  <a:cubicBezTo>
                    <a:pt x="13490" y="9335"/>
                    <a:pt x="13489" y="9302"/>
                    <a:pt x="13484" y="9270"/>
                  </a:cubicBezTo>
                  <a:cubicBezTo>
                    <a:pt x="13602" y="9241"/>
                    <a:pt x="13862" y="9178"/>
                    <a:pt x="14026" y="9139"/>
                  </a:cubicBezTo>
                  <a:cubicBezTo>
                    <a:pt x="14094" y="9123"/>
                    <a:pt x="14148" y="9111"/>
                    <a:pt x="14160" y="9108"/>
                  </a:cubicBezTo>
                  <a:cubicBezTo>
                    <a:pt x="14166" y="9108"/>
                    <a:pt x="14168" y="9107"/>
                    <a:pt x="14172" y="9106"/>
                  </a:cubicBezTo>
                  <a:cubicBezTo>
                    <a:pt x="14176" y="9105"/>
                    <a:pt x="14180" y="9104"/>
                    <a:pt x="14185" y="9103"/>
                  </a:cubicBezTo>
                  <a:cubicBezTo>
                    <a:pt x="14194" y="9101"/>
                    <a:pt x="14206" y="9098"/>
                    <a:pt x="14219" y="9094"/>
                  </a:cubicBezTo>
                  <a:cubicBezTo>
                    <a:pt x="14247" y="9086"/>
                    <a:pt x="14284" y="9074"/>
                    <a:pt x="14328" y="9060"/>
                  </a:cubicBezTo>
                  <a:cubicBezTo>
                    <a:pt x="14416" y="9032"/>
                    <a:pt x="14533" y="8992"/>
                    <a:pt x="14656" y="8947"/>
                  </a:cubicBezTo>
                  <a:cubicBezTo>
                    <a:pt x="14754" y="8912"/>
                    <a:pt x="14897" y="8841"/>
                    <a:pt x="15047" y="8762"/>
                  </a:cubicBezTo>
                  <a:cubicBezTo>
                    <a:pt x="15196" y="8684"/>
                    <a:pt x="15349" y="8599"/>
                    <a:pt x="15456" y="8539"/>
                  </a:cubicBezTo>
                  <a:cubicBezTo>
                    <a:pt x="15527" y="8500"/>
                    <a:pt x="15579" y="8470"/>
                    <a:pt x="15592" y="8463"/>
                  </a:cubicBezTo>
                  <a:cubicBezTo>
                    <a:pt x="15592" y="8463"/>
                    <a:pt x="15592" y="8463"/>
                    <a:pt x="15592" y="8463"/>
                  </a:cubicBezTo>
                  <a:cubicBezTo>
                    <a:pt x="15615" y="8453"/>
                    <a:pt x="15714" y="8411"/>
                    <a:pt x="15741" y="8399"/>
                  </a:cubicBezTo>
                  <a:cubicBezTo>
                    <a:pt x="17155" y="8109"/>
                    <a:pt x="17155" y="8109"/>
                    <a:pt x="17155" y="8109"/>
                  </a:cubicBezTo>
                  <a:cubicBezTo>
                    <a:pt x="17185" y="8106"/>
                    <a:pt x="17408" y="8080"/>
                    <a:pt x="17636" y="8053"/>
                  </a:cubicBezTo>
                  <a:cubicBezTo>
                    <a:pt x="17772" y="8037"/>
                    <a:pt x="17910" y="8021"/>
                    <a:pt x="18008" y="8009"/>
                  </a:cubicBezTo>
                  <a:cubicBezTo>
                    <a:pt x="18008" y="7856"/>
                    <a:pt x="18008" y="7856"/>
                    <a:pt x="18008" y="7856"/>
                  </a:cubicBezTo>
                  <a:cubicBezTo>
                    <a:pt x="17997" y="7857"/>
                    <a:pt x="17985" y="7858"/>
                    <a:pt x="17973" y="7860"/>
                  </a:cubicBezTo>
                  <a:cubicBezTo>
                    <a:pt x="17879" y="7871"/>
                    <a:pt x="17754" y="7885"/>
                    <a:pt x="17630" y="7900"/>
                  </a:cubicBezTo>
                  <a:cubicBezTo>
                    <a:pt x="17382" y="7929"/>
                    <a:pt x="17134" y="7958"/>
                    <a:pt x="17134" y="7958"/>
                  </a:cubicBezTo>
                  <a:cubicBezTo>
                    <a:pt x="17131" y="7959"/>
                    <a:pt x="17131" y="7959"/>
                    <a:pt x="17131" y="7959"/>
                  </a:cubicBezTo>
                  <a:cubicBezTo>
                    <a:pt x="15695" y="8253"/>
                    <a:pt x="15695" y="8253"/>
                    <a:pt x="15695" y="8253"/>
                  </a:cubicBezTo>
                  <a:cubicBezTo>
                    <a:pt x="15688" y="8256"/>
                    <a:pt x="15688" y="8256"/>
                    <a:pt x="15688" y="8256"/>
                  </a:cubicBezTo>
                  <a:cubicBezTo>
                    <a:pt x="15688" y="8256"/>
                    <a:pt x="15682" y="8258"/>
                    <a:pt x="15673" y="8262"/>
                  </a:cubicBezTo>
                  <a:cubicBezTo>
                    <a:pt x="15643" y="8024"/>
                    <a:pt x="15549" y="7264"/>
                    <a:pt x="15502" y="6900"/>
                  </a:cubicBezTo>
                  <a:cubicBezTo>
                    <a:pt x="15489" y="6799"/>
                    <a:pt x="15484" y="6714"/>
                    <a:pt x="15484" y="6641"/>
                  </a:cubicBezTo>
                  <a:cubicBezTo>
                    <a:pt x="15484" y="6405"/>
                    <a:pt x="15542" y="6290"/>
                    <a:pt x="15618" y="6106"/>
                  </a:cubicBezTo>
                  <a:cubicBezTo>
                    <a:pt x="15709" y="5879"/>
                    <a:pt x="15978" y="5659"/>
                    <a:pt x="16064" y="5300"/>
                  </a:cubicBezTo>
                  <a:cubicBezTo>
                    <a:pt x="16087" y="5204"/>
                    <a:pt x="16095" y="5115"/>
                    <a:pt x="16095" y="5035"/>
                  </a:cubicBezTo>
                  <a:cubicBezTo>
                    <a:pt x="16095" y="4893"/>
                    <a:pt x="16069" y="4782"/>
                    <a:pt x="16050" y="4722"/>
                  </a:cubicBezTo>
                  <a:cubicBezTo>
                    <a:pt x="16111" y="4709"/>
                    <a:pt x="16111" y="4709"/>
                    <a:pt x="16111" y="4709"/>
                  </a:cubicBezTo>
                  <a:cubicBezTo>
                    <a:pt x="16111" y="4709"/>
                    <a:pt x="16228" y="4687"/>
                    <a:pt x="16394" y="4665"/>
                  </a:cubicBezTo>
                  <a:cubicBezTo>
                    <a:pt x="16560" y="4643"/>
                    <a:pt x="16776" y="4621"/>
                    <a:pt x="16971" y="4621"/>
                  </a:cubicBezTo>
                  <a:cubicBezTo>
                    <a:pt x="17009" y="4621"/>
                    <a:pt x="17046" y="4622"/>
                    <a:pt x="17082" y="4624"/>
                  </a:cubicBezTo>
                  <a:cubicBezTo>
                    <a:pt x="17428" y="4641"/>
                    <a:pt x="17814" y="4690"/>
                    <a:pt x="18008" y="4718"/>
                  </a:cubicBezTo>
                  <a:cubicBezTo>
                    <a:pt x="18008" y="4651"/>
                    <a:pt x="18008" y="4651"/>
                    <a:pt x="18008" y="4651"/>
                  </a:cubicBezTo>
                  <a:cubicBezTo>
                    <a:pt x="17810" y="4624"/>
                    <a:pt x="17430" y="4576"/>
                    <a:pt x="17085" y="4558"/>
                  </a:cubicBezTo>
                  <a:cubicBezTo>
                    <a:pt x="17048" y="4557"/>
                    <a:pt x="17010" y="4556"/>
                    <a:pt x="16971" y="4556"/>
                  </a:cubicBezTo>
                  <a:cubicBezTo>
                    <a:pt x="16571" y="4556"/>
                    <a:pt x="16100" y="4645"/>
                    <a:pt x="16098" y="4645"/>
                  </a:cubicBezTo>
                  <a:cubicBezTo>
                    <a:pt x="16024" y="4660"/>
                    <a:pt x="16024" y="4660"/>
                    <a:pt x="16024" y="4660"/>
                  </a:cubicBezTo>
                  <a:cubicBezTo>
                    <a:pt x="16023" y="4655"/>
                    <a:pt x="16021" y="4648"/>
                    <a:pt x="16019" y="4640"/>
                  </a:cubicBezTo>
                  <a:cubicBezTo>
                    <a:pt x="16013" y="4619"/>
                    <a:pt x="16004" y="4590"/>
                    <a:pt x="15994" y="4554"/>
                  </a:cubicBezTo>
                  <a:cubicBezTo>
                    <a:pt x="15973" y="4483"/>
                    <a:pt x="15944" y="4385"/>
                    <a:pt x="15912" y="4273"/>
                  </a:cubicBezTo>
                  <a:cubicBezTo>
                    <a:pt x="15848" y="4048"/>
                    <a:pt x="15771" y="3765"/>
                    <a:pt x="15720" y="3523"/>
                  </a:cubicBezTo>
                  <a:cubicBezTo>
                    <a:pt x="15677" y="3320"/>
                    <a:pt x="15661" y="3115"/>
                    <a:pt x="15661" y="2932"/>
                  </a:cubicBezTo>
                  <a:cubicBezTo>
                    <a:pt x="15661" y="2677"/>
                    <a:pt x="15692" y="2462"/>
                    <a:pt x="15724" y="2346"/>
                  </a:cubicBezTo>
                  <a:cubicBezTo>
                    <a:pt x="15759" y="2211"/>
                    <a:pt x="15951" y="1964"/>
                    <a:pt x="16057" y="1842"/>
                  </a:cubicBezTo>
                  <a:cubicBezTo>
                    <a:pt x="16092" y="1801"/>
                    <a:pt x="16119" y="1772"/>
                    <a:pt x="16124" y="1768"/>
                  </a:cubicBezTo>
                  <a:cubicBezTo>
                    <a:pt x="16120" y="1764"/>
                    <a:pt x="16120" y="1764"/>
                    <a:pt x="16120" y="1764"/>
                  </a:cubicBezTo>
                  <a:cubicBezTo>
                    <a:pt x="16119" y="1763"/>
                    <a:pt x="16119" y="1763"/>
                    <a:pt x="16119" y="1763"/>
                  </a:cubicBezTo>
                  <a:cubicBezTo>
                    <a:pt x="16151" y="1756"/>
                    <a:pt x="16182" y="1748"/>
                    <a:pt x="16213" y="1739"/>
                  </a:cubicBezTo>
                  <a:cubicBezTo>
                    <a:pt x="16723" y="1603"/>
                    <a:pt x="17428" y="1074"/>
                    <a:pt x="17875" y="781"/>
                  </a:cubicBezTo>
                  <a:cubicBezTo>
                    <a:pt x="17921" y="846"/>
                    <a:pt x="17966" y="924"/>
                    <a:pt x="18008" y="1016"/>
                  </a:cubicBezTo>
                  <a:cubicBezTo>
                    <a:pt x="18008" y="871"/>
                    <a:pt x="18008" y="871"/>
                    <a:pt x="18008" y="871"/>
                  </a:cubicBezTo>
                  <a:cubicBezTo>
                    <a:pt x="17982" y="825"/>
                    <a:pt x="17956" y="783"/>
                    <a:pt x="17930" y="745"/>
                  </a:cubicBezTo>
                  <a:cubicBezTo>
                    <a:pt x="17955" y="728"/>
                    <a:pt x="17981" y="709"/>
                    <a:pt x="18008" y="691"/>
                  </a:cubicBezTo>
                  <a:lnTo>
                    <a:pt x="18008" y="610"/>
                  </a:lnTo>
                  <a:close/>
                  <a:moveTo>
                    <a:pt x="14972" y="695"/>
                  </a:moveTo>
                  <a:cubicBezTo>
                    <a:pt x="14972" y="695"/>
                    <a:pt x="14972" y="695"/>
                    <a:pt x="14972" y="695"/>
                  </a:cubicBezTo>
                  <a:cubicBezTo>
                    <a:pt x="14972" y="695"/>
                    <a:pt x="14972" y="695"/>
                    <a:pt x="14972" y="695"/>
                  </a:cubicBezTo>
                  <a:close/>
                  <a:moveTo>
                    <a:pt x="34" y="14507"/>
                  </a:moveTo>
                  <a:cubicBezTo>
                    <a:pt x="34" y="14507"/>
                    <a:pt x="34" y="14507"/>
                    <a:pt x="34" y="14507"/>
                  </a:cubicBezTo>
                  <a:cubicBezTo>
                    <a:pt x="39" y="14504"/>
                    <a:pt x="39" y="14504"/>
                    <a:pt x="39" y="14504"/>
                  </a:cubicBezTo>
                  <a:lnTo>
                    <a:pt x="34" y="14507"/>
                  </a:lnTo>
                  <a:close/>
                  <a:moveTo>
                    <a:pt x="143" y="16724"/>
                  </a:moveTo>
                  <a:cubicBezTo>
                    <a:pt x="77" y="16671"/>
                    <a:pt x="77" y="16671"/>
                    <a:pt x="77" y="16671"/>
                  </a:cubicBezTo>
                  <a:cubicBezTo>
                    <a:pt x="114" y="16624"/>
                    <a:pt x="114" y="16624"/>
                    <a:pt x="114" y="16624"/>
                  </a:cubicBezTo>
                  <a:cubicBezTo>
                    <a:pt x="151" y="16653"/>
                    <a:pt x="151" y="16653"/>
                    <a:pt x="151" y="16653"/>
                  </a:cubicBezTo>
                  <a:cubicBezTo>
                    <a:pt x="178" y="16619"/>
                    <a:pt x="178" y="16619"/>
                    <a:pt x="178" y="16619"/>
                  </a:cubicBezTo>
                  <a:cubicBezTo>
                    <a:pt x="206" y="16642"/>
                    <a:pt x="206" y="16642"/>
                    <a:pt x="206" y="16642"/>
                  </a:cubicBezTo>
                  <a:lnTo>
                    <a:pt x="143" y="16724"/>
                  </a:lnTo>
                  <a:close/>
                  <a:moveTo>
                    <a:pt x="248" y="16676"/>
                  </a:moveTo>
                  <a:cubicBezTo>
                    <a:pt x="222" y="16709"/>
                    <a:pt x="222" y="16709"/>
                    <a:pt x="222" y="16709"/>
                  </a:cubicBezTo>
                  <a:cubicBezTo>
                    <a:pt x="258" y="16739"/>
                    <a:pt x="258" y="16739"/>
                    <a:pt x="258" y="16739"/>
                  </a:cubicBezTo>
                  <a:cubicBezTo>
                    <a:pt x="221" y="16786"/>
                    <a:pt x="221" y="16786"/>
                    <a:pt x="221" y="16786"/>
                  </a:cubicBezTo>
                  <a:cubicBezTo>
                    <a:pt x="154" y="16733"/>
                    <a:pt x="154" y="16733"/>
                    <a:pt x="154" y="16733"/>
                  </a:cubicBezTo>
                  <a:cubicBezTo>
                    <a:pt x="217" y="16651"/>
                    <a:pt x="217" y="16651"/>
                    <a:pt x="217" y="16651"/>
                  </a:cubicBezTo>
                  <a:lnTo>
                    <a:pt x="248" y="16676"/>
                  </a:lnTo>
                  <a:close/>
                  <a:moveTo>
                    <a:pt x="12890" y="1094"/>
                  </a:moveTo>
                  <a:cubicBezTo>
                    <a:pt x="12952" y="1257"/>
                    <a:pt x="13061" y="1566"/>
                    <a:pt x="13087" y="1669"/>
                  </a:cubicBezTo>
                  <a:cubicBezTo>
                    <a:pt x="13102" y="1724"/>
                    <a:pt x="13116" y="1795"/>
                    <a:pt x="13126" y="1851"/>
                  </a:cubicBezTo>
                  <a:cubicBezTo>
                    <a:pt x="13133" y="1891"/>
                    <a:pt x="13138" y="1924"/>
                    <a:pt x="13141" y="1940"/>
                  </a:cubicBezTo>
                  <a:cubicBezTo>
                    <a:pt x="13120" y="1953"/>
                    <a:pt x="13099" y="1970"/>
                    <a:pt x="13080" y="1992"/>
                  </a:cubicBezTo>
                  <a:cubicBezTo>
                    <a:pt x="13000" y="2082"/>
                    <a:pt x="12897" y="2235"/>
                    <a:pt x="12886" y="2251"/>
                  </a:cubicBezTo>
                  <a:cubicBezTo>
                    <a:pt x="12868" y="2274"/>
                    <a:pt x="12590" y="2614"/>
                    <a:pt x="12504" y="2731"/>
                  </a:cubicBezTo>
                  <a:cubicBezTo>
                    <a:pt x="12491" y="2750"/>
                    <a:pt x="12483" y="2760"/>
                    <a:pt x="12478" y="2772"/>
                  </a:cubicBezTo>
                  <a:cubicBezTo>
                    <a:pt x="12462" y="2806"/>
                    <a:pt x="12427" y="2887"/>
                    <a:pt x="12411" y="2924"/>
                  </a:cubicBezTo>
                  <a:cubicBezTo>
                    <a:pt x="12359" y="2909"/>
                    <a:pt x="12314" y="2907"/>
                    <a:pt x="12295" y="2907"/>
                  </a:cubicBezTo>
                  <a:cubicBezTo>
                    <a:pt x="12291" y="2907"/>
                    <a:pt x="12289" y="2907"/>
                    <a:pt x="12287" y="2907"/>
                  </a:cubicBezTo>
                  <a:cubicBezTo>
                    <a:pt x="12287" y="2907"/>
                    <a:pt x="12287" y="2907"/>
                    <a:pt x="12287" y="2907"/>
                  </a:cubicBezTo>
                  <a:cubicBezTo>
                    <a:pt x="12287" y="2907"/>
                    <a:pt x="11890" y="2916"/>
                    <a:pt x="11493" y="2924"/>
                  </a:cubicBezTo>
                  <a:cubicBezTo>
                    <a:pt x="11123" y="2932"/>
                    <a:pt x="10755" y="2940"/>
                    <a:pt x="10704" y="2942"/>
                  </a:cubicBezTo>
                  <a:cubicBezTo>
                    <a:pt x="10667" y="2794"/>
                    <a:pt x="10628" y="2650"/>
                    <a:pt x="10597" y="2534"/>
                  </a:cubicBezTo>
                  <a:cubicBezTo>
                    <a:pt x="10671" y="2511"/>
                    <a:pt x="10732" y="2491"/>
                    <a:pt x="10776" y="2475"/>
                  </a:cubicBezTo>
                  <a:cubicBezTo>
                    <a:pt x="10808" y="2463"/>
                    <a:pt x="10830" y="2454"/>
                    <a:pt x="10851" y="2442"/>
                  </a:cubicBezTo>
                  <a:cubicBezTo>
                    <a:pt x="10878" y="2426"/>
                    <a:pt x="10909" y="2401"/>
                    <a:pt x="10949" y="2366"/>
                  </a:cubicBezTo>
                  <a:cubicBezTo>
                    <a:pt x="10990" y="2331"/>
                    <a:pt x="11039" y="2287"/>
                    <a:pt x="11094" y="2236"/>
                  </a:cubicBezTo>
                  <a:cubicBezTo>
                    <a:pt x="11205" y="2134"/>
                    <a:pt x="11343" y="2003"/>
                    <a:pt x="11488" y="1867"/>
                  </a:cubicBezTo>
                  <a:cubicBezTo>
                    <a:pt x="11534" y="1824"/>
                    <a:pt x="11581" y="1781"/>
                    <a:pt x="11627" y="1738"/>
                  </a:cubicBezTo>
                  <a:cubicBezTo>
                    <a:pt x="11807" y="1612"/>
                    <a:pt x="12174" y="1316"/>
                    <a:pt x="12242" y="1278"/>
                  </a:cubicBezTo>
                  <a:cubicBezTo>
                    <a:pt x="12269" y="1262"/>
                    <a:pt x="12381" y="1208"/>
                    <a:pt x="12554" y="1161"/>
                  </a:cubicBezTo>
                  <a:cubicBezTo>
                    <a:pt x="12654" y="1133"/>
                    <a:pt x="12779" y="1116"/>
                    <a:pt x="12890" y="1094"/>
                  </a:cubicBezTo>
                  <a:close/>
                  <a:moveTo>
                    <a:pt x="9441" y="13331"/>
                  </a:moveTo>
                  <a:cubicBezTo>
                    <a:pt x="9440" y="13330"/>
                    <a:pt x="9440" y="13329"/>
                    <a:pt x="9439" y="13327"/>
                  </a:cubicBezTo>
                  <a:cubicBezTo>
                    <a:pt x="9438" y="13323"/>
                    <a:pt x="9436" y="13318"/>
                    <a:pt x="9433" y="13310"/>
                  </a:cubicBezTo>
                  <a:cubicBezTo>
                    <a:pt x="9429" y="13296"/>
                    <a:pt x="9422" y="13275"/>
                    <a:pt x="9414" y="13250"/>
                  </a:cubicBezTo>
                  <a:cubicBezTo>
                    <a:pt x="9398" y="13199"/>
                    <a:pt x="9377" y="13133"/>
                    <a:pt x="9356" y="13066"/>
                  </a:cubicBezTo>
                  <a:cubicBezTo>
                    <a:pt x="9320" y="12952"/>
                    <a:pt x="9285" y="12838"/>
                    <a:pt x="9275" y="12806"/>
                  </a:cubicBezTo>
                  <a:cubicBezTo>
                    <a:pt x="9278" y="12806"/>
                    <a:pt x="9282" y="12806"/>
                    <a:pt x="9286" y="12806"/>
                  </a:cubicBezTo>
                  <a:cubicBezTo>
                    <a:pt x="9298" y="12805"/>
                    <a:pt x="9316" y="12805"/>
                    <a:pt x="9337" y="12804"/>
                  </a:cubicBezTo>
                  <a:cubicBezTo>
                    <a:pt x="9358" y="12803"/>
                    <a:pt x="9383" y="12803"/>
                    <a:pt x="9409" y="12802"/>
                  </a:cubicBezTo>
                  <a:cubicBezTo>
                    <a:pt x="9519" y="13124"/>
                    <a:pt x="9519" y="13124"/>
                    <a:pt x="9519" y="13124"/>
                  </a:cubicBezTo>
                  <a:cubicBezTo>
                    <a:pt x="9403" y="13161"/>
                    <a:pt x="9403" y="13161"/>
                    <a:pt x="9403" y="13161"/>
                  </a:cubicBezTo>
                  <a:cubicBezTo>
                    <a:pt x="9447" y="13307"/>
                    <a:pt x="9447" y="13307"/>
                    <a:pt x="9447" y="13307"/>
                  </a:cubicBezTo>
                  <a:cubicBezTo>
                    <a:pt x="9569" y="13269"/>
                    <a:pt x="9569" y="13269"/>
                    <a:pt x="9569" y="13269"/>
                  </a:cubicBezTo>
                  <a:cubicBezTo>
                    <a:pt x="9576" y="13291"/>
                    <a:pt x="9576" y="13291"/>
                    <a:pt x="9576" y="13291"/>
                  </a:cubicBezTo>
                  <a:cubicBezTo>
                    <a:pt x="9527" y="13307"/>
                    <a:pt x="9480" y="13322"/>
                    <a:pt x="9435" y="13337"/>
                  </a:cubicBezTo>
                  <a:cubicBezTo>
                    <a:pt x="9435" y="13335"/>
                    <a:pt x="9435" y="13335"/>
                    <a:pt x="9435" y="13335"/>
                  </a:cubicBezTo>
                  <a:cubicBezTo>
                    <a:pt x="9437" y="13334"/>
                    <a:pt x="9437" y="13334"/>
                    <a:pt x="9437" y="13334"/>
                  </a:cubicBezTo>
                  <a:cubicBezTo>
                    <a:pt x="9441" y="13332"/>
                    <a:pt x="9441" y="13332"/>
                    <a:pt x="9441" y="13332"/>
                  </a:cubicBezTo>
                  <a:cubicBezTo>
                    <a:pt x="9441" y="13332"/>
                    <a:pt x="9441" y="13332"/>
                    <a:pt x="9441" y="13331"/>
                  </a:cubicBezTo>
                  <a:close/>
                  <a:moveTo>
                    <a:pt x="9356" y="13126"/>
                  </a:moveTo>
                  <a:cubicBezTo>
                    <a:pt x="9207" y="13174"/>
                    <a:pt x="9207" y="13174"/>
                    <a:pt x="9207" y="13174"/>
                  </a:cubicBezTo>
                  <a:cubicBezTo>
                    <a:pt x="9084" y="13153"/>
                    <a:pt x="9084" y="13153"/>
                    <a:pt x="9084" y="13153"/>
                  </a:cubicBezTo>
                  <a:cubicBezTo>
                    <a:pt x="9143" y="13028"/>
                    <a:pt x="9205" y="12900"/>
                    <a:pt x="9236" y="12840"/>
                  </a:cubicBezTo>
                  <a:cubicBezTo>
                    <a:pt x="9245" y="12824"/>
                    <a:pt x="9252" y="12812"/>
                    <a:pt x="9254" y="12809"/>
                  </a:cubicBezTo>
                  <a:cubicBezTo>
                    <a:pt x="9257" y="12808"/>
                    <a:pt x="9257" y="12806"/>
                    <a:pt x="9258" y="12805"/>
                  </a:cubicBezTo>
                  <a:cubicBezTo>
                    <a:pt x="9259" y="12805"/>
                    <a:pt x="9259" y="12804"/>
                    <a:pt x="9260" y="12803"/>
                  </a:cubicBezTo>
                  <a:cubicBezTo>
                    <a:pt x="9260" y="12803"/>
                    <a:pt x="9260" y="12803"/>
                    <a:pt x="9260" y="12803"/>
                  </a:cubicBezTo>
                  <a:cubicBezTo>
                    <a:pt x="9268" y="12829"/>
                    <a:pt x="9403" y="13267"/>
                    <a:pt x="9426" y="13330"/>
                  </a:cubicBezTo>
                  <a:cubicBezTo>
                    <a:pt x="9427" y="13335"/>
                    <a:pt x="9428" y="13336"/>
                    <a:pt x="9429" y="13339"/>
                  </a:cubicBezTo>
                  <a:cubicBezTo>
                    <a:pt x="9345" y="13366"/>
                    <a:pt x="9269" y="13391"/>
                    <a:pt x="9205" y="13412"/>
                  </a:cubicBezTo>
                  <a:cubicBezTo>
                    <a:pt x="9206" y="13384"/>
                    <a:pt x="9213" y="13215"/>
                    <a:pt x="9214" y="13187"/>
                  </a:cubicBezTo>
                  <a:cubicBezTo>
                    <a:pt x="9360" y="13139"/>
                    <a:pt x="9360" y="13139"/>
                    <a:pt x="9360" y="13139"/>
                  </a:cubicBezTo>
                  <a:lnTo>
                    <a:pt x="9356" y="13126"/>
                  </a:lnTo>
                  <a:close/>
                  <a:moveTo>
                    <a:pt x="9194" y="13415"/>
                  </a:moveTo>
                  <a:cubicBezTo>
                    <a:pt x="9113" y="13442"/>
                    <a:pt x="9052" y="13462"/>
                    <a:pt x="9019" y="13473"/>
                  </a:cubicBezTo>
                  <a:cubicBezTo>
                    <a:pt x="9007" y="13477"/>
                    <a:pt x="9000" y="13480"/>
                    <a:pt x="8995" y="13482"/>
                  </a:cubicBezTo>
                  <a:cubicBezTo>
                    <a:pt x="8993" y="13481"/>
                    <a:pt x="8991" y="13480"/>
                    <a:pt x="8988" y="13479"/>
                  </a:cubicBezTo>
                  <a:cubicBezTo>
                    <a:pt x="8982" y="13476"/>
                    <a:pt x="8974" y="13472"/>
                    <a:pt x="8966" y="13469"/>
                  </a:cubicBezTo>
                  <a:cubicBezTo>
                    <a:pt x="8956" y="13465"/>
                    <a:pt x="8946" y="13461"/>
                    <a:pt x="8940" y="13458"/>
                  </a:cubicBezTo>
                  <a:cubicBezTo>
                    <a:pt x="8952" y="13431"/>
                    <a:pt x="9003" y="13324"/>
                    <a:pt x="9060" y="13203"/>
                  </a:cubicBezTo>
                  <a:cubicBezTo>
                    <a:pt x="9067" y="13188"/>
                    <a:pt x="9074" y="13173"/>
                    <a:pt x="9082" y="13157"/>
                  </a:cubicBezTo>
                  <a:cubicBezTo>
                    <a:pt x="9080" y="13167"/>
                    <a:pt x="9080" y="13167"/>
                    <a:pt x="9080" y="13167"/>
                  </a:cubicBezTo>
                  <a:cubicBezTo>
                    <a:pt x="9200" y="13187"/>
                    <a:pt x="9200" y="13187"/>
                    <a:pt x="9200" y="13187"/>
                  </a:cubicBezTo>
                  <a:cubicBezTo>
                    <a:pt x="9200" y="13189"/>
                    <a:pt x="9200" y="13190"/>
                    <a:pt x="9200" y="13191"/>
                  </a:cubicBezTo>
                  <a:cubicBezTo>
                    <a:pt x="9200" y="13198"/>
                    <a:pt x="9199" y="13207"/>
                    <a:pt x="9199" y="13218"/>
                  </a:cubicBezTo>
                  <a:cubicBezTo>
                    <a:pt x="9198" y="13240"/>
                    <a:pt x="9197" y="13269"/>
                    <a:pt x="9196" y="13298"/>
                  </a:cubicBezTo>
                  <a:cubicBezTo>
                    <a:pt x="9193" y="13357"/>
                    <a:pt x="9191" y="13415"/>
                    <a:pt x="9191" y="13415"/>
                  </a:cubicBezTo>
                  <a:cubicBezTo>
                    <a:pt x="9191" y="13415"/>
                    <a:pt x="9191" y="13415"/>
                    <a:pt x="9191" y="13415"/>
                  </a:cubicBezTo>
                  <a:lnTo>
                    <a:pt x="9194" y="13415"/>
                  </a:lnTo>
                  <a:close/>
                  <a:moveTo>
                    <a:pt x="9497" y="12274"/>
                  </a:moveTo>
                  <a:cubicBezTo>
                    <a:pt x="9507" y="12252"/>
                    <a:pt x="9515" y="12234"/>
                    <a:pt x="9520" y="12220"/>
                  </a:cubicBezTo>
                  <a:cubicBezTo>
                    <a:pt x="9557" y="12237"/>
                    <a:pt x="9603" y="12254"/>
                    <a:pt x="9655" y="12268"/>
                  </a:cubicBezTo>
                  <a:cubicBezTo>
                    <a:pt x="9818" y="12747"/>
                    <a:pt x="9818" y="12747"/>
                    <a:pt x="9818" y="12747"/>
                  </a:cubicBezTo>
                  <a:cubicBezTo>
                    <a:pt x="9720" y="12777"/>
                    <a:pt x="9720" y="12777"/>
                    <a:pt x="9720" y="12777"/>
                  </a:cubicBezTo>
                  <a:cubicBezTo>
                    <a:pt x="9710" y="12778"/>
                    <a:pt x="9614" y="12781"/>
                    <a:pt x="9512" y="12784"/>
                  </a:cubicBezTo>
                  <a:cubicBezTo>
                    <a:pt x="9407" y="12481"/>
                    <a:pt x="9407" y="12481"/>
                    <a:pt x="9407" y="12481"/>
                  </a:cubicBezTo>
                  <a:cubicBezTo>
                    <a:pt x="9437" y="12412"/>
                    <a:pt x="9466" y="12345"/>
                    <a:pt x="9489" y="12293"/>
                  </a:cubicBezTo>
                  <a:cubicBezTo>
                    <a:pt x="9653" y="12777"/>
                    <a:pt x="9653" y="12777"/>
                    <a:pt x="9653" y="12777"/>
                  </a:cubicBezTo>
                  <a:cubicBezTo>
                    <a:pt x="9667" y="12773"/>
                    <a:pt x="9667" y="12773"/>
                    <a:pt x="9667" y="12773"/>
                  </a:cubicBezTo>
                  <a:lnTo>
                    <a:pt x="9497" y="12274"/>
                  </a:lnTo>
                  <a:close/>
                  <a:moveTo>
                    <a:pt x="10535" y="11518"/>
                  </a:moveTo>
                  <a:cubicBezTo>
                    <a:pt x="10540" y="11528"/>
                    <a:pt x="10546" y="11540"/>
                    <a:pt x="10551" y="11552"/>
                  </a:cubicBezTo>
                  <a:cubicBezTo>
                    <a:pt x="10563" y="11577"/>
                    <a:pt x="10575" y="11602"/>
                    <a:pt x="10575" y="11602"/>
                  </a:cubicBezTo>
                  <a:cubicBezTo>
                    <a:pt x="10577" y="11607"/>
                    <a:pt x="10577" y="11607"/>
                    <a:pt x="10577" y="11607"/>
                  </a:cubicBezTo>
                  <a:cubicBezTo>
                    <a:pt x="10736" y="11576"/>
                    <a:pt x="10736" y="11576"/>
                    <a:pt x="10736" y="11576"/>
                  </a:cubicBezTo>
                  <a:cubicBezTo>
                    <a:pt x="10847" y="11933"/>
                    <a:pt x="10847" y="11933"/>
                    <a:pt x="10847" y="11933"/>
                  </a:cubicBezTo>
                  <a:cubicBezTo>
                    <a:pt x="10475" y="12055"/>
                    <a:pt x="10115" y="12171"/>
                    <a:pt x="9997" y="12208"/>
                  </a:cubicBezTo>
                  <a:cubicBezTo>
                    <a:pt x="9947" y="12223"/>
                    <a:pt x="9896" y="12230"/>
                    <a:pt x="9847" y="12230"/>
                  </a:cubicBezTo>
                  <a:cubicBezTo>
                    <a:pt x="9828" y="12230"/>
                    <a:pt x="9809" y="12229"/>
                    <a:pt x="9790" y="12227"/>
                  </a:cubicBezTo>
                  <a:cubicBezTo>
                    <a:pt x="9792" y="12211"/>
                    <a:pt x="9799" y="12186"/>
                    <a:pt x="9806" y="12163"/>
                  </a:cubicBezTo>
                  <a:cubicBezTo>
                    <a:pt x="9813" y="12141"/>
                    <a:pt x="9820" y="12122"/>
                    <a:pt x="9823" y="12115"/>
                  </a:cubicBezTo>
                  <a:cubicBezTo>
                    <a:pt x="9992" y="12040"/>
                    <a:pt x="9992" y="12040"/>
                    <a:pt x="9992" y="12040"/>
                  </a:cubicBezTo>
                  <a:cubicBezTo>
                    <a:pt x="9897" y="11720"/>
                    <a:pt x="9897" y="11720"/>
                    <a:pt x="9897" y="11720"/>
                  </a:cubicBezTo>
                  <a:cubicBezTo>
                    <a:pt x="9945" y="11705"/>
                    <a:pt x="10257" y="11604"/>
                    <a:pt x="10427" y="11546"/>
                  </a:cubicBezTo>
                  <a:cubicBezTo>
                    <a:pt x="10479" y="11529"/>
                    <a:pt x="10516" y="11516"/>
                    <a:pt x="10531" y="11510"/>
                  </a:cubicBezTo>
                  <a:cubicBezTo>
                    <a:pt x="10532" y="11512"/>
                    <a:pt x="10534" y="11515"/>
                    <a:pt x="10535" y="11518"/>
                  </a:cubicBezTo>
                  <a:close/>
                  <a:moveTo>
                    <a:pt x="10535" y="11507"/>
                  </a:moveTo>
                  <a:cubicBezTo>
                    <a:pt x="10535" y="11507"/>
                    <a:pt x="10535" y="11507"/>
                    <a:pt x="10536" y="11507"/>
                  </a:cubicBezTo>
                  <a:cubicBezTo>
                    <a:pt x="10535" y="11507"/>
                    <a:pt x="10535" y="11507"/>
                    <a:pt x="10535" y="11507"/>
                  </a:cubicBezTo>
                  <a:close/>
                  <a:moveTo>
                    <a:pt x="10691" y="12473"/>
                  </a:moveTo>
                  <a:cubicBezTo>
                    <a:pt x="10568" y="12093"/>
                    <a:pt x="10568" y="12093"/>
                    <a:pt x="10568" y="12093"/>
                  </a:cubicBezTo>
                  <a:cubicBezTo>
                    <a:pt x="10611" y="12079"/>
                    <a:pt x="10655" y="12065"/>
                    <a:pt x="10699" y="12050"/>
                  </a:cubicBezTo>
                  <a:cubicBezTo>
                    <a:pt x="10822" y="12432"/>
                    <a:pt x="10822" y="12432"/>
                    <a:pt x="10822" y="12432"/>
                  </a:cubicBezTo>
                  <a:lnTo>
                    <a:pt x="10691" y="12473"/>
                  </a:lnTo>
                  <a:close/>
                  <a:moveTo>
                    <a:pt x="10751" y="12473"/>
                  </a:moveTo>
                  <a:cubicBezTo>
                    <a:pt x="10749" y="12475"/>
                    <a:pt x="10743" y="12474"/>
                    <a:pt x="10742" y="12472"/>
                  </a:cubicBezTo>
                  <a:cubicBezTo>
                    <a:pt x="10743" y="12471"/>
                    <a:pt x="10743" y="12471"/>
                    <a:pt x="10743" y="12471"/>
                  </a:cubicBezTo>
                  <a:cubicBezTo>
                    <a:pt x="10749" y="12470"/>
                    <a:pt x="10749" y="12470"/>
                    <a:pt x="10749" y="12470"/>
                  </a:cubicBezTo>
                  <a:lnTo>
                    <a:pt x="10751" y="12473"/>
                  </a:lnTo>
                  <a:close/>
                  <a:moveTo>
                    <a:pt x="9424" y="12801"/>
                  </a:moveTo>
                  <a:cubicBezTo>
                    <a:pt x="9446" y="12800"/>
                    <a:pt x="9470" y="12800"/>
                    <a:pt x="9494" y="12799"/>
                  </a:cubicBezTo>
                  <a:cubicBezTo>
                    <a:pt x="9520" y="12798"/>
                    <a:pt x="9546" y="12797"/>
                    <a:pt x="9570" y="12796"/>
                  </a:cubicBezTo>
                  <a:cubicBezTo>
                    <a:pt x="9664" y="13078"/>
                    <a:pt x="9664" y="13078"/>
                    <a:pt x="9664" y="13078"/>
                  </a:cubicBezTo>
                  <a:cubicBezTo>
                    <a:pt x="9532" y="13120"/>
                    <a:pt x="9532" y="13120"/>
                    <a:pt x="9532" y="13120"/>
                  </a:cubicBezTo>
                  <a:lnTo>
                    <a:pt x="9424" y="12801"/>
                  </a:lnTo>
                  <a:close/>
                  <a:moveTo>
                    <a:pt x="9564" y="13256"/>
                  </a:moveTo>
                  <a:cubicBezTo>
                    <a:pt x="9456" y="13291"/>
                    <a:pt x="9456" y="13291"/>
                    <a:pt x="9456" y="13291"/>
                  </a:cubicBezTo>
                  <a:cubicBezTo>
                    <a:pt x="9419" y="13169"/>
                    <a:pt x="9419" y="13169"/>
                    <a:pt x="9419" y="13169"/>
                  </a:cubicBezTo>
                  <a:cubicBezTo>
                    <a:pt x="9523" y="13136"/>
                    <a:pt x="9523" y="13136"/>
                    <a:pt x="9523" y="13136"/>
                  </a:cubicBezTo>
                  <a:lnTo>
                    <a:pt x="9564" y="13256"/>
                  </a:lnTo>
                  <a:close/>
                  <a:moveTo>
                    <a:pt x="9585" y="12796"/>
                  </a:moveTo>
                  <a:cubicBezTo>
                    <a:pt x="9662" y="12793"/>
                    <a:pt x="9722" y="12791"/>
                    <a:pt x="9722" y="12791"/>
                  </a:cubicBezTo>
                  <a:cubicBezTo>
                    <a:pt x="9723" y="12791"/>
                    <a:pt x="9723" y="12791"/>
                    <a:pt x="9723" y="12791"/>
                  </a:cubicBezTo>
                  <a:cubicBezTo>
                    <a:pt x="9727" y="12790"/>
                    <a:pt x="9727" y="12790"/>
                    <a:pt x="9727" y="12790"/>
                  </a:cubicBezTo>
                  <a:cubicBezTo>
                    <a:pt x="9727" y="12790"/>
                    <a:pt x="9727" y="12790"/>
                    <a:pt x="9727" y="12791"/>
                  </a:cubicBezTo>
                  <a:cubicBezTo>
                    <a:pt x="9727" y="12798"/>
                    <a:pt x="9736" y="12822"/>
                    <a:pt x="9748" y="12861"/>
                  </a:cubicBezTo>
                  <a:cubicBezTo>
                    <a:pt x="9761" y="12900"/>
                    <a:pt x="9778" y="12950"/>
                    <a:pt x="9795" y="13000"/>
                  </a:cubicBezTo>
                  <a:cubicBezTo>
                    <a:pt x="9799" y="13011"/>
                    <a:pt x="9802" y="13022"/>
                    <a:pt x="9806" y="13033"/>
                  </a:cubicBezTo>
                  <a:cubicBezTo>
                    <a:pt x="9677" y="13074"/>
                    <a:pt x="9677" y="13074"/>
                    <a:pt x="9677" y="13074"/>
                  </a:cubicBezTo>
                  <a:lnTo>
                    <a:pt x="9585" y="12796"/>
                  </a:lnTo>
                  <a:close/>
                  <a:moveTo>
                    <a:pt x="9741" y="12790"/>
                  </a:moveTo>
                  <a:cubicBezTo>
                    <a:pt x="9739" y="12791"/>
                    <a:pt x="9739" y="12791"/>
                    <a:pt x="9739" y="12791"/>
                  </a:cubicBezTo>
                  <a:cubicBezTo>
                    <a:pt x="9735" y="12791"/>
                    <a:pt x="9735" y="12791"/>
                    <a:pt x="9735" y="12791"/>
                  </a:cubicBezTo>
                  <a:cubicBezTo>
                    <a:pt x="9734" y="12791"/>
                    <a:pt x="9734" y="12791"/>
                    <a:pt x="9734" y="12791"/>
                  </a:cubicBezTo>
                  <a:cubicBezTo>
                    <a:pt x="9738" y="12796"/>
                    <a:pt x="9738" y="12796"/>
                    <a:pt x="9738" y="12796"/>
                  </a:cubicBezTo>
                  <a:cubicBezTo>
                    <a:pt x="9734" y="12790"/>
                    <a:pt x="9734" y="12790"/>
                    <a:pt x="9734" y="12790"/>
                  </a:cubicBezTo>
                  <a:cubicBezTo>
                    <a:pt x="9732" y="12792"/>
                    <a:pt x="9732" y="12792"/>
                    <a:pt x="9732" y="12792"/>
                  </a:cubicBezTo>
                  <a:cubicBezTo>
                    <a:pt x="9738" y="12786"/>
                    <a:pt x="9738" y="12786"/>
                    <a:pt x="9738" y="12786"/>
                  </a:cubicBezTo>
                  <a:cubicBezTo>
                    <a:pt x="9882" y="12741"/>
                    <a:pt x="9882" y="12741"/>
                    <a:pt x="9882" y="12741"/>
                  </a:cubicBezTo>
                  <a:cubicBezTo>
                    <a:pt x="9883" y="12751"/>
                    <a:pt x="9891" y="12773"/>
                    <a:pt x="9902" y="12809"/>
                  </a:cubicBezTo>
                  <a:cubicBezTo>
                    <a:pt x="9915" y="12848"/>
                    <a:pt x="9932" y="12898"/>
                    <a:pt x="9949" y="12948"/>
                  </a:cubicBezTo>
                  <a:cubicBezTo>
                    <a:pt x="9953" y="12960"/>
                    <a:pt x="9957" y="12972"/>
                    <a:pt x="9961" y="12984"/>
                  </a:cubicBezTo>
                  <a:cubicBezTo>
                    <a:pt x="9819" y="13029"/>
                    <a:pt x="9819" y="13029"/>
                    <a:pt x="9819" y="13029"/>
                  </a:cubicBezTo>
                  <a:cubicBezTo>
                    <a:pt x="9816" y="13019"/>
                    <a:pt x="9813" y="13010"/>
                    <a:pt x="9810" y="13001"/>
                  </a:cubicBezTo>
                  <a:cubicBezTo>
                    <a:pt x="9777" y="12903"/>
                    <a:pt x="9742" y="12800"/>
                    <a:pt x="9741" y="12790"/>
                  </a:cubicBezTo>
                  <a:close/>
                  <a:moveTo>
                    <a:pt x="9892" y="12744"/>
                  </a:moveTo>
                  <a:cubicBezTo>
                    <a:pt x="9890" y="12746"/>
                    <a:pt x="9884" y="12745"/>
                    <a:pt x="9883" y="12743"/>
                  </a:cubicBezTo>
                  <a:cubicBezTo>
                    <a:pt x="9886" y="12740"/>
                    <a:pt x="9886" y="12740"/>
                    <a:pt x="9886" y="12740"/>
                  </a:cubicBezTo>
                  <a:cubicBezTo>
                    <a:pt x="9889" y="12739"/>
                    <a:pt x="9889" y="12739"/>
                    <a:pt x="9889" y="12739"/>
                  </a:cubicBezTo>
                  <a:lnTo>
                    <a:pt x="9892" y="12744"/>
                  </a:lnTo>
                  <a:close/>
                  <a:moveTo>
                    <a:pt x="9891" y="12739"/>
                  </a:moveTo>
                  <a:cubicBezTo>
                    <a:pt x="9891" y="12739"/>
                    <a:pt x="9891" y="12739"/>
                    <a:pt x="9891" y="12739"/>
                  </a:cubicBezTo>
                  <a:cubicBezTo>
                    <a:pt x="9895" y="12739"/>
                    <a:pt x="9895" y="12739"/>
                    <a:pt x="9895" y="12739"/>
                  </a:cubicBezTo>
                  <a:lnTo>
                    <a:pt x="9891" y="12739"/>
                  </a:lnTo>
                  <a:close/>
                  <a:moveTo>
                    <a:pt x="9895" y="12738"/>
                  </a:moveTo>
                  <a:cubicBezTo>
                    <a:pt x="9893" y="12738"/>
                    <a:pt x="9893" y="12738"/>
                    <a:pt x="9893" y="12738"/>
                  </a:cubicBezTo>
                  <a:cubicBezTo>
                    <a:pt x="9891" y="12738"/>
                    <a:pt x="9891" y="12738"/>
                    <a:pt x="9891" y="12738"/>
                  </a:cubicBezTo>
                  <a:cubicBezTo>
                    <a:pt x="10024" y="12697"/>
                    <a:pt x="10024" y="12697"/>
                    <a:pt x="10024" y="12697"/>
                  </a:cubicBezTo>
                  <a:cubicBezTo>
                    <a:pt x="10027" y="12708"/>
                    <a:pt x="10034" y="12729"/>
                    <a:pt x="10044" y="12760"/>
                  </a:cubicBezTo>
                  <a:cubicBezTo>
                    <a:pt x="10057" y="12798"/>
                    <a:pt x="10074" y="12849"/>
                    <a:pt x="10091" y="12899"/>
                  </a:cubicBezTo>
                  <a:cubicBezTo>
                    <a:pt x="10095" y="12912"/>
                    <a:pt x="10100" y="12925"/>
                    <a:pt x="10104" y="12938"/>
                  </a:cubicBezTo>
                  <a:cubicBezTo>
                    <a:pt x="9974" y="12979"/>
                    <a:pt x="9974" y="12979"/>
                    <a:pt x="9974" y="12979"/>
                  </a:cubicBezTo>
                  <a:cubicBezTo>
                    <a:pt x="9971" y="12969"/>
                    <a:pt x="9967" y="12959"/>
                    <a:pt x="9964" y="12948"/>
                  </a:cubicBezTo>
                  <a:cubicBezTo>
                    <a:pt x="9931" y="12850"/>
                    <a:pt x="9896" y="12748"/>
                    <a:pt x="9895" y="12738"/>
                  </a:cubicBezTo>
                  <a:close/>
                  <a:moveTo>
                    <a:pt x="10028" y="12695"/>
                  </a:moveTo>
                  <a:cubicBezTo>
                    <a:pt x="10033" y="12694"/>
                    <a:pt x="10033" y="12694"/>
                    <a:pt x="10033" y="12694"/>
                  </a:cubicBezTo>
                  <a:cubicBezTo>
                    <a:pt x="10033" y="12695"/>
                    <a:pt x="10033" y="12695"/>
                    <a:pt x="10033" y="12695"/>
                  </a:cubicBezTo>
                  <a:cubicBezTo>
                    <a:pt x="10032" y="12696"/>
                    <a:pt x="10030" y="12696"/>
                    <a:pt x="10028" y="12695"/>
                  </a:cubicBezTo>
                  <a:close/>
                  <a:moveTo>
                    <a:pt x="10180" y="12723"/>
                  </a:moveTo>
                  <a:cubicBezTo>
                    <a:pt x="10192" y="12761"/>
                    <a:pt x="10209" y="12812"/>
                    <a:pt x="10226" y="12862"/>
                  </a:cubicBezTo>
                  <a:cubicBezTo>
                    <a:pt x="10230" y="12873"/>
                    <a:pt x="10234" y="12885"/>
                    <a:pt x="10238" y="12896"/>
                  </a:cubicBezTo>
                  <a:cubicBezTo>
                    <a:pt x="10117" y="12934"/>
                    <a:pt x="10117" y="12934"/>
                    <a:pt x="10117" y="12934"/>
                  </a:cubicBezTo>
                  <a:cubicBezTo>
                    <a:pt x="10113" y="12923"/>
                    <a:pt x="10109" y="12911"/>
                    <a:pt x="10106" y="12899"/>
                  </a:cubicBezTo>
                  <a:cubicBezTo>
                    <a:pt x="10074" y="12807"/>
                    <a:pt x="10043" y="12712"/>
                    <a:pt x="10038" y="12693"/>
                  </a:cubicBezTo>
                  <a:cubicBezTo>
                    <a:pt x="10159" y="12655"/>
                    <a:pt x="10159" y="12655"/>
                    <a:pt x="10159" y="12655"/>
                  </a:cubicBezTo>
                  <a:cubicBezTo>
                    <a:pt x="10160" y="12663"/>
                    <a:pt x="10168" y="12686"/>
                    <a:pt x="10180" y="12723"/>
                  </a:cubicBezTo>
                  <a:close/>
                  <a:moveTo>
                    <a:pt x="10160" y="12657"/>
                  </a:moveTo>
                  <a:cubicBezTo>
                    <a:pt x="10164" y="12653"/>
                    <a:pt x="10164" y="12653"/>
                    <a:pt x="10164" y="12653"/>
                  </a:cubicBezTo>
                  <a:cubicBezTo>
                    <a:pt x="10164" y="12653"/>
                    <a:pt x="10164" y="12653"/>
                    <a:pt x="10164" y="12653"/>
                  </a:cubicBezTo>
                  <a:lnTo>
                    <a:pt x="10160" y="12657"/>
                  </a:lnTo>
                  <a:close/>
                  <a:moveTo>
                    <a:pt x="10169" y="12658"/>
                  </a:moveTo>
                  <a:cubicBezTo>
                    <a:pt x="10165" y="12652"/>
                    <a:pt x="10165" y="12652"/>
                    <a:pt x="10165" y="12652"/>
                  </a:cubicBezTo>
                  <a:cubicBezTo>
                    <a:pt x="10165" y="12652"/>
                    <a:pt x="10165" y="12652"/>
                    <a:pt x="10165" y="12652"/>
                  </a:cubicBezTo>
                  <a:lnTo>
                    <a:pt x="10169" y="12658"/>
                  </a:lnTo>
                  <a:close/>
                  <a:moveTo>
                    <a:pt x="10166" y="12652"/>
                  </a:moveTo>
                  <a:cubicBezTo>
                    <a:pt x="10166" y="12652"/>
                    <a:pt x="10166" y="12652"/>
                    <a:pt x="10166" y="12652"/>
                  </a:cubicBezTo>
                  <a:cubicBezTo>
                    <a:pt x="10172" y="12653"/>
                    <a:pt x="10172" y="12653"/>
                    <a:pt x="10172" y="12653"/>
                  </a:cubicBezTo>
                  <a:lnTo>
                    <a:pt x="10166" y="12652"/>
                  </a:lnTo>
                  <a:close/>
                  <a:moveTo>
                    <a:pt x="10108" y="12951"/>
                  </a:moveTo>
                  <a:cubicBezTo>
                    <a:pt x="10125" y="13001"/>
                    <a:pt x="10141" y="13046"/>
                    <a:pt x="10150" y="13072"/>
                  </a:cubicBezTo>
                  <a:cubicBezTo>
                    <a:pt x="10020" y="13113"/>
                    <a:pt x="10020" y="13113"/>
                    <a:pt x="10020" y="13113"/>
                  </a:cubicBezTo>
                  <a:cubicBezTo>
                    <a:pt x="10011" y="13085"/>
                    <a:pt x="9995" y="13041"/>
                    <a:pt x="9979" y="12992"/>
                  </a:cubicBezTo>
                  <a:lnTo>
                    <a:pt x="10108" y="12951"/>
                  </a:lnTo>
                  <a:close/>
                  <a:moveTo>
                    <a:pt x="10122" y="12947"/>
                  </a:moveTo>
                  <a:cubicBezTo>
                    <a:pt x="10242" y="12908"/>
                    <a:pt x="10242" y="12908"/>
                    <a:pt x="10242" y="12908"/>
                  </a:cubicBezTo>
                  <a:cubicBezTo>
                    <a:pt x="10259" y="12957"/>
                    <a:pt x="10274" y="13002"/>
                    <a:pt x="10284" y="13030"/>
                  </a:cubicBezTo>
                  <a:cubicBezTo>
                    <a:pt x="10163" y="13068"/>
                    <a:pt x="10163" y="13068"/>
                    <a:pt x="10163" y="13068"/>
                  </a:cubicBezTo>
                  <a:cubicBezTo>
                    <a:pt x="10154" y="13042"/>
                    <a:pt x="10139" y="12997"/>
                    <a:pt x="10122" y="12947"/>
                  </a:cubicBezTo>
                  <a:close/>
                  <a:moveTo>
                    <a:pt x="10241" y="12862"/>
                  </a:moveTo>
                  <a:cubicBezTo>
                    <a:pt x="10208" y="12764"/>
                    <a:pt x="10174" y="12661"/>
                    <a:pt x="10172" y="12652"/>
                  </a:cubicBezTo>
                  <a:cubicBezTo>
                    <a:pt x="10170" y="12652"/>
                    <a:pt x="10170" y="12652"/>
                    <a:pt x="10170" y="12652"/>
                  </a:cubicBezTo>
                  <a:cubicBezTo>
                    <a:pt x="10167" y="12652"/>
                    <a:pt x="10167" y="12652"/>
                    <a:pt x="10167" y="12652"/>
                  </a:cubicBezTo>
                  <a:cubicBezTo>
                    <a:pt x="10319" y="12604"/>
                    <a:pt x="10319" y="12604"/>
                    <a:pt x="10319" y="12604"/>
                  </a:cubicBezTo>
                  <a:cubicBezTo>
                    <a:pt x="10320" y="12613"/>
                    <a:pt x="10328" y="12636"/>
                    <a:pt x="10340" y="12673"/>
                  </a:cubicBezTo>
                  <a:cubicBezTo>
                    <a:pt x="10352" y="12712"/>
                    <a:pt x="10369" y="12763"/>
                    <a:pt x="10386" y="12813"/>
                  </a:cubicBezTo>
                  <a:cubicBezTo>
                    <a:pt x="10390" y="12824"/>
                    <a:pt x="10394" y="12835"/>
                    <a:pt x="10397" y="12845"/>
                  </a:cubicBezTo>
                  <a:cubicBezTo>
                    <a:pt x="10251" y="12892"/>
                    <a:pt x="10251" y="12892"/>
                    <a:pt x="10251" y="12892"/>
                  </a:cubicBezTo>
                  <a:cubicBezTo>
                    <a:pt x="10248" y="12882"/>
                    <a:pt x="10244" y="12872"/>
                    <a:pt x="10241" y="12862"/>
                  </a:cubicBezTo>
                  <a:close/>
                  <a:moveTo>
                    <a:pt x="9971" y="12699"/>
                  </a:moveTo>
                  <a:cubicBezTo>
                    <a:pt x="9840" y="12295"/>
                    <a:pt x="9840" y="12295"/>
                    <a:pt x="9840" y="12295"/>
                  </a:cubicBezTo>
                  <a:cubicBezTo>
                    <a:pt x="9842" y="12295"/>
                    <a:pt x="9845" y="12295"/>
                    <a:pt x="9847" y="12295"/>
                  </a:cubicBezTo>
                  <a:cubicBezTo>
                    <a:pt x="9888" y="12295"/>
                    <a:pt x="9930" y="12291"/>
                    <a:pt x="9972" y="12282"/>
                  </a:cubicBezTo>
                  <a:cubicBezTo>
                    <a:pt x="10094" y="12660"/>
                    <a:pt x="10094" y="12660"/>
                    <a:pt x="10094" y="12660"/>
                  </a:cubicBezTo>
                  <a:cubicBezTo>
                    <a:pt x="10107" y="12656"/>
                    <a:pt x="10107" y="12656"/>
                    <a:pt x="10107" y="12656"/>
                  </a:cubicBezTo>
                  <a:cubicBezTo>
                    <a:pt x="9985" y="12279"/>
                    <a:pt x="9985" y="12279"/>
                    <a:pt x="9985" y="12279"/>
                  </a:cubicBezTo>
                  <a:cubicBezTo>
                    <a:pt x="9995" y="12276"/>
                    <a:pt x="10006" y="12274"/>
                    <a:pt x="10016" y="12271"/>
                  </a:cubicBezTo>
                  <a:cubicBezTo>
                    <a:pt x="10040" y="12263"/>
                    <a:pt x="10075" y="12252"/>
                    <a:pt x="10117" y="12239"/>
                  </a:cubicBezTo>
                  <a:cubicBezTo>
                    <a:pt x="10239" y="12614"/>
                    <a:pt x="10239" y="12614"/>
                    <a:pt x="10239" y="12614"/>
                  </a:cubicBezTo>
                  <a:cubicBezTo>
                    <a:pt x="10252" y="12610"/>
                    <a:pt x="10252" y="12610"/>
                    <a:pt x="10252" y="12610"/>
                  </a:cubicBezTo>
                  <a:cubicBezTo>
                    <a:pt x="10130" y="12234"/>
                    <a:pt x="10130" y="12234"/>
                    <a:pt x="10130" y="12234"/>
                  </a:cubicBezTo>
                  <a:cubicBezTo>
                    <a:pt x="10171" y="12222"/>
                    <a:pt x="10217" y="12207"/>
                    <a:pt x="10269" y="12190"/>
                  </a:cubicBezTo>
                  <a:cubicBezTo>
                    <a:pt x="10391" y="12567"/>
                    <a:pt x="10391" y="12567"/>
                    <a:pt x="10391" y="12567"/>
                  </a:cubicBezTo>
                  <a:lnTo>
                    <a:pt x="9971" y="12699"/>
                  </a:lnTo>
                  <a:close/>
                  <a:moveTo>
                    <a:pt x="10283" y="12186"/>
                  </a:moveTo>
                  <a:cubicBezTo>
                    <a:pt x="10322" y="12173"/>
                    <a:pt x="10365" y="12159"/>
                    <a:pt x="10410" y="12144"/>
                  </a:cubicBezTo>
                  <a:cubicBezTo>
                    <a:pt x="10533" y="12523"/>
                    <a:pt x="10533" y="12523"/>
                    <a:pt x="10533" y="12523"/>
                  </a:cubicBezTo>
                  <a:cubicBezTo>
                    <a:pt x="10405" y="12563"/>
                    <a:pt x="10405" y="12563"/>
                    <a:pt x="10405" y="12563"/>
                  </a:cubicBezTo>
                  <a:lnTo>
                    <a:pt x="10283" y="12186"/>
                  </a:lnTo>
                  <a:close/>
                  <a:moveTo>
                    <a:pt x="10423" y="12140"/>
                  </a:moveTo>
                  <a:cubicBezTo>
                    <a:pt x="10466" y="12126"/>
                    <a:pt x="10509" y="12112"/>
                    <a:pt x="10555" y="12097"/>
                  </a:cubicBezTo>
                  <a:cubicBezTo>
                    <a:pt x="10677" y="12477"/>
                    <a:pt x="10677" y="12477"/>
                    <a:pt x="10677" y="12477"/>
                  </a:cubicBezTo>
                  <a:cubicBezTo>
                    <a:pt x="10546" y="12519"/>
                    <a:pt x="10546" y="12519"/>
                    <a:pt x="10546" y="12519"/>
                  </a:cubicBezTo>
                  <a:lnTo>
                    <a:pt x="10423" y="12140"/>
                  </a:lnTo>
                  <a:close/>
                  <a:moveTo>
                    <a:pt x="10712" y="12046"/>
                  </a:moveTo>
                  <a:cubicBezTo>
                    <a:pt x="10755" y="12032"/>
                    <a:pt x="10797" y="12018"/>
                    <a:pt x="10840" y="12004"/>
                  </a:cubicBezTo>
                  <a:cubicBezTo>
                    <a:pt x="10973" y="12385"/>
                    <a:pt x="10973" y="12385"/>
                    <a:pt x="10973" y="12385"/>
                  </a:cubicBezTo>
                  <a:cubicBezTo>
                    <a:pt x="10836" y="12428"/>
                    <a:pt x="10836" y="12428"/>
                    <a:pt x="10836" y="12428"/>
                  </a:cubicBezTo>
                  <a:lnTo>
                    <a:pt x="10712" y="12046"/>
                  </a:lnTo>
                  <a:close/>
                  <a:moveTo>
                    <a:pt x="9832" y="12295"/>
                  </a:moveTo>
                  <a:cubicBezTo>
                    <a:pt x="9826" y="12297"/>
                    <a:pt x="9826" y="12297"/>
                    <a:pt x="9826" y="12297"/>
                  </a:cubicBezTo>
                  <a:cubicBezTo>
                    <a:pt x="9957" y="12703"/>
                    <a:pt x="9957" y="12703"/>
                    <a:pt x="9957" y="12703"/>
                  </a:cubicBezTo>
                  <a:cubicBezTo>
                    <a:pt x="9831" y="12743"/>
                    <a:pt x="9831" y="12743"/>
                    <a:pt x="9831" y="12743"/>
                  </a:cubicBezTo>
                  <a:cubicBezTo>
                    <a:pt x="9672" y="12272"/>
                    <a:pt x="9672" y="12272"/>
                    <a:pt x="9672" y="12272"/>
                  </a:cubicBezTo>
                  <a:cubicBezTo>
                    <a:pt x="9721" y="12285"/>
                    <a:pt x="9775" y="12293"/>
                    <a:pt x="9832" y="12295"/>
                  </a:cubicBezTo>
                  <a:close/>
                  <a:moveTo>
                    <a:pt x="9498" y="12785"/>
                  </a:moveTo>
                  <a:cubicBezTo>
                    <a:pt x="9385" y="12789"/>
                    <a:pt x="9270" y="12792"/>
                    <a:pt x="9265" y="12793"/>
                  </a:cubicBezTo>
                  <a:cubicBezTo>
                    <a:pt x="9267" y="12789"/>
                    <a:pt x="9270" y="12785"/>
                    <a:pt x="9272" y="12780"/>
                  </a:cubicBezTo>
                  <a:cubicBezTo>
                    <a:pt x="9280" y="12763"/>
                    <a:pt x="9292" y="12739"/>
                    <a:pt x="9305" y="12710"/>
                  </a:cubicBezTo>
                  <a:cubicBezTo>
                    <a:pt x="9331" y="12653"/>
                    <a:pt x="9365" y="12577"/>
                    <a:pt x="9398" y="12501"/>
                  </a:cubicBezTo>
                  <a:cubicBezTo>
                    <a:pt x="9398" y="12501"/>
                    <a:pt x="9399" y="12500"/>
                    <a:pt x="9399" y="12500"/>
                  </a:cubicBezTo>
                  <a:lnTo>
                    <a:pt x="9498" y="12785"/>
                  </a:lnTo>
                  <a:close/>
                  <a:moveTo>
                    <a:pt x="9537" y="13132"/>
                  </a:moveTo>
                  <a:cubicBezTo>
                    <a:pt x="9668" y="13090"/>
                    <a:pt x="9668" y="13090"/>
                    <a:pt x="9668" y="13090"/>
                  </a:cubicBezTo>
                  <a:cubicBezTo>
                    <a:pt x="9708" y="13211"/>
                    <a:pt x="9708" y="13211"/>
                    <a:pt x="9708" y="13211"/>
                  </a:cubicBezTo>
                  <a:cubicBezTo>
                    <a:pt x="9578" y="13252"/>
                    <a:pt x="9578" y="13252"/>
                    <a:pt x="9578" y="13252"/>
                  </a:cubicBezTo>
                  <a:lnTo>
                    <a:pt x="9537" y="13132"/>
                  </a:lnTo>
                  <a:close/>
                  <a:moveTo>
                    <a:pt x="9712" y="13224"/>
                  </a:moveTo>
                  <a:cubicBezTo>
                    <a:pt x="9719" y="13245"/>
                    <a:pt x="9719" y="13245"/>
                    <a:pt x="9719" y="13245"/>
                  </a:cubicBezTo>
                  <a:cubicBezTo>
                    <a:pt x="9675" y="13259"/>
                    <a:pt x="9632" y="13273"/>
                    <a:pt x="9590" y="13287"/>
                  </a:cubicBezTo>
                  <a:cubicBezTo>
                    <a:pt x="9582" y="13265"/>
                    <a:pt x="9582" y="13265"/>
                    <a:pt x="9582" y="13265"/>
                  </a:cubicBezTo>
                  <a:lnTo>
                    <a:pt x="9712" y="13224"/>
                  </a:lnTo>
                  <a:close/>
                  <a:moveTo>
                    <a:pt x="9681" y="13086"/>
                  </a:moveTo>
                  <a:cubicBezTo>
                    <a:pt x="9810" y="13045"/>
                    <a:pt x="9810" y="13045"/>
                    <a:pt x="9810" y="13045"/>
                  </a:cubicBezTo>
                  <a:cubicBezTo>
                    <a:pt x="9827" y="13093"/>
                    <a:pt x="9842" y="13138"/>
                    <a:pt x="9852" y="13166"/>
                  </a:cubicBezTo>
                  <a:cubicBezTo>
                    <a:pt x="9721" y="13207"/>
                    <a:pt x="9721" y="13207"/>
                    <a:pt x="9721" y="13207"/>
                  </a:cubicBezTo>
                  <a:lnTo>
                    <a:pt x="9681" y="13086"/>
                  </a:lnTo>
                  <a:close/>
                  <a:moveTo>
                    <a:pt x="9856" y="13179"/>
                  </a:moveTo>
                  <a:cubicBezTo>
                    <a:pt x="9859" y="13189"/>
                    <a:pt x="9862" y="13196"/>
                    <a:pt x="9863" y="13198"/>
                  </a:cubicBezTo>
                  <a:cubicBezTo>
                    <a:pt x="9819" y="13213"/>
                    <a:pt x="9775" y="13227"/>
                    <a:pt x="9732" y="13240"/>
                  </a:cubicBezTo>
                  <a:cubicBezTo>
                    <a:pt x="9725" y="13220"/>
                    <a:pt x="9725" y="13220"/>
                    <a:pt x="9725" y="13220"/>
                  </a:cubicBezTo>
                  <a:lnTo>
                    <a:pt x="9856" y="13179"/>
                  </a:lnTo>
                  <a:close/>
                  <a:moveTo>
                    <a:pt x="9824" y="13041"/>
                  </a:moveTo>
                  <a:cubicBezTo>
                    <a:pt x="9965" y="12996"/>
                    <a:pt x="9965" y="12996"/>
                    <a:pt x="9965" y="12996"/>
                  </a:cubicBezTo>
                  <a:cubicBezTo>
                    <a:pt x="9982" y="13045"/>
                    <a:pt x="9997" y="13090"/>
                    <a:pt x="10007" y="13117"/>
                  </a:cubicBezTo>
                  <a:cubicBezTo>
                    <a:pt x="9865" y="13162"/>
                    <a:pt x="9865" y="13162"/>
                    <a:pt x="9865" y="13162"/>
                  </a:cubicBezTo>
                  <a:cubicBezTo>
                    <a:pt x="9855" y="13133"/>
                    <a:pt x="9840" y="13089"/>
                    <a:pt x="9824" y="13041"/>
                  </a:cubicBezTo>
                  <a:close/>
                  <a:moveTo>
                    <a:pt x="10011" y="13130"/>
                  </a:moveTo>
                  <a:cubicBezTo>
                    <a:pt x="10015" y="13141"/>
                    <a:pt x="10017" y="13147"/>
                    <a:pt x="10017" y="13147"/>
                  </a:cubicBezTo>
                  <a:cubicBezTo>
                    <a:pt x="10017" y="13147"/>
                    <a:pt x="10017" y="13147"/>
                    <a:pt x="10017" y="13147"/>
                  </a:cubicBezTo>
                  <a:cubicBezTo>
                    <a:pt x="10030" y="13142"/>
                    <a:pt x="10030" y="13142"/>
                    <a:pt x="10030" y="13142"/>
                  </a:cubicBezTo>
                  <a:cubicBezTo>
                    <a:pt x="10030" y="13142"/>
                    <a:pt x="10028" y="13136"/>
                    <a:pt x="10024" y="13126"/>
                  </a:cubicBezTo>
                  <a:cubicBezTo>
                    <a:pt x="10154" y="13085"/>
                    <a:pt x="10154" y="13085"/>
                    <a:pt x="10154" y="13085"/>
                  </a:cubicBezTo>
                  <a:cubicBezTo>
                    <a:pt x="10157" y="13093"/>
                    <a:pt x="10158" y="13098"/>
                    <a:pt x="10158" y="13098"/>
                  </a:cubicBezTo>
                  <a:cubicBezTo>
                    <a:pt x="10158" y="13098"/>
                    <a:pt x="10158" y="13098"/>
                    <a:pt x="10158" y="13098"/>
                  </a:cubicBezTo>
                  <a:cubicBezTo>
                    <a:pt x="10172" y="13093"/>
                    <a:pt x="10172" y="13093"/>
                    <a:pt x="10172" y="13093"/>
                  </a:cubicBezTo>
                  <a:cubicBezTo>
                    <a:pt x="10172" y="13093"/>
                    <a:pt x="10170" y="13088"/>
                    <a:pt x="10167" y="13080"/>
                  </a:cubicBezTo>
                  <a:cubicBezTo>
                    <a:pt x="10288" y="13043"/>
                    <a:pt x="10288" y="13043"/>
                    <a:pt x="10288" y="13043"/>
                  </a:cubicBezTo>
                  <a:cubicBezTo>
                    <a:pt x="10291" y="13051"/>
                    <a:pt x="10293" y="13057"/>
                    <a:pt x="10294" y="13059"/>
                  </a:cubicBezTo>
                  <a:cubicBezTo>
                    <a:pt x="10157" y="13103"/>
                    <a:pt x="10014" y="13149"/>
                    <a:pt x="9876" y="13194"/>
                  </a:cubicBezTo>
                  <a:cubicBezTo>
                    <a:pt x="9875" y="13193"/>
                    <a:pt x="9873" y="13186"/>
                    <a:pt x="9869" y="13174"/>
                  </a:cubicBezTo>
                  <a:lnTo>
                    <a:pt x="10011" y="13130"/>
                  </a:lnTo>
                  <a:close/>
                  <a:moveTo>
                    <a:pt x="10255" y="12904"/>
                  </a:moveTo>
                  <a:cubicBezTo>
                    <a:pt x="10402" y="12858"/>
                    <a:pt x="10402" y="12858"/>
                    <a:pt x="10402" y="12858"/>
                  </a:cubicBezTo>
                  <a:cubicBezTo>
                    <a:pt x="10418" y="12907"/>
                    <a:pt x="10434" y="12951"/>
                    <a:pt x="10443" y="12980"/>
                  </a:cubicBezTo>
                  <a:cubicBezTo>
                    <a:pt x="10297" y="13026"/>
                    <a:pt x="10297" y="13026"/>
                    <a:pt x="10297" y="13026"/>
                  </a:cubicBezTo>
                  <a:cubicBezTo>
                    <a:pt x="10287" y="12998"/>
                    <a:pt x="10272" y="12954"/>
                    <a:pt x="10255" y="12904"/>
                  </a:cubicBezTo>
                  <a:close/>
                  <a:moveTo>
                    <a:pt x="10448" y="12992"/>
                  </a:moveTo>
                  <a:cubicBezTo>
                    <a:pt x="10450" y="12999"/>
                    <a:pt x="10452" y="13005"/>
                    <a:pt x="10453" y="13008"/>
                  </a:cubicBezTo>
                  <a:cubicBezTo>
                    <a:pt x="10405" y="13023"/>
                    <a:pt x="10356" y="13039"/>
                    <a:pt x="10307" y="13055"/>
                  </a:cubicBezTo>
                  <a:cubicBezTo>
                    <a:pt x="10306" y="13054"/>
                    <a:pt x="10304" y="13048"/>
                    <a:pt x="10301" y="13038"/>
                  </a:cubicBezTo>
                  <a:lnTo>
                    <a:pt x="10448" y="12992"/>
                  </a:lnTo>
                  <a:close/>
                  <a:moveTo>
                    <a:pt x="10415" y="12854"/>
                  </a:moveTo>
                  <a:cubicBezTo>
                    <a:pt x="10542" y="12813"/>
                    <a:pt x="10542" y="12813"/>
                    <a:pt x="10542" y="12813"/>
                  </a:cubicBezTo>
                  <a:cubicBezTo>
                    <a:pt x="10558" y="12860"/>
                    <a:pt x="10573" y="12905"/>
                    <a:pt x="10583" y="12936"/>
                  </a:cubicBezTo>
                  <a:cubicBezTo>
                    <a:pt x="10457" y="12976"/>
                    <a:pt x="10457" y="12976"/>
                    <a:pt x="10457" y="12976"/>
                  </a:cubicBezTo>
                  <a:cubicBezTo>
                    <a:pt x="10447" y="12947"/>
                    <a:pt x="10432" y="12903"/>
                    <a:pt x="10415" y="12854"/>
                  </a:cubicBezTo>
                  <a:close/>
                  <a:moveTo>
                    <a:pt x="10588" y="12948"/>
                  </a:moveTo>
                  <a:cubicBezTo>
                    <a:pt x="10590" y="12954"/>
                    <a:pt x="10591" y="12959"/>
                    <a:pt x="10593" y="12963"/>
                  </a:cubicBezTo>
                  <a:cubicBezTo>
                    <a:pt x="10552" y="12976"/>
                    <a:pt x="10510" y="12990"/>
                    <a:pt x="10466" y="13004"/>
                  </a:cubicBezTo>
                  <a:cubicBezTo>
                    <a:pt x="10465" y="13001"/>
                    <a:pt x="10464" y="12996"/>
                    <a:pt x="10461" y="12988"/>
                  </a:cubicBezTo>
                  <a:lnTo>
                    <a:pt x="10588" y="12948"/>
                  </a:lnTo>
                  <a:close/>
                  <a:moveTo>
                    <a:pt x="10555" y="12809"/>
                  </a:moveTo>
                  <a:cubicBezTo>
                    <a:pt x="10679" y="12770"/>
                    <a:pt x="10679" y="12770"/>
                    <a:pt x="10679" y="12770"/>
                  </a:cubicBezTo>
                  <a:cubicBezTo>
                    <a:pt x="10696" y="12818"/>
                    <a:pt x="10711" y="12862"/>
                    <a:pt x="10721" y="12892"/>
                  </a:cubicBezTo>
                  <a:cubicBezTo>
                    <a:pt x="10597" y="12932"/>
                    <a:pt x="10597" y="12932"/>
                    <a:pt x="10597" y="12932"/>
                  </a:cubicBezTo>
                  <a:cubicBezTo>
                    <a:pt x="10586" y="12900"/>
                    <a:pt x="10571" y="12856"/>
                    <a:pt x="10555" y="12809"/>
                  </a:cubicBezTo>
                  <a:close/>
                  <a:moveTo>
                    <a:pt x="10725" y="12905"/>
                  </a:moveTo>
                  <a:cubicBezTo>
                    <a:pt x="10727" y="12910"/>
                    <a:pt x="10729" y="12915"/>
                    <a:pt x="10730" y="12919"/>
                  </a:cubicBezTo>
                  <a:cubicBezTo>
                    <a:pt x="10691" y="12931"/>
                    <a:pt x="10649" y="12945"/>
                    <a:pt x="10606" y="12959"/>
                  </a:cubicBezTo>
                  <a:cubicBezTo>
                    <a:pt x="10605" y="12954"/>
                    <a:pt x="10603" y="12949"/>
                    <a:pt x="10601" y="12944"/>
                  </a:cubicBezTo>
                  <a:lnTo>
                    <a:pt x="10725" y="12905"/>
                  </a:lnTo>
                  <a:close/>
                  <a:moveTo>
                    <a:pt x="10693" y="12766"/>
                  </a:moveTo>
                  <a:cubicBezTo>
                    <a:pt x="10807" y="12729"/>
                    <a:pt x="10807" y="12729"/>
                    <a:pt x="10807" y="12729"/>
                  </a:cubicBezTo>
                  <a:cubicBezTo>
                    <a:pt x="10845" y="12853"/>
                    <a:pt x="10845" y="12853"/>
                    <a:pt x="10845" y="12853"/>
                  </a:cubicBezTo>
                  <a:cubicBezTo>
                    <a:pt x="10734" y="12888"/>
                    <a:pt x="10734" y="12888"/>
                    <a:pt x="10734" y="12888"/>
                  </a:cubicBezTo>
                  <a:cubicBezTo>
                    <a:pt x="10724" y="12858"/>
                    <a:pt x="10709" y="12814"/>
                    <a:pt x="10693" y="12766"/>
                  </a:cubicBezTo>
                  <a:close/>
                  <a:moveTo>
                    <a:pt x="10861" y="12862"/>
                  </a:moveTo>
                  <a:cubicBezTo>
                    <a:pt x="10818" y="12719"/>
                    <a:pt x="10818" y="12719"/>
                    <a:pt x="10818" y="12719"/>
                  </a:cubicBezTo>
                  <a:cubicBezTo>
                    <a:pt x="10816" y="12713"/>
                    <a:pt x="10816" y="12713"/>
                    <a:pt x="10816" y="12713"/>
                  </a:cubicBezTo>
                  <a:cubicBezTo>
                    <a:pt x="10688" y="12753"/>
                    <a:pt x="10688" y="12753"/>
                    <a:pt x="10688" y="12753"/>
                  </a:cubicBezTo>
                  <a:cubicBezTo>
                    <a:pt x="10686" y="12746"/>
                    <a:pt x="10684" y="12740"/>
                    <a:pt x="10681" y="12733"/>
                  </a:cubicBezTo>
                  <a:cubicBezTo>
                    <a:pt x="10648" y="12635"/>
                    <a:pt x="10614" y="12532"/>
                    <a:pt x="10612" y="12522"/>
                  </a:cubicBezTo>
                  <a:cubicBezTo>
                    <a:pt x="10610" y="12523"/>
                    <a:pt x="10610" y="12523"/>
                    <a:pt x="10610" y="12523"/>
                  </a:cubicBezTo>
                  <a:cubicBezTo>
                    <a:pt x="10606" y="12523"/>
                    <a:pt x="10606" y="12523"/>
                    <a:pt x="10606" y="12523"/>
                  </a:cubicBezTo>
                  <a:cubicBezTo>
                    <a:pt x="10612" y="12524"/>
                    <a:pt x="10612" y="12524"/>
                    <a:pt x="10612" y="12524"/>
                  </a:cubicBezTo>
                  <a:cubicBezTo>
                    <a:pt x="10606" y="12523"/>
                    <a:pt x="10606" y="12523"/>
                    <a:pt x="10606" y="12523"/>
                  </a:cubicBezTo>
                  <a:cubicBezTo>
                    <a:pt x="10609" y="12528"/>
                    <a:pt x="10609" y="12528"/>
                    <a:pt x="10609" y="12528"/>
                  </a:cubicBezTo>
                  <a:cubicBezTo>
                    <a:pt x="10605" y="12523"/>
                    <a:pt x="10605" y="12523"/>
                    <a:pt x="10605" y="12523"/>
                  </a:cubicBezTo>
                  <a:cubicBezTo>
                    <a:pt x="10601" y="12527"/>
                    <a:pt x="10601" y="12527"/>
                    <a:pt x="10601" y="12527"/>
                  </a:cubicBezTo>
                  <a:cubicBezTo>
                    <a:pt x="10610" y="12518"/>
                    <a:pt x="10610" y="12518"/>
                    <a:pt x="10610" y="12518"/>
                  </a:cubicBezTo>
                  <a:cubicBezTo>
                    <a:pt x="10609" y="12516"/>
                    <a:pt x="10604" y="12515"/>
                    <a:pt x="10602" y="12517"/>
                  </a:cubicBezTo>
                  <a:cubicBezTo>
                    <a:pt x="10600" y="12518"/>
                    <a:pt x="10600" y="12519"/>
                    <a:pt x="10599" y="12519"/>
                  </a:cubicBezTo>
                  <a:cubicBezTo>
                    <a:pt x="10599" y="12521"/>
                    <a:pt x="10599" y="12521"/>
                    <a:pt x="10599" y="12521"/>
                  </a:cubicBezTo>
                  <a:cubicBezTo>
                    <a:pt x="10598" y="12522"/>
                    <a:pt x="10598" y="12522"/>
                    <a:pt x="10598" y="12523"/>
                  </a:cubicBezTo>
                  <a:cubicBezTo>
                    <a:pt x="10599" y="12530"/>
                    <a:pt x="10607" y="12554"/>
                    <a:pt x="10620" y="12593"/>
                  </a:cubicBezTo>
                  <a:cubicBezTo>
                    <a:pt x="10633" y="12632"/>
                    <a:pt x="10650" y="12682"/>
                    <a:pt x="10667" y="12732"/>
                  </a:cubicBezTo>
                  <a:cubicBezTo>
                    <a:pt x="10669" y="12741"/>
                    <a:pt x="10672" y="12749"/>
                    <a:pt x="10675" y="12757"/>
                  </a:cubicBezTo>
                  <a:cubicBezTo>
                    <a:pt x="10551" y="12797"/>
                    <a:pt x="10551" y="12797"/>
                    <a:pt x="10551" y="12797"/>
                  </a:cubicBezTo>
                  <a:cubicBezTo>
                    <a:pt x="10549" y="12792"/>
                    <a:pt x="10548" y="12787"/>
                    <a:pt x="10546" y="12782"/>
                  </a:cubicBezTo>
                  <a:cubicBezTo>
                    <a:pt x="10513" y="12684"/>
                    <a:pt x="10479" y="12581"/>
                    <a:pt x="10477" y="12572"/>
                  </a:cubicBezTo>
                  <a:cubicBezTo>
                    <a:pt x="10475" y="12572"/>
                    <a:pt x="10475" y="12572"/>
                    <a:pt x="10475" y="12572"/>
                  </a:cubicBezTo>
                  <a:cubicBezTo>
                    <a:pt x="10471" y="12572"/>
                    <a:pt x="10471" y="12572"/>
                    <a:pt x="10471" y="12572"/>
                  </a:cubicBezTo>
                  <a:cubicBezTo>
                    <a:pt x="10477" y="12573"/>
                    <a:pt x="10477" y="12573"/>
                    <a:pt x="10477" y="12573"/>
                  </a:cubicBezTo>
                  <a:cubicBezTo>
                    <a:pt x="10470" y="12572"/>
                    <a:pt x="10470" y="12572"/>
                    <a:pt x="10470" y="12572"/>
                  </a:cubicBezTo>
                  <a:cubicBezTo>
                    <a:pt x="10470" y="12572"/>
                    <a:pt x="10470" y="12572"/>
                    <a:pt x="10470" y="12572"/>
                  </a:cubicBezTo>
                  <a:cubicBezTo>
                    <a:pt x="10475" y="12567"/>
                    <a:pt x="10475" y="12567"/>
                    <a:pt x="10475" y="12567"/>
                  </a:cubicBezTo>
                  <a:cubicBezTo>
                    <a:pt x="10474" y="12565"/>
                    <a:pt x="10468" y="12564"/>
                    <a:pt x="10466" y="12566"/>
                  </a:cubicBezTo>
                  <a:cubicBezTo>
                    <a:pt x="10464" y="12567"/>
                    <a:pt x="10464" y="12568"/>
                    <a:pt x="10464" y="12569"/>
                  </a:cubicBezTo>
                  <a:cubicBezTo>
                    <a:pt x="10463" y="12570"/>
                    <a:pt x="10463" y="12570"/>
                    <a:pt x="10463" y="12570"/>
                  </a:cubicBezTo>
                  <a:cubicBezTo>
                    <a:pt x="10463" y="12571"/>
                    <a:pt x="10463" y="12572"/>
                    <a:pt x="10463" y="12572"/>
                  </a:cubicBezTo>
                  <a:cubicBezTo>
                    <a:pt x="10463" y="12579"/>
                    <a:pt x="10472" y="12603"/>
                    <a:pt x="10484" y="12643"/>
                  </a:cubicBezTo>
                  <a:cubicBezTo>
                    <a:pt x="10497" y="12681"/>
                    <a:pt x="10514" y="12732"/>
                    <a:pt x="10531" y="12782"/>
                  </a:cubicBezTo>
                  <a:cubicBezTo>
                    <a:pt x="10533" y="12788"/>
                    <a:pt x="10535" y="12795"/>
                    <a:pt x="10538" y="12801"/>
                  </a:cubicBezTo>
                  <a:cubicBezTo>
                    <a:pt x="10411" y="12841"/>
                    <a:pt x="10411" y="12841"/>
                    <a:pt x="10411" y="12841"/>
                  </a:cubicBezTo>
                  <a:cubicBezTo>
                    <a:pt x="10408" y="12832"/>
                    <a:pt x="10404" y="12822"/>
                    <a:pt x="10401" y="12813"/>
                  </a:cubicBezTo>
                  <a:cubicBezTo>
                    <a:pt x="10368" y="12715"/>
                    <a:pt x="10334" y="12612"/>
                    <a:pt x="10332" y="12602"/>
                  </a:cubicBezTo>
                  <a:cubicBezTo>
                    <a:pt x="10330" y="12603"/>
                    <a:pt x="10330" y="12603"/>
                    <a:pt x="10330" y="12603"/>
                  </a:cubicBezTo>
                  <a:cubicBezTo>
                    <a:pt x="10326" y="12603"/>
                    <a:pt x="10326" y="12603"/>
                    <a:pt x="10326" y="12603"/>
                  </a:cubicBezTo>
                  <a:cubicBezTo>
                    <a:pt x="10332" y="12604"/>
                    <a:pt x="10332" y="12604"/>
                    <a:pt x="10332" y="12604"/>
                  </a:cubicBezTo>
                  <a:cubicBezTo>
                    <a:pt x="10325" y="12603"/>
                    <a:pt x="10325" y="12603"/>
                    <a:pt x="10325" y="12603"/>
                  </a:cubicBezTo>
                  <a:cubicBezTo>
                    <a:pt x="10329" y="12609"/>
                    <a:pt x="10329" y="12609"/>
                    <a:pt x="10329" y="12609"/>
                  </a:cubicBezTo>
                  <a:cubicBezTo>
                    <a:pt x="10325" y="12603"/>
                    <a:pt x="10325" y="12603"/>
                    <a:pt x="10325" y="12603"/>
                  </a:cubicBezTo>
                  <a:cubicBezTo>
                    <a:pt x="10326" y="12602"/>
                    <a:pt x="10326" y="12602"/>
                    <a:pt x="10326" y="12602"/>
                  </a:cubicBezTo>
                  <a:cubicBezTo>
                    <a:pt x="10741" y="12472"/>
                    <a:pt x="10741" y="12472"/>
                    <a:pt x="10741" y="12472"/>
                  </a:cubicBezTo>
                  <a:cubicBezTo>
                    <a:pt x="10743" y="12482"/>
                    <a:pt x="10751" y="12504"/>
                    <a:pt x="10762" y="12538"/>
                  </a:cubicBezTo>
                  <a:cubicBezTo>
                    <a:pt x="10774" y="12577"/>
                    <a:pt x="10791" y="12627"/>
                    <a:pt x="10808" y="12677"/>
                  </a:cubicBezTo>
                  <a:cubicBezTo>
                    <a:pt x="10838" y="12766"/>
                    <a:pt x="10868" y="12854"/>
                    <a:pt x="10875" y="12872"/>
                  </a:cubicBezTo>
                  <a:cubicBezTo>
                    <a:pt x="10835" y="12885"/>
                    <a:pt x="10791" y="12899"/>
                    <a:pt x="10743" y="12914"/>
                  </a:cubicBezTo>
                  <a:cubicBezTo>
                    <a:pt x="10742" y="12911"/>
                    <a:pt x="10740" y="12906"/>
                    <a:pt x="10739" y="12901"/>
                  </a:cubicBezTo>
                  <a:lnTo>
                    <a:pt x="10861" y="12862"/>
                  </a:lnTo>
                  <a:close/>
                  <a:moveTo>
                    <a:pt x="10823" y="12677"/>
                  </a:moveTo>
                  <a:cubicBezTo>
                    <a:pt x="10790" y="12581"/>
                    <a:pt x="10757" y="12480"/>
                    <a:pt x="10754" y="12468"/>
                  </a:cubicBezTo>
                  <a:cubicBezTo>
                    <a:pt x="10977" y="12398"/>
                    <a:pt x="10977" y="12398"/>
                    <a:pt x="10977" y="12398"/>
                  </a:cubicBezTo>
                  <a:cubicBezTo>
                    <a:pt x="11115" y="12795"/>
                    <a:pt x="11115" y="12795"/>
                    <a:pt x="11115" y="12795"/>
                  </a:cubicBezTo>
                  <a:cubicBezTo>
                    <a:pt x="11094" y="12802"/>
                    <a:pt x="11010" y="12829"/>
                    <a:pt x="10888" y="12868"/>
                  </a:cubicBezTo>
                  <a:cubicBezTo>
                    <a:pt x="10882" y="12851"/>
                    <a:pt x="10853" y="12766"/>
                    <a:pt x="10823" y="12677"/>
                  </a:cubicBezTo>
                  <a:close/>
                  <a:moveTo>
                    <a:pt x="10903" y="11984"/>
                  </a:moveTo>
                  <a:cubicBezTo>
                    <a:pt x="11006" y="11950"/>
                    <a:pt x="11109" y="11917"/>
                    <a:pt x="11208" y="11884"/>
                  </a:cubicBezTo>
                  <a:cubicBezTo>
                    <a:pt x="11353" y="12264"/>
                    <a:pt x="11353" y="12264"/>
                    <a:pt x="11353" y="12264"/>
                  </a:cubicBezTo>
                  <a:cubicBezTo>
                    <a:pt x="11035" y="12365"/>
                    <a:pt x="11035" y="12365"/>
                    <a:pt x="11035" y="12365"/>
                  </a:cubicBezTo>
                  <a:lnTo>
                    <a:pt x="10903" y="11984"/>
                  </a:lnTo>
                  <a:close/>
                  <a:moveTo>
                    <a:pt x="11221" y="11880"/>
                  </a:moveTo>
                  <a:cubicBezTo>
                    <a:pt x="11342" y="11840"/>
                    <a:pt x="11456" y="11803"/>
                    <a:pt x="11554" y="11771"/>
                  </a:cubicBezTo>
                  <a:cubicBezTo>
                    <a:pt x="11700" y="12153"/>
                    <a:pt x="11700" y="12153"/>
                    <a:pt x="11700" y="12153"/>
                  </a:cubicBezTo>
                  <a:cubicBezTo>
                    <a:pt x="11366" y="12260"/>
                    <a:pt x="11366" y="12260"/>
                    <a:pt x="11366" y="12260"/>
                  </a:cubicBezTo>
                  <a:lnTo>
                    <a:pt x="11221" y="11880"/>
                  </a:lnTo>
                  <a:close/>
                  <a:moveTo>
                    <a:pt x="11567" y="11767"/>
                  </a:moveTo>
                  <a:cubicBezTo>
                    <a:pt x="11699" y="11724"/>
                    <a:pt x="11800" y="11691"/>
                    <a:pt x="11846" y="11676"/>
                  </a:cubicBezTo>
                  <a:cubicBezTo>
                    <a:pt x="11873" y="11733"/>
                    <a:pt x="11942" y="11880"/>
                    <a:pt x="12015" y="12032"/>
                  </a:cubicBezTo>
                  <a:cubicBezTo>
                    <a:pt x="12018" y="12038"/>
                    <a:pt x="12020" y="12044"/>
                    <a:pt x="12023" y="12050"/>
                  </a:cubicBezTo>
                  <a:cubicBezTo>
                    <a:pt x="11714" y="12149"/>
                    <a:pt x="11714" y="12149"/>
                    <a:pt x="11714" y="12149"/>
                  </a:cubicBezTo>
                  <a:lnTo>
                    <a:pt x="11567" y="11767"/>
                  </a:lnTo>
                  <a:close/>
                  <a:moveTo>
                    <a:pt x="11907" y="11652"/>
                  </a:moveTo>
                  <a:cubicBezTo>
                    <a:pt x="11936" y="11638"/>
                    <a:pt x="11981" y="11612"/>
                    <a:pt x="12038" y="11567"/>
                  </a:cubicBezTo>
                  <a:cubicBezTo>
                    <a:pt x="12053" y="11556"/>
                    <a:pt x="12078" y="11534"/>
                    <a:pt x="12109" y="11505"/>
                  </a:cubicBezTo>
                  <a:cubicBezTo>
                    <a:pt x="12120" y="11510"/>
                    <a:pt x="12134" y="11518"/>
                    <a:pt x="12151" y="11528"/>
                  </a:cubicBezTo>
                  <a:cubicBezTo>
                    <a:pt x="12187" y="11548"/>
                    <a:pt x="12235" y="11576"/>
                    <a:pt x="12282" y="11603"/>
                  </a:cubicBezTo>
                  <a:cubicBezTo>
                    <a:pt x="12358" y="11647"/>
                    <a:pt x="12432" y="11691"/>
                    <a:pt x="12458" y="11706"/>
                  </a:cubicBezTo>
                  <a:cubicBezTo>
                    <a:pt x="12407" y="11831"/>
                    <a:pt x="12407" y="11831"/>
                    <a:pt x="12407" y="11831"/>
                  </a:cubicBezTo>
                  <a:cubicBezTo>
                    <a:pt x="12084" y="12024"/>
                    <a:pt x="12084" y="12024"/>
                    <a:pt x="12084" y="12024"/>
                  </a:cubicBezTo>
                  <a:cubicBezTo>
                    <a:pt x="12010" y="11869"/>
                    <a:pt x="11937" y="11715"/>
                    <a:pt x="11907" y="11652"/>
                  </a:cubicBezTo>
                  <a:close/>
                  <a:moveTo>
                    <a:pt x="12120" y="11495"/>
                  </a:moveTo>
                  <a:cubicBezTo>
                    <a:pt x="12179" y="11440"/>
                    <a:pt x="12258" y="11363"/>
                    <a:pt x="12340" y="11284"/>
                  </a:cubicBezTo>
                  <a:cubicBezTo>
                    <a:pt x="12345" y="11291"/>
                    <a:pt x="12351" y="11299"/>
                    <a:pt x="12358" y="11308"/>
                  </a:cubicBezTo>
                  <a:cubicBezTo>
                    <a:pt x="12377" y="11336"/>
                    <a:pt x="12401" y="11373"/>
                    <a:pt x="12426" y="11410"/>
                  </a:cubicBezTo>
                  <a:cubicBezTo>
                    <a:pt x="12468" y="11474"/>
                    <a:pt x="12510" y="11539"/>
                    <a:pt x="12519" y="11553"/>
                  </a:cubicBezTo>
                  <a:cubicBezTo>
                    <a:pt x="12463" y="11693"/>
                    <a:pt x="12463" y="11693"/>
                    <a:pt x="12463" y="11693"/>
                  </a:cubicBezTo>
                  <a:cubicBezTo>
                    <a:pt x="12409" y="11662"/>
                    <a:pt x="12196" y="11536"/>
                    <a:pt x="12120" y="11495"/>
                  </a:cubicBezTo>
                  <a:close/>
                  <a:moveTo>
                    <a:pt x="12334" y="11199"/>
                  </a:moveTo>
                  <a:cubicBezTo>
                    <a:pt x="11729" y="10439"/>
                    <a:pt x="11729" y="10439"/>
                    <a:pt x="11729" y="10439"/>
                  </a:cubicBezTo>
                  <a:cubicBezTo>
                    <a:pt x="11748" y="10426"/>
                    <a:pt x="11775" y="10405"/>
                    <a:pt x="11819" y="10367"/>
                  </a:cubicBezTo>
                  <a:cubicBezTo>
                    <a:pt x="11854" y="10336"/>
                    <a:pt x="11885" y="10329"/>
                    <a:pt x="11912" y="10329"/>
                  </a:cubicBezTo>
                  <a:cubicBezTo>
                    <a:pt x="11943" y="10329"/>
                    <a:pt x="11968" y="10341"/>
                    <a:pt x="11975" y="10344"/>
                  </a:cubicBezTo>
                  <a:cubicBezTo>
                    <a:pt x="12636" y="10902"/>
                    <a:pt x="12636" y="10902"/>
                    <a:pt x="12636" y="10902"/>
                  </a:cubicBezTo>
                  <a:cubicBezTo>
                    <a:pt x="12595" y="10942"/>
                    <a:pt x="12481" y="11055"/>
                    <a:pt x="12359" y="11174"/>
                  </a:cubicBezTo>
                  <a:cubicBezTo>
                    <a:pt x="12350" y="11182"/>
                    <a:pt x="12342" y="11191"/>
                    <a:pt x="12334" y="11199"/>
                  </a:cubicBezTo>
                  <a:close/>
                  <a:moveTo>
                    <a:pt x="12286" y="11245"/>
                  </a:moveTo>
                  <a:cubicBezTo>
                    <a:pt x="12158" y="11370"/>
                    <a:pt x="12034" y="11487"/>
                    <a:pt x="11998" y="11516"/>
                  </a:cubicBezTo>
                  <a:cubicBezTo>
                    <a:pt x="11918" y="11578"/>
                    <a:pt x="11864" y="11600"/>
                    <a:pt x="11854" y="11604"/>
                  </a:cubicBezTo>
                  <a:cubicBezTo>
                    <a:pt x="11853" y="11604"/>
                    <a:pt x="11852" y="11604"/>
                    <a:pt x="11853" y="11604"/>
                  </a:cubicBezTo>
                  <a:cubicBezTo>
                    <a:pt x="11852" y="11604"/>
                    <a:pt x="11754" y="11637"/>
                    <a:pt x="11602" y="11687"/>
                  </a:cubicBezTo>
                  <a:cubicBezTo>
                    <a:pt x="11449" y="11736"/>
                    <a:pt x="11243" y="11804"/>
                    <a:pt x="11028" y="11874"/>
                  </a:cubicBezTo>
                  <a:cubicBezTo>
                    <a:pt x="10973" y="11892"/>
                    <a:pt x="10916" y="11911"/>
                    <a:pt x="10860" y="11929"/>
                  </a:cubicBezTo>
                  <a:cubicBezTo>
                    <a:pt x="10746" y="11560"/>
                    <a:pt x="10746" y="11560"/>
                    <a:pt x="10746" y="11560"/>
                  </a:cubicBezTo>
                  <a:cubicBezTo>
                    <a:pt x="10585" y="11591"/>
                    <a:pt x="10585" y="11591"/>
                    <a:pt x="10585" y="11591"/>
                  </a:cubicBezTo>
                  <a:cubicBezTo>
                    <a:pt x="10576" y="11572"/>
                    <a:pt x="10545" y="11506"/>
                    <a:pt x="10541" y="11498"/>
                  </a:cubicBezTo>
                  <a:cubicBezTo>
                    <a:pt x="10541" y="11498"/>
                    <a:pt x="10541" y="11498"/>
                    <a:pt x="10541" y="11498"/>
                  </a:cubicBezTo>
                  <a:cubicBezTo>
                    <a:pt x="10541" y="11497"/>
                    <a:pt x="10540" y="11496"/>
                    <a:pt x="10539" y="11495"/>
                  </a:cubicBezTo>
                  <a:cubicBezTo>
                    <a:pt x="10538" y="11494"/>
                    <a:pt x="10536" y="11493"/>
                    <a:pt x="10535" y="11493"/>
                  </a:cubicBezTo>
                  <a:cubicBezTo>
                    <a:pt x="10534" y="11493"/>
                    <a:pt x="10533" y="11493"/>
                    <a:pt x="10532" y="11493"/>
                  </a:cubicBezTo>
                  <a:cubicBezTo>
                    <a:pt x="10532" y="11493"/>
                    <a:pt x="10532" y="11493"/>
                    <a:pt x="10532" y="11493"/>
                  </a:cubicBezTo>
                  <a:cubicBezTo>
                    <a:pt x="10531" y="11494"/>
                    <a:pt x="10531" y="11494"/>
                    <a:pt x="10530" y="11494"/>
                  </a:cubicBezTo>
                  <a:cubicBezTo>
                    <a:pt x="10530" y="11495"/>
                    <a:pt x="10529" y="11495"/>
                    <a:pt x="10529" y="11496"/>
                  </a:cubicBezTo>
                  <a:cubicBezTo>
                    <a:pt x="10528" y="11496"/>
                    <a:pt x="10527" y="11497"/>
                    <a:pt x="10525" y="11497"/>
                  </a:cubicBezTo>
                  <a:cubicBezTo>
                    <a:pt x="10520" y="11499"/>
                    <a:pt x="10513" y="11502"/>
                    <a:pt x="10504" y="11505"/>
                  </a:cubicBezTo>
                  <a:cubicBezTo>
                    <a:pt x="10487" y="11511"/>
                    <a:pt x="10462" y="11520"/>
                    <a:pt x="10431" y="11530"/>
                  </a:cubicBezTo>
                  <a:cubicBezTo>
                    <a:pt x="10371" y="11551"/>
                    <a:pt x="10290" y="11578"/>
                    <a:pt x="10209" y="11604"/>
                  </a:cubicBezTo>
                  <a:cubicBezTo>
                    <a:pt x="10047" y="11657"/>
                    <a:pt x="9886" y="11709"/>
                    <a:pt x="9886" y="11709"/>
                  </a:cubicBezTo>
                  <a:cubicBezTo>
                    <a:pt x="9879" y="11711"/>
                    <a:pt x="9879" y="11711"/>
                    <a:pt x="9879" y="11711"/>
                  </a:cubicBezTo>
                  <a:cubicBezTo>
                    <a:pt x="9975" y="12032"/>
                    <a:pt x="9975" y="12032"/>
                    <a:pt x="9975" y="12032"/>
                  </a:cubicBezTo>
                  <a:cubicBezTo>
                    <a:pt x="9812" y="12105"/>
                    <a:pt x="9812" y="12105"/>
                    <a:pt x="9812" y="12105"/>
                  </a:cubicBezTo>
                  <a:cubicBezTo>
                    <a:pt x="9811" y="12107"/>
                    <a:pt x="9811" y="12107"/>
                    <a:pt x="9811" y="12107"/>
                  </a:cubicBezTo>
                  <a:cubicBezTo>
                    <a:pt x="9811" y="12108"/>
                    <a:pt x="9781" y="12186"/>
                    <a:pt x="9776" y="12225"/>
                  </a:cubicBezTo>
                  <a:cubicBezTo>
                    <a:pt x="9643" y="12210"/>
                    <a:pt x="9529" y="12154"/>
                    <a:pt x="9485" y="12130"/>
                  </a:cubicBezTo>
                  <a:cubicBezTo>
                    <a:pt x="10675" y="9608"/>
                    <a:pt x="10675" y="9608"/>
                    <a:pt x="10675" y="9608"/>
                  </a:cubicBezTo>
                  <a:cubicBezTo>
                    <a:pt x="10742" y="9653"/>
                    <a:pt x="10898" y="9756"/>
                    <a:pt x="11049" y="9855"/>
                  </a:cubicBezTo>
                  <a:cubicBezTo>
                    <a:pt x="11148" y="9920"/>
                    <a:pt x="11228" y="9979"/>
                    <a:pt x="11283" y="10021"/>
                  </a:cubicBezTo>
                  <a:cubicBezTo>
                    <a:pt x="11329" y="10057"/>
                    <a:pt x="11358" y="10080"/>
                    <a:pt x="11366" y="10087"/>
                  </a:cubicBezTo>
                  <a:lnTo>
                    <a:pt x="12286" y="11245"/>
                  </a:lnTo>
                  <a:close/>
                  <a:moveTo>
                    <a:pt x="12572" y="14349"/>
                  </a:moveTo>
                  <a:cubicBezTo>
                    <a:pt x="12426" y="14322"/>
                    <a:pt x="11990" y="14243"/>
                    <a:pt x="11822" y="14218"/>
                  </a:cubicBezTo>
                  <a:cubicBezTo>
                    <a:pt x="11810" y="14216"/>
                    <a:pt x="11798" y="14215"/>
                    <a:pt x="11787" y="14215"/>
                  </a:cubicBezTo>
                  <a:cubicBezTo>
                    <a:pt x="11736" y="14215"/>
                    <a:pt x="11693" y="14234"/>
                    <a:pt x="11663" y="14262"/>
                  </a:cubicBezTo>
                  <a:cubicBezTo>
                    <a:pt x="11632" y="14290"/>
                    <a:pt x="11613" y="14325"/>
                    <a:pt x="11599" y="14359"/>
                  </a:cubicBezTo>
                  <a:cubicBezTo>
                    <a:pt x="11572" y="14427"/>
                    <a:pt x="11570" y="14492"/>
                    <a:pt x="11570" y="14494"/>
                  </a:cubicBezTo>
                  <a:cubicBezTo>
                    <a:pt x="11569" y="14495"/>
                    <a:pt x="11569" y="14495"/>
                    <a:pt x="11569" y="14495"/>
                  </a:cubicBezTo>
                  <a:cubicBezTo>
                    <a:pt x="11593" y="14911"/>
                    <a:pt x="11593" y="14911"/>
                    <a:pt x="11593" y="14911"/>
                  </a:cubicBezTo>
                  <a:cubicBezTo>
                    <a:pt x="11611" y="14920"/>
                    <a:pt x="11611" y="14920"/>
                    <a:pt x="11611" y="14920"/>
                  </a:cubicBezTo>
                  <a:cubicBezTo>
                    <a:pt x="11787" y="15001"/>
                    <a:pt x="11822" y="15106"/>
                    <a:pt x="11824" y="15195"/>
                  </a:cubicBezTo>
                  <a:cubicBezTo>
                    <a:pt x="11824" y="15271"/>
                    <a:pt x="11793" y="15336"/>
                    <a:pt x="11786" y="15349"/>
                  </a:cubicBezTo>
                  <a:cubicBezTo>
                    <a:pt x="11785" y="15351"/>
                    <a:pt x="11784" y="15351"/>
                    <a:pt x="11784" y="15351"/>
                  </a:cubicBezTo>
                  <a:cubicBezTo>
                    <a:pt x="11784" y="15352"/>
                    <a:pt x="11784" y="15352"/>
                    <a:pt x="11784" y="15352"/>
                  </a:cubicBezTo>
                  <a:cubicBezTo>
                    <a:pt x="11378" y="16129"/>
                    <a:pt x="11378" y="16129"/>
                    <a:pt x="11378" y="16129"/>
                  </a:cubicBezTo>
                  <a:cubicBezTo>
                    <a:pt x="11368" y="16121"/>
                    <a:pt x="11358" y="16113"/>
                    <a:pt x="11348" y="16106"/>
                  </a:cubicBezTo>
                  <a:cubicBezTo>
                    <a:pt x="11053" y="15893"/>
                    <a:pt x="10710" y="15656"/>
                    <a:pt x="10553" y="15535"/>
                  </a:cubicBezTo>
                  <a:cubicBezTo>
                    <a:pt x="10422" y="15435"/>
                    <a:pt x="10216" y="15277"/>
                    <a:pt x="10145" y="15223"/>
                  </a:cubicBezTo>
                  <a:cubicBezTo>
                    <a:pt x="10145" y="15221"/>
                    <a:pt x="10146" y="15219"/>
                    <a:pt x="10146" y="15218"/>
                  </a:cubicBezTo>
                  <a:cubicBezTo>
                    <a:pt x="10146" y="15214"/>
                    <a:pt x="10146" y="15210"/>
                    <a:pt x="10146" y="15206"/>
                  </a:cubicBezTo>
                  <a:cubicBezTo>
                    <a:pt x="10147" y="15196"/>
                    <a:pt x="10147" y="15183"/>
                    <a:pt x="10147" y="15166"/>
                  </a:cubicBezTo>
                  <a:cubicBezTo>
                    <a:pt x="10148" y="15132"/>
                    <a:pt x="10148" y="15084"/>
                    <a:pt x="10148" y="15026"/>
                  </a:cubicBezTo>
                  <a:cubicBezTo>
                    <a:pt x="10148" y="14678"/>
                    <a:pt x="10141" y="13977"/>
                    <a:pt x="10141" y="13977"/>
                  </a:cubicBezTo>
                  <a:cubicBezTo>
                    <a:pt x="10141" y="13976"/>
                    <a:pt x="10141" y="13976"/>
                    <a:pt x="10141" y="13976"/>
                  </a:cubicBezTo>
                  <a:cubicBezTo>
                    <a:pt x="10141" y="13975"/>
                    <a:pt x="10141" y="13975"/>
                    <a:pt x="10141" y="13975"/>
                  </a:cubicBezTo>
                  <a:cubicBezTo>
                    <a:pt x="10141" y="13972"/>
                    <a:pt x="10135" y="13903"/>
                    <a:pt x="10085" y="13832"/>
                  </a:cubicBezTo>
                  <a:cubicBezTo>
                    <a:pt x="10035" y="13761"/>
                    <a:pt x="9937" y="13691"/>
                    <a:pt x="9768" y="13692"/>
                  </a:cubicBezTo>
                  <a:cubicBezTo>
                    <a:pt x="9763" y="13692"/>
                    <a:pt x="9758" y="13692"/>
                    <a:pt x="9752" y="13692"/>
                  </a:cubicBezTo>
                  <a:cubicBezTo>
                    <a:pt x="9705" y="13693"/>
                    <a:pt x="9651" y="13694"/>
                    <a:pt x="9593" y="13693"/>
                  </a:cubicBezTo>
                  <a:cubicBezTo>
                    <a:pt x="9419" y="13694"/>
                    <a:pt x="9210" y="13689"/>
                    <a:pt x="9045" y="13685"/>
                  </a:cubicBezTo>
                  <a:cubicBezTo>
                    <a:pt x="9017" y="13684"/>
                    <a:pt x="8990" y="13683"/>
                    <a:pt x="8965" y="13682"/>
                  </a:cubicBezTo>
                  <a:cubicBezTo>
                    <a:pt x="9698" y="13433"/>
                    <a:pt x="9698" y="13433"/>
                    <a:pt x="9698" y="13433"/>
                  </a:cubicBezTo>
                  <a:cubicBezTo>
                    <a:pt x="11003" y="13005"/>
                    <a:pt x="11003" y="13005"/>
                    <a:pt x="11003" y="13005"/>
                  </a:cubicBezTo>
                  <a:cubicBezTo>
                    <a:pt x="11660" y="12821"/>
                    <a:pt x="11660" y="12821"/>
                    <a:pt x="11660" y="12821"/>
                  </a:cubicBezTo>
                  <a:cubicBezTo>
                    <a:pt x="11768" y="12945"/>
                    <a:pt x="12004" y="13169"/>
                    <a:pt x="12005" y="13169"/>
                  </a:cubicBezTo>
                  <a:cubicBezTo>
                    <a:pt x="12007" y="13172"/>
                    <a:pt x="12007" y="13172"/>
                    <a:pt x="12007" y="13172"/>
                  </a:cubicBezTo>
                  <a:cubicBezTo>
                    <a:pt x="12010" y="13173"/>
                    <a:pt x="12010" y="13173"/>
                    <a:pt x="12010" y="13173"/>
                  </a:cubicBezTo>
                  <a:cubicBezTo>
                    <a:pt x="12010" y="13173"/>
                    <a:pt x="12162" y="13269"/>
                    <a:pt x="12329" y="13370"/>
                  </a:cubicBezTo>
                  <a:cubicBezTo>
                    <a:pt x="12496" y="13472"/>
                    <a:pt x="12673" y="13578"/>
                    <a:pt x="12733" y="13605"/>
                  </a:cubicBezTo>
                  <a:cubicBezTo>
                    <a:pt x="12797" y="13634"/>
                    <a:pt x="12795" y="13655"/>
                    <a:pt x="12796" y="13661"/>
                  </a:cubicBezTo>
                  <a:cubicBezTo>
                    <a:pt x="12796" y="13663"/>
                    <a:pt x="12796" y="13665"/>
                    <a:pt x="12796" y="13666"/>
                  </a:cubicBezTo>
                  <a:cubicBezTo>
                    <a:pt x="12795" y="13667"/>
                    <a:pt x="12795" y="13667"/>
                    <a:pt x="12795" y="13667"/>
                  </a:cubicBezTo>
                  <a:cubicBezTo>
                    <a:pt x="12725" y="13867"/>
                    <a:pt x="12725" y="13867"/>
                    <a:pt x="12725" y="13867"/>
                  </a:cubicBezTo>
                  <a:cubicBezTo>
                    <a:pt x="12531" y="14165"/>
                    <a:pt x="12531" y="14165"/>
                    <a:pt x="12531" y="14165"/>
                  </a:cubicBezTo>
                  <a:lnTo>
                    <a:pt x="12572" y="14349"/>
                  </a:lnTo>
                  <a:close/>
                  <a:moveTo>
                    <a:pt x="9141" y="15967"/>
                  </a:moveTo>
                  <a:cubicBezTo>
                    <a:pt x="9135" y="15970"/>
                    <a:pt x="9135" y="15970"/>
                    <a:pt x="9135" y="15970"/>
                  </a:cubicBezTo>
                  <a:cubicBezTo>
                    <a:pt x="9116" y="15965"/>
                    <a:pt x="8992" y="15934"/>
                    <a:pt x="8866" y="15903"/>
                  </a:cubicBezTo>
                  <a:cubicBezTo>
                    <a:pt x="8765" y="15878"/>
                    <a:pt x="8665" y="15854"/>
                    <a:pt x="8616" y="15842"/>
                  </a:cubicBezTo>
                  <a:cubicBezTo>
                    <a:pt x="8620" y="15633"/>
                    <a:pt x="8625" y="15426"/>
                    <a:pt x="8627" y="15405"/>
                  </a:cubicBezTo>
                  <a:cubicBezTo>
                    <a:pt x="8640" y="15292"/>
                    <a:pt x="8699" y="15241"/>
                    <a:pt x="8759" y="15211"/>
                  </a:cubicBezTo>
                  <a:cubicBezTo>
                    <a:pt x="8819" y="15183"/>
                    <a:pt x="8879" y="15182"/>
                    <a:pt x="8887" y="15182"/>
                  </a:cubicBezTo>
                  <a:cubicBezTo>
                    <a:pt x="9482" y="15222"/>
                    <a:pt x="9482" y="15222"/>
                    <a:pt x="9482" y="15222"/>
                  </a:cubicBezTo>
                  <a:cubicBezTo>
                    <a:pt x="9512" y="15788"/>
                    <a:pt x="9512" y="15788"/>
                    <a:pt x="9512" y="15788"/>
                  </a:cubicBezTo>
                  <a:cubicBezTo>
                    <a:pt x="9148" y="15963"/>
                    <a:pt x="9148" y="15963"/>
                    <a:pt x="9148" y="15963"/>
                  </a:cubicBezTo>
                  <a:cubicBezTo>
                    <a:pt x="9147" y="15963"/>
                    <a:pt x="9147" y="15963"/>
                    <a:pt x="9145" y="15962"/>
                  </a:cubicBezTo>
                  <a:cubicBezTo>
                    <a:pt x="9144" y="15962"/>
                    <a:pt x="9141" y="15964"/>
                    <a:pt x="9140" y="15965"/>
                  </a:cubicBezTo>
                  <a:cubicBezTo>
                    <a:pt x="9140" y="15966"/>
                    <a:pt x="9139" y="15966"/>
                    <a:pt x="9139" y="15966"/>
                  </a:cubicBezTo>
                  <a:lnTo>
                    <a:pt x="9141" y="15967"/>
                  </a:lnTo>
                  <a:close/>
                  <a:moveTo>
                    <a:pt x="9496" y="15223"/>
                  </a:moveTo>
                  <a:cubicBezTo>
                    <a:pt x="10088" y="15262"/>
                    <a:pt x="10088" y="15262"/>
                    <a:pt x="10088" y="15262"/>
                  </a:cubicBezTo>
                  <a:cubicBezTo>
                    <a:pt x="10124" y="15290"/>
                    <a:pt x="10278" y="15407"/>
                    <a:pt x="10412" y="15510"/>
                  </a:cubicBezTo>
                  <a:cubicBezTo>
                    <a:pt x="10404" y="15523"/>
                    <a:pt x="10394" y="15540"/>
                    <a:pt x="10381" y="15560"/>
                  </a:cubicBezTo>
                  <a:cubicBezTo>
                    <a:pt x="10352" y="15608"/>
                    <a:pt x="10315" y="15671"/>
                    <a:pt x="10277" y="15733"/>
                  </a:cubicBezTo>
                  <a:cubicBezTo>
                    <a:pt x="10210" y="15845"/>
                    <a:pt x="10144" y="15955"/>
                    <a:pt x="10130" y="15979"/>
                  </a:cubicBezTo>
                  <a:cubicBezTo>
                    <a:pt x="9526" y="15787"/>
                    <a:pt x="9526" y="15787"/>
                    <a:pt x="9526" y="15787"/>
                  </a:cubicBezTo>
                  <a:lnTo>
                    <a:pt x="9496" y="15223"/>
                  </a:lnTo>
                  <a:close/>
                  <a:moveTo>
                    <a:pt x="10285" y="15746"/>
                  </a:moveTo>
                  <a:cubicBezTo>
                    <a:pt x="10339" y="15656"/>
                    <a:pt x="10395" y="15565"/>
                    <a:pt x="10423" y="15518"/>
                  </a:cubicBezTo>
                  <a:cubicBezTo>
                    <a:pt x="10455" y="15543"/>
                    <a:pt x="10485" y="15566"/>
                    <a:pt x="10513" y="15587"/>
                  </a:cubicBezTo>
                  <a:cubicBezTo>
                    <a:pt x="10673" y="15710"/>
                    <a:pt x="11016" y="15947"/>
                    <a:pt x="11309" y="16159"/>
                  </a:cubicBezTo>
                  <a:cubicBezTo>
                    <a:pt x="11316" y="16164"/>
                    <a:pt x="11322" y="16168"/>
                    <a:pt x="11328" y="16173"/>
                  </a:cubicBezTo>
                  <a:cubicBezTo>
                    <a:pt x="11322" y="16178"/>
                    <a:pt x="11315" y="16184"/>
                    <a:pt x="11307" y="16190"/>
                  </a:cubicBezTo>
                  <a:cubicBezTo>
                    <a:pt x="11273" y="16216"/>
                    <a:pt x="11224" y="16254"/>
                    <a:pt x="11166" y="16298"/>
                  </a:cubicBezTo>
                  <a:cubicBezTo>
                    <a:pt x="11084" y="16362"/>
                    <a:pt x="10982" y="16442"/>
                    <a:pt x="10875" y="16525"/>
                  </a:cubicBezTo>
                  <a:cubicBezTo>
                    <a:pt x="10494" y="16363"/>
                    <a:pt x="10494" y="16363"/>
                    <a:pt x="10494" y="16363"/>
                  </a:cubicBezTo>
                  <a:cubicBezTo>
                    <a:pt x="10142" y="15986"/>
                    <a:pt x="10142" y="15986"/>
                    <a:pt x="10142" y="15986"/>
                  </a:cubicBezTo>
                  <a:cubicBezTo>
                    <a:pt x="10156" y="15964"/>
                    <a:pt x="10220" y="15856"/>
                    <a:pt x="10285" y="15746"/>
                  </a:cubicBezTo>
                  <a:close/>
                  <a:moveTo>
                    <a:pt x="9593" y="13759"/>
                  </a:moveTo>
                  <a:cubicBezTo>
                    <a:pt x="9651" y="13759"/>
                    <a:pt x="9706" y="13759"/>
                    <a:pt x="9754" y="13757"/>
                  </a:cubicBezTo>
                  <a:cubicBezTo>
                    <a:pt x="9759" y="13757"/>
                    <a:pt x="9764" y="13757"/>
                    <a:pt x="9768" y="13757"/>
                  </a:cubicBezTo>
                  <a:cubicBezTo>
                    <a:pt x="9901" y="13758"/>
                    <a:pt x="9972" y="13802"/>
                    <a:pt x="10015" y="13849"/>
                  </a:cubicBezTo>
                  <a:cubicBezTo>
                    <a:pt x="10058" y="13897"/>
                    <a:pt x="10071" y="13952"/>
                    <a:pt x="10074" y="13972"/>
                  </a:cubicBezTo>
                  <a:cubicBezTo>
                    <a:pt x="10075" y="13976"/>
                    <a:pt x="10075" y="13978"/>
                    <a:pt x="10075" y="13979"/>
                  </a:cubicBezTo>
                  <a:cubicBezTo>
                    <a:pt x="10076" y="13995"/>
                    <a:pt x="10077" y="14164"/>
                    <a:pt x="10079" y="14372"/>
                  </a:cubicBezTo>
                  <a:cubicBezTo>
                    <a:pt x="10081" y="14590"/>
                    <a:pt x="10082" y="14852"/>
                    <a:pt x="10082" y="15026"/>
                  </a:cubicBezTo>
                  <a:cubicBezTo>
                    <a:pt x="10082" y="15106"/>
                    <a:pt x="10082" y="15168"/>
                    <a:pt x="10081" y="15196"/>
                  </a:cubicBezTo>
                  <a:cubicBezTo>
                    <a:pt x="8890" y="15116"/>
                    <a:pt x="8890" y="15116"/>
                    <a:pt x="8890" y="15116"/>
                  </a:cubicBezTo>
                  <a:cubicBezTo>
                    <a:pt x="8890" y="15116"/>
                    <a:pt x="8889" y="15116"/>
                    <a:pt x="8887" y="15116"/>
                  </a:cubicBezTo>
                  <a:cubicBezTo>
                    <a:pt x="8880" y="15116"/>
                    <a:pt x="8842" y="15117"/>
                    <a:pt x="8794" y="15130"/>
                  </a:cubicBezTo>
                  <a:cubicBezTo>
                    <a:pt x="8797" y="15126"/>
                    <a:pt x="8797" y="15126"/>
                    <a:pt x="8797" y="15126"/>
                  </a:cubicBezTo>
                  <a:cubicBezTo>
                    <a:pt x="8796" y="15126"/>
                    <a:pt x="8606" y="14994"/>
                    <a:pt x="8388" y="14842"/>
                  </a:cubicBezTo>
                  <a:cubicBezTo>
                    <a:pt x="8170" y="14690"/>
                    <a:pt x="7925" y="14519"/>
                    <a:pt x="7817" y="14442"/>
                  </a:cubicBezTo>
                  <a:cubicBezTo>
                    <a:pt x="7802" y="14431"/>
                    <a:pt x="7788" y="14421"/>
                    <a:pt x="7779" y="14414"/>
                  </a:cubicBezTo>
                  <a:cubicBezTo>
                    <a:pt x="7779" y="14413"/>
                    <a:pt x="7780" y="14411"/>
                    <a:pt x="7780" y="14409"/>
                  </a:cubicBezTo>
                  <a:cubicBezTo>
                    <a:pt x="7782" y="14394"/>
                    <a:pt x="7783" y="14374"/>
                    <a:pt x="7785" y="14349"/>
                  </a:cubicBezTo>
                  <a:cubicBezTo>
                    <a:pt x="7788" y="14300"/>
                    <a:pt x="7791" y="14233"/>
                    <a:pt x="7795" y="14161"/>
                  </a:cubicBezTo>
                  <a:cubicBezTo>
                    <a:pt x="7802" y="14023"/>
                    <a:pt x="7813" y="13866"/>
                    <a:pt x="7829" y="13787"/>
                  </a:cubicBezTo>
                  <a:cubicBezTo>
                    <a:pt x="8671" y="13753"/>
                    <a:pt x="8671" y="13753"/>
                    <a:pt x="8671" y="13753"/>
                  </a:cubicBezTo>
                  <a:cubicBezTo>
                    <a:pt x="8759" y="13741"/>
                    <a:pt x="8759" y="13741"/>
                    <a:pt x="8759" y="13741"/>
                  </a:cubicBezTo>
                  <a:cubicBezTo>
                    <a:pt x="8801" y="13743"/>
                    <a:pt x="9258" y="13759"/>
                    <a:pt x="9593" y="13759"/>
                  </a:cubicBezTo>
                  <a:close/>
                  <a:moveTo>
                    <a:pt x="7226" y="15935"/>
                  </a:moveTo>
                  <a:cubicBezTo>
                    <a:pt x="7181" y="15575"/>
                    <a:pt x="7181" y="15575"/>
                    <a:pt x="7181" y="15575"/>
                  </a:cubicBezTo>
                  <a:cubicBezTo>
                    <a:pt x="7185" y="15574"/>
                    <a:pt x="7274" y="15554"/>
                    <a:pt x="7297" y="15548"/>
                  </a:cubicBezTo>
                  <a:cubicBezTo>
                    <a:pt x="7307" y="15564"/>
                    <a:pt x="7346" y="15624"/>
                    <a:pt x="7391" y="15693"/>
                  </a:cubicBezTo>
                  <a:cubicBezTo>
                    <a:pt x="7327" y="15694"/>
                    <a:pt x="7327" y="15694"/>
                    <a:pt x="7327" y="15694"/>
                  </a:cubicBezTo>
                  <a:cubicBezTo>
                    <a:pt x="7329" y="15876"/>
                    <a:pt x="7329" y="15876"/>
                    <a:pt x="7329" y="15876"/>
                  </a:cubicBezTo>
                  <a:cubicBezTo>
                    <a:pt x="7451" y="15876"/>
                    <a:pt x="7451" y="15876"/>
                    <a:pt x="7451" y="15876"/>
                  </a:cubicBezTo>
                  <a:cubicBezTo>
                    <a:pt x="7452" y="15786"/>
                    <a:pt x="7452" y="15786"/>
                    <a:pt x="7452" y="15786"/>
                  </a:cubicBezTo>
                  <a:cubicBezTo>
                    <a:pt x="7499" y="15857"/>
                    <a:pt x="7540" y="15919"/>
                    <a:pt x="7551" y="15931"/>
                  </a:cubicBezTo>
                  <a:cubicBezTo>
                    <a:pt x="7548" y="15937"/>
                    <a:pt x="7545" y="15943"/>
                    <a:pt x="7542" y="15950"/>
                  </a:cubicBezTo>
                  <a:cubicBezTo>
                    <a:pt x="7542" y="15944"/>
                    <a:pt x="7542" y="15944"/>
                    <a:pt x="7542" y="15944"/>
                  </a:cubicBezTo>
                  <a:lnTo>
                    <a:pt x="7226" y="15935"/>
                  </a:lnTo>
                  <a:close/>
                  <a:moveTo>
                    <a:pt x="6502" y="17054"/>
                  </a:moveTo>
                  <a:cubicBezTo>
                    <a:pt x="6497" y="17054"/>
                    <a:pt x="6448" y="17042"/>
                    <a:pt x="6402" y="17031"/>
                  </a:cubicBezTo>
                  <a:cubicBezTo>
                    <a:pt x="6355" y="17019"/>
                    <a:pt x="6311" y="17007"/>
                    <a:pt x="6302" y="17007"/>
                  </a:cubicBezTo>
                  <a:cubicBezTo>
                    <a:pt x="6302" y="17007"/>
                    <a:pt x="6302" y="17007"/>
                    <a:pt x="6302" y="17007"/>
                  </a:cubicBezTo>
                  <a:cubicBezTo>
                    <a:pt x="6302" y="17007"/>
                    <a:pt x="6300" y="17007"/>
                    <a:pt x="6299" y="17008"/>
                  </a:cubicBezTo>
                  <a:cubicBezTo>
                    <a:pt x="6294" y="17010"/>
                    <a:pt x="6250" y="17036"/>
                    <a:pt x="6241" y="17042"/>
                  </a:cubicBezTo>
                  <a:cubicBezTo>
                    <a:pt x="6053" y="17031"/>
                    <a:pt x="6053" y="17031"/>
                    <a:pt x="6053" y="17031"/>
                  </a:cubicBezTo>
                  <a:cubicBezTo>
                    <a:pt x="6054" y="16986"/>
                    <a:pt x="6054" y="16942"/>
                    <a:pt x="6054" y="16900"/>
                  </a:cubicBezTo>
                  <a:cubicBezTo>
                    <a:pt x="6054" y="16830"/>
                    <a:pt x="6053" y="16769"/>
                    <a:pt x="6052" y="16728"/>
                  </a:cubicBezTo>
                  <a:cubicBezTo>
                    <a:pt x="6054" y="16728"/>
                    <a:pt x="6056" y="16728"/>
                    <a:pt x="6058" y="16728"/>
                  </a:cubicBezTo>
                  <a:cubicBezTo>
                    <a:pt x="6100" y="16728"/>
                    <a:pt x="6164" y="16721"/>
                    <a:pt x="6220" y="16685"/>
                  </a:cubicBezTo>
                  <a:cubicBezTo>
                    <a:pt x="6523" y="16954"/>
                    <a:pt x="6523" y="16954"/>
                    <a:pt x="6523" y="16954"/>
                  </a:cubicBezTo>
                  <a:cubicBezTo>
                    <a:pt x="6523" y="16955"/>
                    <a:pt x="6523" y="16955"/>
                    <a:pt x="6523" y="16955"/>
                  </a:cubicBezTo>
                  <a:cubicBezTo>
                    <a:pt x="6523" y="16958"/>
                    <a:pt x="6522" y="16962"/>
                    <a:pt x="6521" y="16966"/>
                  </a:cubicBezTo>
                  <a:cubicBezTo>
                    <a:pt x="6519" y="16976"/>
                    <a:pt x="6516" y="16990"/>
                    <a:pt x="6513" y="17006"/>
                  </a:cubicBezTo>
                  <a:cubicBezTo>
                    <a:pt x="6510" y="17023"/>
                    <a:pt x="6506" y="17041"/>
                    <a:pt x="6503" y="17061"/>
                  </a:cubicBezTo>
                  <a:cubicBezTo>
                    <a:pt x="6501" y="17054"/>
                    <a:pt x="6501" y="17054"/>
                    <a:pt x="6501" y="17054"/>
                  </a:cubicBezTo>
                  <a:cubicBezTo>
                    <a:pt x="6502" y="17058"/>
                    <a:pt x="6502" y="17058"/>
                    <a:pt x="6502" y="17058"/>
                  </a:cubicBezTo>
                  <a:cubicBezTo>
                    <a:pt x="6502" y="17054"/>
                    <a:pt x="6502" y="17054"/>
                    <a:pt x="6502" y="17054"/>
                  </a:cubicBezTo>
                  <a:cubicBezTo>
                    <a:pt x="6502" y="17054"/>
                    <a:pt x="6502" y="17054"/>
                    <a:pt x="6502" y="17054"/>
                  </a:cubicBezTo>
                  <a:close/>
                  <a:moveTo>
                    <a:pt x="4730" y="15817"/>
                  </a:moveTo>
                  <a:cubicBezTo>
                    <a:pt x="4674" y="15519"/>
                    <a:pt x="4674" y="15519"/>
                    <a:pt x="4674" y="15519"/>
                  </a:cubicBezTo>
                  <a:cubicBezTo>
                    <a:pt x="4701" y="15503"/>
                    <a:pt x="4847" y="15413"/>
                    <a:pt x="4859" y="15402"/>
                  </a:cubicBezTo>
                  <a:cubicBezTo>
                    <a:pt x="4860" y="15401"/>
                    <a:pt x="4861" y="15403"/>
                    <a:pt x="4862" y="15397"/>
                  </a:cubicBezTo>
                  <a:cubicBezTo>
                    <a:pt x="4862" y="15395"/>
                    <a:pt x="4861" y="15392"/>
                    <a:pt x="4859" y="15391"/>
                  </a:cubicBezTo>
                  <a:cubicBezTo>
                    <a:pt x="4859" y="15390"/>
                    <a:pt x="4858" y="15389"/>
                    <a:pt x="4858" y="15387"/>
                  </a:cubicBezTo>
                  <a:cubicBezTo>
                    <a:pt x="4856" y="15384"/>
                    <a:pt x="4854" y="15378"/>
                    <a:pt x="4852" y="15371"/>
                  </a:cubicBezTo>
                  <a:cubicBezTo>
                    <a:pt x="4848" y="15356"/>
                    <a:pt x="4843" y="15337"/>
                    <a:pt x="4838" y="15318"/>
                  </a:cubicBezTo>
                  <a:cubicBezTo>
                    <a:pt x="4828" y="15281"/>
                    <a:pt x="4819" y="15244"/>
                    <a:pt x="4819" y="15242"/>
                  </a:cubicBezTo>
                  <a:cubicBezTo>
                    <a:pt x="4948" y="15169"/>
                    <a:pt x="5053" y="15112"/>
                    <a:pt x="5054" y="15111"/>
                  </a:cubicBezTo>
                  <a:cubicBezTo>
                    <a:pt x="5442" y="14833"/>
                    <a:pt x="5442" y="14833"/>
                    <a:pt x="5442" y="14833"/>
                  </a:cubicBezTo>
                  <a:cubicBezTo>
                    <a:pt x="5491" y="15177"/>
                    <a:pt x="5491" y="15177"/>
                    <a:pt x="5491" y="15177"/>
                  </a:cubicBezTo>
                  <a:cubicBezTo>
                    <a:pt x="5491" y="15549"/>
                    <a:pt x="5491" y="15549"/>
                    <a:pt x="5491" y="15549"/>
                  </a:cubicBezTo>
                  <a:cubicBezTo>
                    <a:pt x="5318" y="15601"/>
                    <a:pt x="5134" y="15656"/>
                    <a:pt x="5134" y="15656"/>
                  </a:cubicBezTo>
                  <a:cubicBezTo>
                    <a:pt x="5129" y="15658"/>
                    <a:pt x="5129" y="15658"/>
                    <a:pt x="5129" y="15658"/>
                  </a:cubicBezTo>
                  <a:cubicBezTo>
                    <a:pt x="5106" y="16094"/>
                    <a:pt x="5106" y="16094"/>
                    <a:pt x="5106" y="16094"/>
                  </a:cubicBezTo>
                  <a:cubicBezTo>
                    <a:pt x="4820" y="16096"/>
                    <a:pt x="4820" y="16096"/>
                    <a:pt x="4820" y="16096"/>
                  </a:cubicBezTo>
                  <a:cubicBezTo>
                    <a:pt x="4829" y="15838"/>
                    <a:pt x="4829" y="15838"/>
                    <a:pt x="4829" y="15838"/>
                  </a:cubicBezTo>
                  <a:lnTo>
                    <a:pt x="4730" y="15817"/>
                  </a:lnTo>
                  <a:close/>
                  <a:moveTo>
                    <a:pt x="4427" y="16959"/>
                  </a:moveTo>
                  <a:cubicBezTo>
                    <a:pt x="4430" y="16993"/>
                    <a:pt x="4430" y="17034"/>
                    <a:pt x="4432" y="17071"/>
                  </a:cubicBezTo>
                  <a:cubicBezTo>
                    <a:pt x="4432" y="17093"/>
                    <a:pt x="4433" y="17112"/>
                    <a:pt x="4435" y="17129"/>
                  </a:cubicBezTo>
                  <a:cubicBezTo>
                    <a:pt x="4378" y="17128"/>
                    <a:pt x="4324" y="17124"/>
                    <a:pt x="4279" y="17116"/>
                  </a:cubicBezTo>
                  <a:cubicBezTo>
                    <a:pt x="4211" y="17104"/>
                    <a:pt x="4149" y="17089"/>
                    <a:pt x="4105" y="17047"/>
                  </a:cubicBezTo>
                  <a:cubicBezTo>
                    <a:pt x="4062" y="17006"/>
                    <a:pt x="4028" y="16934"/>
                    <a:pt x="4028" y="16794"/>
                  </a:cubicBezTo>
                  <a:cubicBezTo>
                    <a:pt x="4028" y="16790"/>
                    <a:pt x="4028" y="16786"/>
                    <a:pt x="4028" y="16781"/>
                  </a:cubicBezTo>
                  <a:cubicBezTo>
                    <a:pt x="4030" y="16652"/>
                    <a:pt x="4044" y="16570"/>
                    <a:pt x="4059" y="16520"/>
                  </a:cubicBezTo>
                  <a:cubicBezTo>
                    <a:pt x="4074" y="16469"/>
                    <a:pt x="4088" y="16452"/>
                    <a:pt x="4094" y="16444"/>
                  </a:cubicBezTo>
                  <a:cubicBezTo>
                    <a:pt x="4095" y="16442"/>
                    <a:pt x="4096" y="16442"/>
                    <a:pt x="4098" y="16440"/>
                  </a:cubicBezTo>
                  <a:cubicBezTo>
                    <a:pt x="4098" y="16439"/>
                    <a:pt x="4098" y="16439"/>
                    <a:pt x="4098" y="16439"/>
                  </a:cubicBezTo>
                  <a:cubicBezTo>
                    <a:pt x="4101" y="16437"/>
                    <a:pt x="4105" y="16434"/>
                    <a:pt x="4111" y="16430"/>
                  </a:cubicBezTo>
                  <a:cubicBezTo>
                    <a:pt x="4122" y="16421"/>
                    <a:pt x="4138" y="16410"/>
                    <a:pt x="4156" y="16396"/>
                  </a:cubicBezTo>
                  <a:cubicBezTo>
                    <a:pt x="4194" y="16369"/>
                    <a:pt x="4244" y="16334"/>
                    <a:pt x="4293" y="16299"/>
                  </a:cubicBezTo>
                  <a:cubicBezTo>
                    <a:pt x="4355" y="16255"/>
                    <a:pt x="4416" y="16212"/>
                    <a:pt x="4454" y="16185"/>
                  </a:cubicBezTo>
                  <a:cubicBezTo>
                    <a:pt x="4460" y="16194"/>
                    <a:pt x="4467" y="16205"/>
                    <a:pt x="4474" y="16219"/>
                  </a:cubicBezTo>
                  <a:cubicBezTo>
                    <a:pt x="4493" y="16257"/>
                    <a:pt x="4513" y="16314"/>
                    <a:pt x="4513" y="16392"/>
                  </a:cubicBezTo>
                  <a:cubicBezTo>
                    <a:pt x="4513" y="16432"/>
                    <a:pt x="4508" y="16477"/>
                    <a:pt x="4494" y="16528"/>
                  </a:cubicBezTo>
                  <a:cubicBezTo>
                    <a:pt x="4439" y="16735"/>
                    <a:pt x="4424" y="16827"/>
                    <a:pt x="4424" y="16902"/>
                  </a:cubicBezTo>
                  <a:cubicBezTo>
                    <a:pt x="4424" y="16922"/>
                    <a:pt x="4425" y="16941"/>
                    <a:pt x="4427" y="16959"/>
                  </a:cubicBezTo>
                  <a:close/>
                  <a:moveTo>
                    <a:pt x="3964" y="16842"/>
                  </a:moveTo>
                  <a:cubicBezTo>
                    <a:pt x="3707" y="16886"/>
                    <a:pt x="3707" y="16886"/>
                    <a:pt x="3707" y="16886"/>
                  </a:cubicBezTo>
                  <a:cubicBezTo>
                    <a:pt x="3689" y="16555"/>
                    <a:pt x="3689" y="16555"/>
                    <a:pt x="3689" y="16555"/>
                  </a:cubicBezTo>
                  <a:cubicBezTo>
                    <a:pt x="3491" y="16428"/>
                    <a:pt x="3491" y="16428"/>
                    <a:pt x="3491" y="16428"/>
                  </a:cubicBezTo>
                  <a:cubicBezTo>
                    <a:pt x="3484" y="16440"/>
                    <a:pt x="3484" y="16440"/>
                    <a:pt x="3484" y="16440"/>
                  </a:cubicBezTo>
                  <a:cubicBezTo>
                    <a:pt x="3676" y="16563"/>
                    <a:pt x="3676" y="16563"/>
                    <a:pt x="3676" y="16563"/>
                  </a:cubicBezTo>
                  <a:cubicBezTo>
                    <a:pt x="3693" y="16889"/>
                    <a:pt x="3693" y="16889"/>
                    <a:pt x="3693" y="16889"/>
                  </a:cubicBezTo>
                  <a:cubicBezTo>
                    <a:pt x="3435" y="16933"/>
                    <a:pt x="3435" y="16933"/>
                    <a:pt x="3435" y="16933"/>
                  </a:cubicBezTo>
                  <a:cubicBezTo>
                    <a:pt x="3432" y="16913"/>
                    <a:pt x="3422" y="16851"/>
                    <a:pt x="3413" y="16785"/>
                  </a:cubicBezTo>
                  <a:cubicBezTo>
                    <a:pt x="3401" y="16708"/>
                    <a:pt x="3389" y="16625"/>
                    <a:pt x="3387" y="16609"/>
                  </a:cubicBezTo>
                  <a:cubicBezTo>
                    <a:pt x="3387" y="16609"/>
                    <a:pt x="3387" y="16608"/>
                    <a:pt x="3387" y="16608"/>
                  </a:cubicBezTo>
                  <a:cubicBezTo>
                    <a:pt x="3387" y="16607"/>
                    <a:pt x="3387" y="16606"/>
                    <a:pt x="3387" y="16605"/>
                  </a:cubicBezTo>
                  <a:cubicBezTo>
                    <a:pt x="3387" y="16605"/>
                    <a:pt x="3387" y="16605"/>
                    <a:pt x="3387" y="16605"/>
                  </a:cubicBezTo>
                  <a:cubicBezTo>
                    <a:pt x="3386" y="16603"/>
                    <a:pt x="3387" y="16602"/>
                    <a:pt x="3385" y="16599"/>
                  </a:cubicBezTo>
                  <a:cubicBezTo>
                    <a:pt x="3385" y="16598"/>
                    <a:pt x="3385" y="16597"/>
                    <a:pt x="3384" y="16597"/>
                  </a:cubicBezTo>
                  <a:cubicBezTo>
                    <a:pt x="3581" y="16270"/>
                    <a:pt x="3581" y="16270"/>
                    <a:pt x="3581" y="16270"/>
                  </a:cubicBezTo>
                  <a:cubicBezTo>
                    <a:pt x="3581" y="16270"/>
                    <a:pt x="3581" y="16270"/>
                    <a:pt x="3581" y="16270"/>
                  </a:cubicBezTo>
                  <a:cubicBezTo>
                    <a:pt x="3584" y="16272"/>
                    <a:pt x="3589" y="16274"/>
                    <a:pt x="3596" y="16276"/>
                  </a:cubicBezTo>
                  <a:cubicBezTo>
                    <a:pt x="3609" y="16280"/>
                    <a:pt x="3627" y="16286"/>
                    <a:pt x="3650" y="16293"/>
                  </a:cubicBezTo>
                  <a:cubicBezTo>
                    <a:pt x="3694" y="16307"/>
                    <a:pt x="3753" y="16326"/>
                    <a:pt x="3812" y="16344"/>
                  </a:cubicBezTo>
                  <a:cubicBezTo>
                    <a:pt x="3907" y="16374"/>
                    <a:pt x="4001" y="16403"/>
                    <a:pt x="4035" y="16413"/>
                  </a:cubicBezTo>
                  <a:cubicBezTo>
                    <a:pt x="4034" y="16415"/>
                    <a:pt x="4033" y="16416"/>
                    <a:pt x="4032" y="16418"/>
                  </a:cubicBezTo>
                  <a:cubicBezTo>
                    <a:pt x="4024" y="16431"/>
                    <a:pt x="4013" y="16450"/>
                    <a:pt x="4003" y="16478"/>
                  </a:cubicBezTo>
                  <a:cubicBezTo>
                    <a:pt x="3983" y="16535"/>
                    <a:pt x="3965" y="16627"/>
                    <a:pt x="3963" y="16781"/>
                  </a:cubicBezTo>
                  <a:cubicBezTo>
                    <a:pt x="3963" y="16785"/>
                    <a:pt x="3963" y="16789"/>
                    <a:pt x="3963" y="16794"/>
                  </a:cubicBezTo>
                  <a:cubicBezTo>
                    <a:pt x="3962" y="16811"/>
                    <a:pt x="3963" y="16827"/>
                    <a:pt x="3964" y="16842"/>
                  </a:cubicBezTo>
                  <a:close/>
                  <a:moveTo>
                    <a:pt x="3177" y="16812"/>
                  </a:moveTo>
                  <a:cubicBezTo>
                    <a:pt x="3274" y="16799"/>
                    <a:pt x="3274" y="16799"/>
                    <a:pt x="3274" y="16799"/>
                  </a:cubicBezTo>
                  <a:cubicBezTo>
                    <a:pt x="3276" y="16816"/>
                    <a:pt x="3280" y="16861"/>
                    <a:pt x="3283" y="16889"/>
                  </a:cubicBezTo>
                  <a:cubicBezTo>
                    <a:pt x="3284" y="16895"/>
                    <a:pt x="3284" y="16900"/>
                    <a:pt x="3285" y="16904"/>
                  </a:cubicBezTo>
                  <a:cubicBezTo>
                    <a:pt x="3282" y="16905"/>
                    <a:pt x="3278" y="16905"/>
                    <a:pt x="3273" y="16906"/>
                  </a:cubicBezTo>
                  <a:cubicBezTo>
                    <a:pt x="3262" y="16907"/>
                    <a:pt x="3245" y="16910"/>
                    <a:pt x="3224" y="16913"/>
                  </a:cubicBezTo>
                  <a:cubicBezTo>
                    <a:pt x="3210" y="16915"/>
                    <a:pt x="3194" y="16917"/>
                    <a:pt x="3177" y="16919"/>
                  </a:cubicBezTo>
                  <a:cubicBezTo>
                    <a:pt x="3177" y="16905"/>
                    <a:pt x="3177" y="16890"/>
                    <a:pt x="3177" y="16874"/>
                  </a:cubicBezTo>
                  <a:cubicBezTo>
                    <a:pt x="3177" y="16854"/>
                    <a:pt x="3177" y="16833"/>
                    <a:pt x="3177" y="16812"/>
                  </a:cubicBezTo>
                  <a:close/>
                  <a:moveTo>
                    <a:pt x="3177" y="16932"/>
                  </a:moveTo>
                  <a:cubicBezTo>
                    <a:pt x="3239" y="16924"/>
                    <a:pt x="3287" y="16917"/>
                    <a:pt x="3294" y="16916"/>
                  </a:cubicBezTo>
                  <a:cubicBezTo>
                    <a:pt x="3294" y="16916"/>
                    <a:pt x="3294" y="16916"/>
                    <a:pt x="3295" y="16916"/>
                  </a:cubicBezTo>
                  <a:cubicBezTo>
                    <a:pt x="3295" y="16916"/>
                    <a:pt x="3295" y="16916"/>
                    <a:pt x="3294" y="16916"/>
                  </a:cubicBezTo>
                  <a:cubicBezTo>
                    <a:pt x="3295" y="16916"/>
                    <a:pt x="3295" y="16916"/>
                    <a:pt x="3295" y="16916"/>
                  </a:cubicBezTo>
                  <a:cubicBezTo>
                    <a:pt x="3295" y="16916"/>
                    <a:pt x="3295" y="16916"/>
                    <a:pt x="3295" y="16916"/>
                  </a:cubicBezTo>
                  <a:cubicBezTo>
                    <a:pt x="3295" y="16916"/>
                    <a:pt x="3295" y="16916"/>
                    <a:pt x="3295" y="16916"/>
                  </a:cubicBezTo>
                  <a:cubicBezTo>
                    <a:pt x="3295" y="16916"/>
                    <a:pt x="3295" y="16916"/>
                    <a:pt x="3295" y="16916"/>
                  </a:cubicBezTo>
                  <a:cubicBezTo>
                    <a:pt x="3296" y="16915"/>
                    <a:pt x="3297" y="16915"/>
                    <a:pt x="3297" y="16915"/>
                  </a:cubicBezTo>
                  <a:cubicBezTo>
                    <a:pt x="3298" y="16914"/>
                    <a:pt x="3298" y="16914"/>
                    <a:pt x="3299" y="16913"/>
                  </a:cubicBezTo>
                  <a:cubicBezTo>
                    <a:pt x="3299" y="16912"/>
                    <a:pt x="3300" y="16911"/>
                    <a:pt x="3299" y="16911"/>
                  </a:cubicBezTo>
                  <a:cubicBezTo>
                    <a:pt x="3300" y="16910"/>
                    <a:pt x="3300" y="16908"/>
                    <a:pt x="3299" y="16906"/>
                  </a:cubicBezTo>
                  <a:cubicBezTo>
                    <a:pt x="3299" y="16906"/>
                    <a:pt x="3299" y="16906"/>
                    <a:pt x="3298" y="16906"/>
                  </a:cubicBezTo>
                  <a:cubicBezTo>
                    <a:pt x="3298" y="16905"/>
                    <a:pt x="3298" y="16904"/>
                    <a:pt x="3298" y="16903"/>
                  </a:cubicBezTo>
                  <a:cubicBezTo>
                    <a:pt x="3297" y="16900"/>
                    <a:pt x="3297" y="16896"/>
                    <a:pt x="3296" y="16890"/>
                  </a:cubicBezTo>
                  <a:cubicBezTo>
                    <a:pt x="3295" y="16879"/>
                    <a:pt x="3293" y="16865"/>
                    <a:pt x="3292" y="16850"/>
                  </a:cubicBezTo>
                  <a:cubicBezTo>
                    <a:pt x="3289" y="16821"/>
                    <a:pt x="3287" y="16791"/>
                    <a:pt x="3287" y="16791"/>
                  </a:cubicBezTo>
                  <a:cubicBezTo>
                    <a:pt x="3286" y="16784"/>
                    <a:pt x="3286" y="16784"/>
                    <a:pt x="3286" y="16784"/>
                  </a:cubicBezTo>
                  <a:cubicBezTo>
                    <a:pt x="3177" y="16799"/>
                    <a:pt x="3177" y="16799"/>
                    <a:pt x="3177" y="16799"/>
                  </a:cubicBezTo>
                  <a:cubicBezTo>
                    <a:pt x="3177" y="16741"/>
                    <a:pt x="3176" y="16686"/>
                    <a:pt x="3175" y="16660"/>
                  </a:cubicBezTo>
                  <a:cubicBezTo>
                    <a:pt x="3250" y="16651"/>
                    <a:pt x="3312" y="16642"/>
                    <a:pt x="3345" y="16636"/>
                  </a:cubicBezTo>
                  <a:cubicBezTo>
                    <a:pt x="3346" y="16645"/>
                    <a:pt x="3348" y="16657"/>
                    <a:pt x="3350" y="16669"/>
                  </a:cubicBezTo>
                  <a:cubicBezTo>
                    <a:pt x="3354" y="16701"/>
                    <a:pt x="3361" y="16743"/>
                    <a:pt x="3367" y="16784"/>
                  </a:cubicBezTo>
                  <a:cubicBezTo>
                    <a:pt x="3377" y="16853"/>
                    <a:pt x="3387" y="16921"/>
                    <a:pt x="3390" y="16941"/>
                  </a:cubicBezTo>
                  <a:cubicBezTo>
                    <a:pt x="3177" y="16978"/>
                    <a:pt x="3177" y="16978"/>
                    <a:pt x="3177" y="16978"/>
                  </a:cubicBezTo>
                  <a:cubicBezTo>
                    <a:pt x="3177" y="16966"/>
                    <a:pt x="3177" y="16951"/>
                    <a:pt x="3177" y="16932"/>
                  </a:cubicBezTo>
                  <a:close/>
                  <a:moveTo>
                    <a:pt x="2556" y="16817"/>
                  </a:moveTo>
                  <a:cubicBezTo>
                    <a:pt x="2557" y="16921"/>
                    <a:pt x="2557" y="16921"/>
                    <a:pt x="2557" y="16921"/>
                  </a:cubicBezTo>
                  <a:cubicBezTo>
                    <a:pt x="2452" y="16910"/>
                    <a:pt x="2452" y="16910"/>
                    <a:pt x="2452" y="16910"/>
                  </a:cubicBezTo>
                  <a:cubicBezTo>
                    <a:pt x="2451" y="16809"/>
                    <a:pt x="2451" y="16809"/>
                    <a:pt x="2451" y="16809"/>
                  </a:cubicBezTo>
                  <a:cubicBezTo>
                    <a:pt x="2492" y="16812"/>
                    <a:pt x="2530" y="16815"/>
                    <a:pt x="2556" y="16817"/>
                  </a:cubicBezTo>
                  <a:close/>
                  <a:moveTo>
                    <a:pt x="2451" y="16795"/>
                  </a:moveTo>
                  <a:cubicBezTo>
                    <a:pt x="2451" y="16768"/>
                    <a:pt x="2451" y="16768"/>
                    <a:pt x="2451" y="16768"/>
                  </a:cubicBezTo>
                  <a:cubicBezTo>
                    <a:pt x="2555" y="16766"/>
                    <a:pt x="2555" y="16766"/>
                    <a:pt x="2555" y="16766"/>
                  </a:cubicBezTo>
                  <a:cubicBezTo>
                    <a:pt x="2556" y="16803"/>
                    <a:pt x="2556" y="16803"/>
                    <a:pt x="2556" y="16803"/>
                  </a:cubicBezTo>
                  <a:cubicBezTo>
                    <a:pt x="2530" y="16801"/>
                    <a:pt x="2492" y="16799"/>
                    <a:pt x="2451" y="16795"/>
                  </a:cubicBezTo>
                  <a:close/>
                  <a:moveTo>
                    <a:pt x="2557" y="16935"/>
                  </a:moveTo>
                  <a:cubicBezTo>
                    <a:pt x="2559" y="17038"/>
                    <a:pt x="2559" y="17038"/>
                    <a:pt x="2559" y="17038"/>
                  </a:cubicBezTo>
                  <a:cubicBezTo>
                    <a:pt x="2452" y="17031"/>
                    <a:pt x="2452" y="17031"/>
                    <a:pt x="2452" y="17031"/>
                  </a:cubicBezTo>
                  <a:cubicBezTo>
                    <a:pt x="2452" y="16924"/>
                    <a:pt x="2452" y="16924"/>
                    <a:pt x="2452" y="16924"/>
                  </a:cubicBezTo>
                  <a:lnTo>
                    <a:pt x="2557" y="16935"/>
                  </a:lnTo>
                  <a:close/>
                  <a:moveTo>
                    <a:pt x="2559" y="17052"/>
                  </a:moveTo>
                  <a:cubicBezTo>
                    <a:pt x="2561" y="17222"/>
                    <a:pt x="2561" y="17222"/>
                    <a:pt x="2561" y="17222"/>
                  </a:cubicBezTo>
                  <a:cubicBezTo>
                    <a:pt x="2453" y="17205"/>
                    <a:pt x="2453" y="17205"/>
                    <a:pt x="2453" y="17205"/>
                  </a:cubicBezTo>
                  <a:cubicBezTo>
                    <a:pt x="2452" y="17045"/>
                    <a:pt x="2452" y="17045"/>
                    <a:pt x="2452" y="17045"/>
                  </a:cubicBezTo>
                  <a:lnTo>
                    <a:pt x="2559" y="17052"/>
                  </a:lnTo>
                  <a:close/>
                  <a:moveTo>
                    <a:pt x="2561" y="17237"/>
                  </a:moveTo>
                  <a:cubicBezTo>
                    <a:pt x="2562" y="17328"/>
                    <a:pt x="2562" y="17328"/>
                    <a:pt x="2562" y="17328"/>
                  </a:cubicBezTo>
                  <a:cubicBezTo>
                    <a:pt x="2454" y="17332"/>
                    <a:pt x="2454" y="17332"/>
                    <a:pt x="2454" y="17332"/>
                  </a:cubicBezTo>
                  <a:cubicBezTo>
                    <a:pt x="2453" y="17219"/>
                    <a:pt x="2453" y="17219"/>
                    <a:pt x="2453" y="17219"/>
                  </a:cubicBezTo>
                  <a:lnTo>
                    <a:pt x="2561" y="17237"/>
                  </a:lnTo>
                  <a:close/>
                  <a:moveTo>
                    <a:pt x="2438" y="16755"/>
                  </a:moveTo>
                  <a:cubicBezTo>
                    <a:pt x="2438" y="16794"/>
                    <a:pt x="2438" y="16794"/>
                    <a:pt x="2438" y="16794"/>
                  </a:cubicBezTo>
                  <a:cubicBezTo>
                    <a:pt x="2348" y="16787"/>
                    <a:pt x="2250" y="16780"/>
                    <a:pt x="2232" y="16779"/>
                  </a:cubicBezTo>
                  <a:cubicBezTo>
                    <a:pt x="2238" y="16702"/>
                    <a:pt x="2238" y="16702"/>
                    <a:pt x="2238" y="16702"/>
                  </a:cubicBezTo>
                  <a:cubicBezTo>
                    <a:pt x="2294" y="16723"/>
                    <a:pt x="2379" y="16731"/>
                    <a:pt x="2457" y="16737"/>
                  </a:cubicBezTo>
                  <a:cubicBezTo>
                    <a:pt x="2503" y="16740"/>
                    <a:pt x="2545" y="16741"/>
                    <a:pt x="2572" y="16741"/>
                  </a:cubicBezTo>
                  <a:cubicBezTo>
                    <a:pt x="2572" y="16763"/>
                    <a:pt x="2573" y="16783"/>
                    <a:pt x="2573" y="16805"/>
                  </a:cubicBezTo>
                  <a:cubicBezTo>
                    <a:pt x="2572" y="16805"/>
                    <a:pt x="2570" y="16804"/>
                    <a:pt x="2569" y="16804"/>
                  </a:cubicBezTo>
                  <a:cubicBezTo>
                    <a:pt x="2569" y="16759"/>
                    <a:pt x="2569" y="16759"/>
                    <a:pt x="2569" y="16759"/>
                  </a:cubicBezTo>
                  <a:cubicBezTo>
                    <a:pt x="2568" y="16753"/>
                    <a:pt x="2568" y="16753"/>
                    <a:pt x="2568" y="16753"/>
                  </a:cubicBezTo>
                  <a:lnTo>
                    <a:pt x="2438" y="16755"/>
                  </a:lnTo>
                  <a:close/>
                  <a:moveTo>
                    <a:pt x="2186" y="17174"/>
                  </a:moveTo>
                  <a:cubicBezTo>
                    <a:pt x="2174" y="17317"/>
                    <a:pt x="2174" y="17317"/>
                    <a:pt x="2174" y="17317"/>
                  </a:cubicBezTo>
                  <a:cubicBezTo>
                    <a:pt x="1913" y="17270"/>
                    <a:pt x="1913" y="17270"/>
                    <a:pt x="1913" y="17270"/>
                  </a:cubicBezTo>
                  <a:cubicBezTo>
                    <a:pt x="1913" y="17269"/>
                    <a:pt x="1912" y="17268"/>
                    <a:pt x="1911" y="17266"/>
                  </a:cubicBezTo>
                  <a:cubicBezTo>
                    <a:pt x="1909" y="17260"/>
                    <a:pt x="1906" y="17250"/>
                    <a:pt x="1903" y="17238"/>
                  </a:cubicBezTo>
                  <a:cubicBezTo>
                    <a:pt x="1895" y="17215"/>
                    <a:pt x="1885" y="17183"/>
                    <a:pt x="1870" y="17153"/>
                  </a:cubicBezTo>
                  <a:cubicBezTo>
                    <a:pt x="1861" y="17135"/>
                    <a:pt x="1850" y="17120"/>
                    <a:pt x="1838" y="17106"/>
                  </a:cubicBezTo>
                  <a:cubicBezTo>
                    <a:pt x="1849" y="17095"/>
                    <a:pt x="1867" y="17077"/>
                    <a:pt x="1886" y="17058"/>
                  </a:cubicBezTo>
                  <a:cubicBezTo>
                    <a:pt x="1913" y="17031"/>
                    <a:pt x="1943" y="17002"/>
                    <a:pt x="1952" y="16995"/>
                  </a:cubicBezTo>
                  <a:cubicBezTo>
                    <a:pt x="1954" y="16994"/>
                    <a:pt x="1954" y="16994"/>
                    <a:pt x="1954" y="16994"/>
                  </a:cubicBezTo>
                  <a:cubicBezTo>
                    <a:pt x="1957" y="16993"/>
                    <a:pt x="1957" y="16992"/>
                    <a:pt x="1957" y="16991"/>
                  </a:cubicBezTo>
                  <a:cubicBezTo>
                    <a:pt x="1958" y="16991"/>
                    <a:pt x="1958" y="16990"/>
                    <a:pt x="1958" y="16990"/>
                  </a:cubicBezTo>
                  <a:cubicBezTo>
                    <a:pt x="1959" y="16989"/>
                    <a:pt x="1959" y="16987"/>
                    <a:pt x="1960" y="16986"/>
                  </a:cubicBezTo>
                  <a:cubicBezTo>
                    <a:pt x="1961" y="16983"/>
                    <a:pt x="1963" y="16978"/>
                    <a:pt x="1965" y="16973"/>
                  </a:cubicBezTo>
                  <a:cubicBezTo>
                    <a:pt x="1969" y="16962"/>
                    <a:pt x="1974" y="16946"/>
                    <a:pt x="1980" y="16927"/>
                  </a:cubicBezTo>
                  <a:cubicBezTo>
                    <a:pt x="1992" y="16889"/>
                    <a:pt x="2007" y="16838"/>
                    <a:pt x="2023" y="16787"/>
                  </a:cubicBezTo>
                  <a:cubicBezTo>
                    <a:pt x="2046" y="16711"/>
                    <a:pt x="2070" y="16633"/>
                    <a:pt x="2082" y="16595"/>
                  </a:cubicBezTo>
                  <a:cubicBezTo>
                    <a:pt x="2130" y="16636"/>
                    <a:pt x="2180" y="16674"/>
                    <a:pt x="2224" y="16696"/>
                  </a:cubicBezTo>
                  <a:cubicBezTo>
                    <a:pt x="2187" y="17161"/>
                    <a:pt x="2187" y="17161"/>
                    <a:pt x="2187" y="17161"/>
                  </a:cubicBezTo>
                  <a:cubicBezTo>
                    <a:pt x="2187" y="17160"/>
                    <a:pt x="2187" y="17160"/>
                    <a:pt x="2187" y="17160"/>
                  </a:cubicBezTo>
                  <a:cubicBezTo>
                    <a:pt x="2185" y="17174"/>
                    <a:pt x="2185" y="17174"/>
                    <a:pt x="2185" y="17174"/>
                  </a:cubicBezTo>
                  <a:lnTo>
                    <a:pt x="2186" y="17174"/>
                  </a:lnTo>
                  <a:close/>
                  <a:moveTo>
                    <a:pt x="1354" y="16635"/>
                  </a:moveTo>
                  <a:cubicBezTo>
                    <a:pt x="1354" y="16635"/>
                    <a:pt x="1304" y="16596"/>
                    <a:pt x="1252" y="16554"/>
                  </a:cubicBezTo>
                  <a:cubicBezTo>
                    <a:pt x="1205" y="16516"/>
                    <a:pt x="1155" y="16475"/>
                    <a:pt x="1144" y="16463"/>
                  </a:cubicBezTo>
                  <a:cubicBezTo>
                    <a:pt x="1145" y="16461"/>
                    <a:pt x="1146" y="16460"/>
                    <a:pt x="1147" y="16458"/>
                  </a:cubicBezTo>
                  <a:cubicBezTo>
                    <a:pt x="1151" y="16454"/>
                    <a:pt x="1155" y="16448"/>
                    <a:pt x="1159" y="16441"/>
                  </a:cubicBezTo>
                  <a:cubicBezTo>
                    <a:pt x="1169" y="16426"/>
                    <a:pt x="1181" y="16408"/>
                    <a:pt x="1193" y="16389"/>
                  </a:cubicBezTo>
                  <a:cubicBezTo>
                    <a:pt x="1211" y="16360"/>
                    <a:pt x="1228" y="16332"/>
                    <a:pt x="1235" y="16320"/>
                  </a:cubicBezTo>
                  <a:cubicBezTo>
                    <a:pt x="1317" y="16357"/>
                    <a:pt x="1317" y="16357"/>
                    <a:pt x="1317" y="16357"/>
                  </a:cubicBezTo>
                  <a:cubicBezTo>
                    <a:pt x="1320" y="16353"/>
                    <a:pt x="1320" y="16353"/>
                    <a:pt x="1320" y="16353"/>
                  </a:cubicBezTo>
                  <a:cubicBezTo>
                    <a:pt x="1320" y="16353"/>
                    <a:pt x="1497" y="16144"/>
                    <a:pt x="1537" y="16089"/>
                  </a:cubicBezTo>
                  <a:cubicBezTo>
                    <a:pt x="1570" y="16120"/>
                    <a:pt x="1626" y="16173"/>
                    <a:pt x="1686" y="16230"/>
                  </a:cubicBezTo>
                  <a:cubicBezTo>
                    <a:pt x="1318" y="16682"/>
                    <a:pt x="1318" y="16682"/>
                    <a:pt x="1318" y="16682"/>
                  </a:cubicBezTo>
                  <a:cubicBezTo>
                    <a:pt x="1312" y="16688"/>
                    <a:pt x="1298" y="16702"/>
                    <a:pt x="1289" y="16724"/>
                  </a:cubicBezTo>
                  <a:cubicBezTo>
                    <a:pt x="978" y="16692"/>
                    <a:pt x="978" y="16692"/>
                    <a:pt x="978" y="16692"/>
                  </a:cubicBezTo>
                  <a:cubicBezTo>
                    <a:pt x="980" y="16692"/>
                    <a:pt x="980" y="16692"/>
                    <a:pt x="980" y="16692"/>
                  </a:cubicBezTo>
                  <a:cubicBezTo>
                    <a:pt x="944" y="16485"/>
                    <a:pt x="944" y="16485"/>
                    <a:pt x="944" y="16485"/>
                  </a:cubicBezTo>
                  <a:cubicBezTo>
                    <a:pt x="990" y="16481"/>
                    <a:pt x="1035" y="16478"/>
                    <a:pt x="1070" y="16475"/>
                  </a:cubicBezTo>
                  <a:cubicBezTo>
                    <a:pt x="1100" y="16472"/>
                    <a:pt x="1121" y="16470"/>
                    <a:pt x="1131" y="16469"/>
                  </a:cubicBezTo>
                  <a:cubicBezTo>
                    <a:pt x="1131" y="16469"/>
                    <a:pt x="1132" y="16470"/>
                    <a:pt x="1132" y="16470"/>
                  </a:cubicBezTo>
                  <a:cubicBezTo>
                    <a:pt x="1134" y="16472"/>
                    <a:pt x="1136" y="16475"/>
                    <a:pt x="1139" y="16478"/>
                  </a:cubicBezTo>
                  <a:cubicBezTo>
                    <a:pt x="1145" y="16484"/>
                    <a:pt x="1154" y="16491"/>
                    <a:pt x="1164" y="16500"/>
                  </a:cubicBezTo>
                  <a:cubicBezTo>
                    <a:pt x="1184" y="16517"/>
                    <a:pt x="1211" y="16539"/>
                    <a:pt x="1238" y="16561"/>
                  </a:cubicBezTo>
                  <a:cubicBezTo>
                    <a:pt x="1292" y="16604"/>
                    <a:pt x="1346" y="16646"/>
                    <a:pt x="1346" y="16646"/>
                  </a:cubicBezTo>
                  <a:cubicBezTo>
                    <a:pt x="1346" y="16646"/>
                    <a:pt x="1346" y="16646"/>
                    <a:pt x="1346" y="16646"/>
                  </a:cubicBezTo>
                  <a:lnTo>
                    <a:pt x="1354" y="16635"/>
                  </a:lnTo>
                  <a:close/>
                  <a:moveTo>
                    <a:pt x="1048" y="15537"/>
                  </a:moveTo>
                  <a:cubicBezTo>
                    <a:pt x="982" y="15487"/>
                    <a:pt x="906" y="15448"/>
                    <a:pt x="864" y="15429"/>
                  </a:cubicBezTo>
                  <a:cubicBezTo>
                    <a:pt x="759" y="15383"/>
                    <a:pt x="494" y="15351"/>
                    <a:pt x="403" y="15324"/>
                  </a:cubicBezTo>
                  <a:cubicBezTo>
                    <a:pt x="383" y="15318"/>
                    <a:pt x="372" y="15292"/>
                    <a:pt x="372" y="15248"/>
                  </a:cubicBezTo>
                  <a:cubicBezTo>
                    <a:pt x="372" y="15246"/>
                    <a:pt x="372" y="15244"/>
                    <a:pt x="372" y="15242"/>
                  </a:cubicBezTo>
                  <a:cubicBezTo>
                    <a:pt x="470" y="15114"/>
                    <a:pt x="562" y="14993"/>
                    <a:pt x="583" y="14963"/>
                  </a:cubicBezTo>
                  <a:cubicBezTo>
                    <a:pt x="590" y="14953"/>
                    <a:pt x="597" y="14941"/>
                    <a:pt x="604" y="14929"/>
                  </a:cubicBezTo>
                  <a:cubicBezTo>
                    <a:pt x="760" y="15034"/>
                    <a:pt x="760" y="15034"/>
                    <a:pt x="760" y="15034"/>
                  </a:cubicBezTo>
                  <a:cubicBezTo>
                    <a:pt x="692" y="15304"/>
                    <a:pt x="692" y="15304"/>
                    <a:pt x="692" y="15304"/>
                  </a:cubicBezTo>
                  <a:cubicBezTo>
                    <a:pt x="905" y="15389"/>
                    <a:pt x="905" y="15389"/>
                    <a:pt x="905" y="15389"/>
                  </a:cubicBezTo>
                  <a:cubicBezTo>
                    <a:pt x="923" y="15321"/>
                    <a:pt x="923" y="15321"/>
                    <a:pt x="923" y="15321"/>
                  </a:cubicBezTo>
                  <a:cubicBezTo>
                    <a:pt x="1374" y="15720"/>
                    <a:pt x="1374" y="15720"/>
                    <a:pt x="1374" y="15720"/>
                  </a:cubicBezTo>
                  <a:cubicBezTo>
                    <a:pt x="1310" y="15798"/>
                    <a:pt x="1310" y="15798"/>
                    <a:pt x="1310" y="15798"/>
                  </a:cubicBezTo>
                  <a:cubicBezTo>
                    <a:pt x="1308" y="15796"/>
                    <a:pt x="1306" y="15795"/>
                    <a:pt x="1305" y="15793"/>
                  </a:cubicBezTo>
                  <a:cubicBezTo>
                    <a:pt x="1276" y="15769"/>
                    <a:pt x="1269" y="15755"/>
                    <a:pt x="1269" y="15755"/>
                  </a:cubicBezTo>
                  <a:cubicBezTo>
                    <a:pt x="1261" y="15753"/>
                    <a:pt x="1261" y="15753"/>
                    <a:pt x="1261" y="15753"/>
                  </a:cubicBezTo>
                  <a:cubicBezTo>
                    <a:pt x="1248" y="15741"/>
                    <a:pt x="1218" y="15714"/>
                    <a:pt x="1182" y="15684"/>
                  </a:cubicBezTo>
                  <a:cubicBezTo>
                    <a:pt x="1177" y="15679"/>
                    <a:pt x="1171" y="15675"/>
                    <a:pt x="1165" y="15670"/>
                  </a:cubicBezTo>
                  <a:cubicBezTo>
                    <a:pt x="1148" y="15622"/>
                    <a:pt x="1101" y="15577"/>
                    <a:pt x="1048" y="15537"/>
                  </a:cubicBezTo>
                  <a:close/>
                  <a:moveTo>
                    <a:pt x="1110" y="15626"/>
                  </a:moveTo>
                  <a:cubicBezTo>
                    <a:pt x="1081" y="15604"/>
                    <a:pt x="1052" y="15584"/>
                    <a:pt x="1026" y="15571"/>
                  </a:cubicBezTo>
                  <a:cubicBezTo>
                    <a:pt x="944" y="15528"/>
                    <a:pt x="875" y="15490"/>
                    <a:pt x="763" y="15459"/>
                  </a:cubicBezTo>
                  <a:cubicBezTo>
                    <a:pt x="655" y="15429"/>
                    <a:pt x="513" y="15394"/>
                    <a:pt x="395" y="15378"/>
                  </a:cubicBezTo>
                  <a:cubicBezTo>
                    <a:pt x="346" y="15371"/>
                    <a:pt x="307" y="15366"/>
                    <a:pt x="279" y="15362"/>
                  </a:cubicBezTo>
                  <a:cubicBezTo>
                    <a:pt x="302" y="15333"/>
                    <a:pt x="325" y="15303"/>
                    <a:pt x="349" y="15272"/>
                  </a:cubicBezTo>
                  <a:cubicBezTo>
                    <a:pt x="352" y="15308"/>
                    <a:pt x="365" y="15337"/>
                    <a:pt x="396" y="15347"/>
                  </a:cubicBezTo>
                  <a:cubicBezTo>
                    <a:pt x="491" y="15375"/>
                    <a:pt x="756" y="15408"/>
                    <a:pt x="854" y="15451"/>
                  </a:cubicBezTo>
                  <a:cubicBezTo>
                    <a:pt x="894" y="15469"/>
                    <a:pt x="969" y="15509"/>
                    <a:pt x="1033" y="15556"/>
                  </a:cubicBezTo>
                  <a:cubicBezTo>
                    <a:pt x="1063" y="15578"/>
                    <a:pt x="1090" y="15602"/>
                    <a:pt x="1110" y="15626"/>
                  </a:cubicBezTo>
                  <a:close/>
                  <a:moveTo>
                    <a:pt x="292" y="13052"/>
                  </a:moveTo>
                  <a:cubicBezTo>
                    <a:pt x="294" y="13043"/>
                    <a:pt x="295" y="13034"/>
                    <a:pt x="297" y="13025"/>
                  </a:cubicBezTo>
                  <a:cubicBezTo>
                    <a:pt x="301" y="13002"/>
                    <a:pt x="303" y="12980"/>
                    <a:pt x="303" y="12959"/>
                  </a:cubicBezTo>
                  <a:cubicBezTo>
                    <a:pt x="303" y="12897"/>
                    <a:pt x="287" y="12841"/>
                    <a:pt x="267" y="12795"/>
                  </a:cubicBezTo>
                  <a:cubicBezTo>
                    <a:pt x="297" y="12789"/>
                    <a:pt x="341" y="12778"/>
                    <a:pt x="385" y="12768"/>
                  </a:cubicBezTo>
                  <a:cubicBezTo>
                    <a:pt x="448" y="12754"/>
                    <a:pt x="513" y="12739"/>
                    <a:pt x="535" y="12734"/>
                  </a:cubicBezTo>
                  <a:cubicBezTo>
                    <a:pt x="546" y="12753"/>
                    <a:pt x="555" y="12769"/>
                    <a:pt x="563" y="12783"/>
                  </a:cubicBezTo>
                  <a:cubicBezTo>
                    <a:pt x="606" y="12869"/>
                    <a:pt x="614" y="12915"/>
                    <a:pt x="617" y="12959"/>
                  </a:cubicBezTo>
                  <a:cubicBezTo>
                    <a:pt x="617" y="12964"/>
                    <a:pt x="617" y="12973"/>
                    <a:pt x="617" y="12986"/>
                  </a:cubicBezTo>
                  <a:cubicBezTo>
                    <a:pt x="617" y="13020"/>
                    <a:pt x="616" y="13078"/>
                    <a:pt x="614" y="13139"/>
                  </a:cubicBezTo>
                  <a:lnTo>
                    <a:pt x="292" y="13052"/>
                  </a:lnTo>
                  <a:close/>
                  <a:moveTo>
                    <a:pt x="613" y="13153"/>
                  </a:moveTo>
                  <a:cubicBezTo>
                    <a:pt x="613" y="13163"/>
                    <a:pt x="612" y="13174"/>
                    <a:pt x="612" y="13185"/>
                  </a:cubicBezTo>
                  <a:cubicBezTo>
                    <a:pt x="608" y="13260"/>
                    <a:pt x="602" y="13335"/>
                    <a:pt x="595" y="13363"/>
                  </a:cubicBezTo>
                  <a:cubicBezTo>
                    <a:pt x="592" y="13378"/>
                    <a:pt x="588" y="13395"/>
                    <a:pt x="584" y="13414"/>
                  </a:cubicBezTo>
                  <a:cubicBezTo>
                    <a:pt x="575" y="13411"/>
                    <a:pt x="565" y="13407"/>
                    <a:pt x="553" y="13403"/>
                  </a:cubicBezTo>
                  <a:cubicBezTo>
                    <a:pt x="520" y="13391"/>
                    <a:pt x="478" y="13376"/>
                    <a:pt x="436" y="13361"/>
                  </a:cubicBezTo>
                  <a:cubicBezTo>
                    <a:pt x="369" y="13337"/>
                    <a:pt x="303" y="13312"/>
                    <a:pt x="274" y="13302"/>
                  </a:cubicBezTo>
                  <a:cubicBezTo>
                    <a:pt x="274" y="13298"/>
                    <a:pt x="274" y="13298"/>
                    <a:pt x="274" y="13298"/>
                  </a:cubicBezTo>
                  <a:cubicBezTo>
                    <a:pt x="274" y="13273"/>
                    <a:pt x="275" y="13170"/>
                    <a:pt x="290" y="13066"/>
                  </a:cubicBezTo>
                  <a:lnTo>
                    <a:pt x="613" y="13153"/>
                  </a:lnTo>
                  <a:close/>
                  <a:moveTo>
                    <a:pt x="636" y="7199"/>
                  </a:moveTo>
                  <a:cubicBezTo>
                    <a:pt x="637" y="7199"/>
                    <a:pt x="638" y="7200"/>
                    <a:pt x="638" y="7201"/>
                  </a:cubicBezTo>
                  <a:cubicBezTo>
                    <a:pt x="760" y="7307"/>
                    <a:pt x="881" y="7413"/>
                    <a:pt x="921" y="7448"/>
                  </a:cubicBezTo>
                  <a:cubicBezTo>
                    <a:pt x="885" y="7535"/>
                    <a:pt x="885" y="7535"/>
                    <a:pt x="885" y="7535"/>
                  </a:cubicBezTo>
                  <a:cubicBezTo>
                    <a:pt x="857" y="7561"/>
                    <a:pt x="857" y="7561"/>
                    <a:pt x="857" y="7561"/>
                  </a:cubicBezTo>
                  <a:cubicBezTo>
                    <a:pt x="857" y="7560"/>
                    <a:pt x="857" y="7560"/>
                    <a:pt x="857" y="7560"/>
                  </a:cubicBezTo>
                  <a:cubicBezTo>
                    <a:pt x="855" y="7563"/>
                    <a:pt x="855" y="7563"/>
                    <a:pt x="855" y="7563"/>
                  </a:cubicBezTo>
                  <a:cubicBezTo>
                    <a:pt x="852" y="7565"/>
                    <a:pt x="852" y="7565"/>
                    <a:pt x="852" y="7565"/>
                  </a:cubicBezTo>
                  <a:cubicBezTo>
                    <a:pt x="852" y="7566"/>
                    <a:pt x="852" y="7566"/>
                    <a:pt x="852" y="7566"/>
                  </a:cubicBezTo>
                  <a:cubicBezTo>
                    <a:pt x="614" y="7819"/>
                    <a:pt x="614" y="7819"/>
                    <a:pt x="614" y="7819"/>
                  </a:cubicBezTo>
                  <a:cubicBezTo>
                    <a:pt x="367" y="7476"/>
                    <a:pt x="367" y="7476"/>
                    <a:pt x="367" y="7476"/>
                  </a:cubicBezTo>
                  <a:cubicBezTo>
                    <a:pt x="408" y="7433"/>
                    <a:pt x="520" y="7317"/>
                    <a:pt x="587" y="7250"/>
                  </a:cubicBezTo>
                  <a:cubicBezTo>
                    <a:pt x="615" y="7222"/>
                    <a:pt x="636" y="7202"/>
                    <a:pt x="638" y="7202"/>
                  </a:cubicBezTo>
                  <a:lnTo>
                    <a:pt x="636" y="7199"/>
                  </a:lnTo>
                  <a:close/>
                  <a:moveTo>
                    <a:pt x="424" y="5978"/>
                  </a:moveTo>
                  <a:cubicBezTo>
                    <a:pt x="476" y="5882"/>
                    <a:pt x="476" y="5882"/>
                    <a:pt x="476" y="5882"/>
                  </a:cubicBezTo>
                  <a:cubicBezTo>
                    <a:pt x="590" y="5947"/>
                    <a:pt x="590" y="5947"/>
                    <a:pt x="590" y="5947"/>
                  </a:cubicBezTo>
                  <a:cubicBezTo>
                    <a:pt x="538" y="6043"/>
                    <a:pt x="538" y="6043"/>
                    <a:pt x="538" y="6043"/>
                  </a:cubicBezTo>
                  <a:lnTo>
                    <a:pt x="424" y="5978"/>
                  </a:lnTo>
                  <a:close/>
                  <a:moveTo>
                    <a:pt x="531" y="6055"/>
                  </a:moveTo>
                  <a:cubicBezTo>
                    <a:pt x="496" y="6119"/>
                    <a:pt x="496" y="6119"/>
                    <a:pt x="496" y="6119"/>
                  </a:cubicBezTo>
                  <a:cubicBezTo>
                    <a:pt x="381" y="6056"/>
                    <a:pt x="381" y="6056"/>
                    <a:pt x="381" y="6056"/>
                  </a:cubicBezTo>
                  <a:cubicBezTo>
                    <a:pt x="417" y="5990"/>
                    <a:pt x="417" y="5990"/>
                    <a:pt x="417" y="5990"/>
                  </a:cubicBezTo>
                  <a:lnTo>
                    <a:pt x="531" y="6055"/>
                  </a:lnTo>
                  <a:close/>
                  <a:moveTo>
                    <a:pt x="5201" y="2991"/>
                  </a:moveTo>
                  <a:cubicBezTo>
                    <a:pt x="5215" y="2949"/>
                    <a:pt x="5304" y="2676"/>
                    <a:pt x="5339" y="2549"/>
                  </a:cubicBezTo>
                  <a:cubicBezTo>
                    <a:pt x="5392" y="2565"/>
                    <a:pt x="5483" y="2592"/>
                    <a:pt x="5583" y="2621"/>
                  </a:cubicBezTo>
                  <a:cubicBezTo>
                    <a:pt x="5739" y="2668"/>
                    <a:pt x="5917" y="2721"/>
                    <a:pt x="6005" y="2747"/>
                  </a:cubicBezTo>
                  <a:cubicBezTo>
                    <a:pt x="6184" y="2800"/>
                    <a:pt x="6746" y="2944"/>
                    <a:pt x="6857" y="2969"/>
                  </a:cubicBezTo>
                  <a:cubicBezTo>
                    <a:pt x="6969" y="2994"/>
                    <a:pt x="7090" y="3016"/>
                    <a:pt x="7181" y="3087"/>
                  </a:cubicBezTo>
                  <a:cubicBezTo>
                    <a:pt x="7213" y="3111"/>
                    <a:pt x="7260" y="3176"/>
                    <a:pt x="7294" y="3240"/>
                  </a:cubicBezTo>
                  <a:cubicBezTo>
                    <a:pt x="7308" y="3264"/>
                    <a:pt x="7320" y="3287"/>
                    <a:pt x="7330" y="3308"/>
                  </a:cubicBezTo>
                  <a:cubicBezTo>
                    <a:pt x="7257" y="3346"/>
                    <a:pt x="7183" y="3395"/>
                    <a:pt x="7121" y="3462"/>
                  </a:cubicBezTo>
                  <a:cubicBezTo>
                    <a:pt x="7056" y="3533"/>
                    <a:pt x="7005" y="3626"/>
                    <a:pt x="6989" y="3738"/>
                  </a:cubicBezTo>
                  <a:cubicBezTo>
                    <a:pt x="6986" y="3756"/>
                    <a:pt x="6985" y="3774"/>
                    <a:pt x="6985" y="3792"/>
                  </a:cubicBezTo>
                  <a:cubicBezTo>
                    <a:pt x="6985" y="3911"/>
                    <a:pt x="7039" y="4022"/>
                    <a:pt x="7114" y="4132"/>
                  </a:cubicBezTo>
                  <a:cubicBezTo>
                    <a:pt x="7189" y="4242"/>
                    <a:pt x="7288" y="4354"/>
                    <a:pt x="7394" y="4471"/>
                  </a:cubicBezTo>
                  <a:cubicBezTo>
                    <a:pt x="7515" y="4605"/>
                    <a:pt x="7645" y="4747"/>
                    <a:pt x="7757" y="4896"/>
                  </a:cubicBezTo>
                  <a:cubicBezTo>
                    <a:pt x="6174" y="4827"/>
                    <a:pt x="6174" y="4827"/>
                    <a:pt x="6174" y="4827"/>
                  </a:cubicBezTo>
                  <a:cubicBezTo>
                    <a:pt x="6177" y="4800"/>
                    <a:pt x="6179" y="4761"/>
                    <a:pt x="6179" y="4714"/>
                  </a:cubicBezTo>
                  <a:cubicBezTo>
                    <a:pt x="6179" y="4636"/>
                    <a:pt x="6172" y="4539"/>
                    <a:pt x="6141" y="4446"/>
                  </a:cubicBezTo>
                  <a:cubicBezTo>
                    <a:pt x="6110" y="4353"/>
                    <a:pt x="6055" y="4264"/>
                    <a:pt x="5960" y="4211"/>
                  </a:cubicBezTo>
                  <a:cubicBezTo>
                    <a:pt x="5697" y="4065"/>
                    <a:pt x="5589" y="3938"/>
                    <a:pt x="5396" y="3855"/>
                  </a:cubicBezTo>
                  <a:cubicBezTo>
                    <a:pt x="5293" y="3810"/>
                    <a:pt x="5173" y="3771"/>
                    <a:pt x="5052" y="3735"/>
                  </a:cubicBezTo>
                  <a:cubicBezTo>
                    <a:pt x="5210" y="3370"/>
                    <a:pt x="5210" y="3370"/>
                    <a:pt x="5210" y="3370"/>
                  </a:cubicBezTo>
                  <a:lnTo>
                    <a:pt x="5201" y="2991"/>
                  </a:lnTo>
                  <a:close/>
                  <a:moveTo>
                    <a:pt x="10819" y="3687"/>
                  </a:moveTo>
                  <a:cubicBezTo>
                    <a:pt x="10821" y="3694"/>
                    <a:pt x="10822" y="3699"/>
                    <a:pt x="10823" y="3705"/>
                  </a:cubicBezTo>
                  <a:cubicBezTo>
                    <a:pt x="8005" y="4518"/>
                    <a:pt x="8005" y="4518"/>
                    <a:pt x="8005" y="4518"/>
                  </a:cubicBezTo>
                  <a:cubicBezTo>
                    <a:pt x="7935" y="4397"/>
                    <a:pt x="7935" y="4397"/>
                    <a:pt x="7935" y="4397"/>
                  </a:cubicBezTo>
                  <a:cubicBezTo>
                    <a:pt x="7533" y="3391"/>
                    <a:pt x="7533" y="3391"/>
                    <a:pt x="7533" y="3391"/>
                  </a:cubicBezTo>
                  <a:cubicBezTo>
                    <a:pt x="7590" y="3371"/>
                    <a:pt x="7642" y="3357"/>
                    <a:pt x="7681" y="3346"/>
                  </a:cubicBezTo>
                  <a:cubicBezTo>
                    <a:pt x="7704" y="3340"/>
                    <a:pt x="7722" y="3335"/>
                    <a:pt x="7739" y="3327"/>
                  </a:cubicBezTo>
                  <a:cubicBezTo>
                    <a:pt x="7740" y="3327"/>
                    <a:pt x="7741" y="3327"/>
                    <a:pt x="7743" y="3326"/>
                  </a:cubicBezTo>
                  <a:cubicBezTo>
                    <a:pt x="7747" y="3325"/>
                    <a:pt x="7752" y="3323"/>
                    <a:pt x="7759" y="3321"/>
                  </a:cubicBezTo>
                  <a:cubicBezTo>
                    <a:pt x="7772" y="3317"/>
                    <a:pt x="7790" y="3312"/>
                    <a:pt x="7813" y="3306"/>
                  </a:cubicBezTo>
                  <a:cubicBezTo>
                    <a:pt x="7859" y="3293"/>
                    <a:pt x="7923" y="3275"/>
                    <a:pt x="8001" y="3254"/>
                  </a:cubicBezTo>
                  <a:cubicBezTo>
                    <a:pt x="8157" y="3211"/>
                    <a:pt x="8369" y="3154"/>
                    <a:pt x="8607" y="3090"/>
                  </a:cubicBezTo>
                  <a:cubicBezTo>
                    <a:pt x="9083" y="2961"/>
                    <a:pt x="9664" y="2803"/>
                    <a:pt x="10115" y="2675"/>
                  </a:cubicBezTo>
                  <a:cubicBezTo>
                    <a:pt x="10275" y="2630"/>
                    <a:pt x="10418" y="2588"/>
                    <a:pt x="10534" y="2553"/>
                  </a:cubicBezTo>
                  <a:cubicBezTo>
                    <a:pt x="10567" y="2673"/>
                    <a:pt x="10606" y="2824"/>
                    <a:pt x="10645" y="2976"/>
                  </a:cubicBezTo>
                  <a:cubicBezTo>
                    <a:pt x="10716" y="3256"/>
                    <a:pt x="10784" y="3544"/>
                    <a:pt x="10819" y="3687"/>
                  </a:cubicBezTo>
                  <a:close/>
                  <a:moveTo>
                    <a:pt x="10709" y="2959"/>
                  </a:moveTo>
                  <a:cubicBezTo>
                    <a:pt x="10717" y="2947"/>
                    <a:pt x="10717" y="2947"/>
                    <a:pt x="10717" y="2947"/>
                  </a:cubicBezTo>
                  <a:cubicBezTo>
                    <a:pt x="10709" y="2960"/>
                    <a:pt x="10709" y="2960"/>
                    <a:pt x="10709" y="2960"/>
                  </a:cubicBezTo>
                  <a:cubicBezTo>
                    <a:pt x="10709" y="2959"/>
                    <a:pt x="10709" y="2959"/>
                    <a:pt x="10709" y="2959"/>
                  </a:cubicBezTo>
                  <a:close/>
                  <a:moveTo>
                    <a:pt x="10001" y="6739"/>
                  </a:moveTo>
                  <a:cubicBezTo>
                    <a:pt x="10010" y="6749"/>
                    <a:pt x="10015" y="6757"/>
                    <a:pt x="10030" y="6763"/>
                  </a:cubicBezTo>
                  <a:cubicBezTo>
                    <a:pt x="10030" y="6764"/>
                    <a:pt x="10030" y="6764"/>
                    <a:pt x="10030" y="6764"/>
                  </a:cubicBezTo>
                  <a:cubicBezTo>
                    <a:pt x="10030" y="6764"/>
                    <a:pt x="10030" y="6764"/>
                    <a:pt x="10031" y="6764"/>
                  </a:cubicBezTo>
                  <a:cubicBezTo>
                    <a:pt x="10032" y="6764"/>
                    <a:pt x="10033" y="6765"/>
                    <a:pt x="10035" y="6766"/>
                  </a:cubicBezTo>
                  <a:cubicBezTo>
                    <a:pt x="10039" y="6768"/>
                    <a:pt x="10045" y="6772"/>
                    <a:pt x="10053" y="6776"/>
                  </a:cubicBezTo>
                  <a:cubicBezTo>
                    <a:pt x="10068" y="6785"/>
                    <a:pt x="10089" y="6797"/>
                    <a:pt x="10115" y="6812"/>
                  </a:cubicBezTo>
                  <a:cubicBezTo>
                    <a:pt x="10167" y="6842"/>
                    <a:pt x="10237" y="6883"/>
                    <a:pt x="10310" y="6926"/>
                  </a:cubicBezTo>
                  <a:cubicBezTo>
                    <a:pt x="10437" y="7001"/>
                    <a:pt x="10576" y="7084"/>
                    <a:pt x="10659" y="7135"/>
                  </a:cubicBezTo>
                  <a:cubicBezTo>
                    <a:pt x="10216" y="8388"/>
                    <a:pt x="10216" y="8388"/>
                    <a:pt x="10216" y="8388"/>
                  </a:cubicBezTo>
                  <a:cubicBezTo>
                    <a:pt x="9735" y="8222"/>
                    <a:pt x="9183" y="7973"/>
                    <a:pt x="9027" y="7906"/>
                  </a:cubicBezTo>
                  <a:cubicBezTo>
                    <a:pt x="8881" y="7844"/>
                    <a:pt x="8740" y="7714"/>
                    <a:pt x="8695" y="7607"/>
                  </a:cubicBezTo>
                  <a:cubicBezTo>
                    <a:pt x="8667" y="7544"/>
                    <a:pt x="8658" y="7465"/>
                    <a:pt x="8658" y="7384"/>
                  </a:cubicBezTo>
                  <a:cubicBezTo>
                    <a:pt x="8658" y="7328"/>
                    <a:pt x="8662" y="7273"/>
                    <a:pt x="8664" y="7221"/>
                  </a:cubicBezTo>
                  <a:cubicBezTo>
                    <a:pt x="8669" y="7133"/>
                    <a:pt x="8678" y="6823"/>
                    <a:pt x="8678" y="6528"/>
                  </a:cubicBezTo>
                  <a:cubicBezTo>
                    <a:pt x="8678" y="6386"/>
                    <a:pt x="8676" y="6248"/>
                    <a:pt x="8670" y="6141"/>
                  </a:cubicBezTo>
                  <a:cubicBezTo>
                    <a:pt x="8649" y="5796"/>
                    <a:pt x="8470" y="5339"/>
                    <a:pt x="8349" y="5108"/>
                  </a:cubicBezTo>
                  <a:cubicBezTo>
                    <a:pt x="8349" y="5106"/>
                    <a:pt x="8349" y="5106"/>
                    <a:pt x="8349" y="5106"/>
                  </a:cubicBezTo>
                  <a:cubicBezTo>
                    <a:pt x="8040" y="4576"/>
                    <a:pt x="8040" y="4576"/>
                    <a:pt x="8040" y="4576"/>
                  </a:cubicBezTo>
                  <a:cubicBezTo>
                    <a:pt x="9616" y="4121"/>
                    <a:pt x="9616" y="4121"/>
                    <a:pt x="9616" y="4121"/>
                  </a:cubicBezTo>
                  <a:cubicBezTo>
                    <a:pt x="9632" y="4180"/>
                    <a:pt x="9701" y="4436"/>
                    <a:pt x="9774" y="4715"/>
                  </a:cubicBezTo>
                  <a:cubicBezTo>
                    <a:pt x="9857" y="5033"/>
                    <a:pt x="9944" y="5383"/>
                    <a:pt x="9962" y="5499"/>
                  </a:cubicBezTo>
                  <a:cubicBezTo>
                    <a:pt x="9973" y="5566"/>
                    <a:pt x="9977" y="5661"/>
                    <a:pt x="9977" y="5766"/>
                  </a:cubicBezTo>
                  <a:cubicBezTo>
                    <a:pt x="9977" y="6022"/>
                    <a:pt x="9953" y="6336"/>
                    <a:pt x="9948" y="6471"/>
                  </a:cubicBezTo>
                  <a:cubicBezTo>
                    <a:pt x="9948" y="6483"/>
                    <a:pt x="9948" y="6494"/>
                    <a:pt x="9948" y="6504"/>
                  </a:cubicBezTo>
                  <a:cubicBezTo>
                    <a:pt x="9948" y="6633"/>
                    <a:pt x="9976" y="6704"/>
                    <a:pt x="10001" y="6739"/>
                  </a:cubicBezTo>
                  <a:close/>
                  <a:moveTo>
                    <a:pt x="8251" y="7923"/>
                  </a:moveTo>
                  <a:cubicBezTo>
                    <a:pt x="8152" y="7817"/>
                    <a:pt x="8152" y="7817"/>
                    <a:pt x="8152" y="7817"/>
                  </a:cubicBezTo>
                  <a:cubicBezTo>
                    <a:pt x="8148" y="7812"/>
                    <a:pt x="8148" y="7812"/>
                    <a:pt x="8148" y="7812"/>
                  </a:cubicBezTo>
                  <a:cubicBezTo>
                    <a:pt x="8092" y="7863"/>
                    <a:pt x="8092" y="7863"/>
                    <a:pt x="8092" y="7863"/>
                  </a:cubicBezTo>
                  <a:cubicBezTo>
                    <a:pt x="8189" y="7968"/>
                    <a:pt x="8189" y="7968"/>
                    <a:pt x="8189" y="7968"/>
                  </a:cubicBezTo>
                  <a:cubicBezTo>
                    <a:pt x="8185" y="7969"/>
                    <a:pt x="8180" y="7970"/>
                    <a:pt x="8175" y="7970"/>
                  </a:cubicBezTo>
                  <a:cubicBezTo>
                    <a:pt x="8161" y="7972"/>
                    <a:pt x="8147" y="7974"/>
                    <a:pt x="8134" y="7975"/>
                  </a:cubicBezTo>
                  <a:cubicBezTo>
                    <a:pt x="7910" y="7737"/>
                    <a:pt x="7910" y="7737"/>
                    <a:pt x="7910" y="7737"/>
                  </a:cubicBezTo>
                  <a:cubicBezTo>
                    <a:pt x="7934" y="7728"/>
                    <a:pt x="8007" y="7701"/>
                    <a:pt x="8084" y="7672"/>
                  </a:cubicBezTo>
                  <a:cubicBezTo>
                    <a:pt x="8198" y="7788"/>
                    <a:pt x="8319" y="7909"/>
                    <a:pt x="8357" y="7943"/>
                  </a:cubicBezTo>
                  <a:cubicBezTo>
                    <a:pt x="8307" y="7952"/>
                    <a:pt x="8253" y="7960"/>
                    <a:pt x="8204" y="7967"/>
                  </a:cubicBezTo>
                  <a:lnTo>
                    <a:pt x="8251" y="7923"/>
                  </a:lnTo>
                  <a:close/>
                  <a:moveTo>
                    <a:pt x="8196" y="7956"/>
                  </a:moveTo>
                  <a:cubicBezTo>
                    <a:pt x="8111" y="7864"/>
                    <a:pt x="8111" y="7864"/>
                    <a:pt x="8111" y="7864"/>
                  </a:cubicBezTo>
                  <a:cubicBezTo>
                    <a:pt x="8147" y="7831"/>
                    <a:pt x="8147" y="7831"/>
                    <a:pt x="8147" y="7831"/>
                  </a:cubicBezTo>
                  <a:cubicBezTo>
                    <a:pt x="8232" y="7922"/>
                    <a:pt x="8232" y="7922"/>
                    <a:pt x="8232" y="7922"/>
                  </a:cubicBezTo>
                  <a:lnTo>
                    <a:pt x="8196" y="7956"/>
                  </a:lnTo>
                  <a:close/>
                  <a:moveTo>
                    <a:pt x="7431" y="11784"/>
                  </a:moveTo>
                  <a:cubicBezTo>
                    <a:pt x="7763" y="11954"/>
                    <a:pt x="7763" y="11954"/>
                    <a:pt x="7763" y="11954"/>
                  </a:cubicBezTo>
                  <a:cubicBezTo>
                    <a:pt x="7593" y="12302"/>
                    <a:pt x="7593" y="12302"/>
                    <a:pt x="7593" y="12302"/>
                  </a:cubicBezTo>
                  <a:cubicBezTo>
                    <a:pt x="7586" y="12297"/>
                    <a:pt x="7578" y="12291"/>
                    <a:pt x="7568" y="12283"/>
                  </a:cubicBezTo>
                  <a:cubicBezTo>
                    <a:pt x="7546" y="12267"/>
                    <a:pt x="7518" y="12245"/>
                    <a:pt x="7490" y="12223"/>
                  </a:cubicBezTo>
                  <a:cubicBezTo>
                    <a:pt x="7434" y="12179"/>
                    <a:pt x="7380" y="12135"/>
                    <a:pt x="7379" y="12135"/>
                  </a:cubicBezTo>
                  <a:cubicBezTo>
                    <a:pt x="7378" y="12134"/>
                    <a:pt x="7378" y="12134"/>
                    <a:pt x="7378" y="12134"/>
                  </a:cubicBezTo>
                  <a:cubicBezTo>
                    <a:pt x="7377" y="12134"/>
                    <a:pt x="7377" y="12134"/>
                    <a:pt x="7377" y="12134"/>
                  </a:cubicBezTo>
                  <a:cubicBezTo>
                    <a:pt x="7377" y="12134"/>
                    <a:pt x="7240" y="12098"/>
                    <a:pt x="7169" y="12079"/>
                  </a:cubicBezTo>
                  <a:cubicBezTo>
                    <a:pt x="7145" y="12073"/>
                    <a:pt x="7130" y="12069"/>
                    <a:pt x="7126" y="12069"/>
                  </a:cubicBezTo>
                  <a:cubicBezTo>
                    <a:pt x="7126" y="12083"/>
                    <a:pt x="7126" y="12083"/>
                    <a:pt x="7126" y="12083"/>
                  </a:cubicBezTo>
                  <a:cubicBezTo>
                    <a:pt x="7126" y="12083"/>
                    <a:pt x="7126" y="12083"/>
                    <a:pt x="7126" y="12083"/>
                  </a:cubicBezTo>
                  <a:cubicBezTo>
                    <a:pt x="7126" y="12083"/>
                    <a:pt x="7127" y="12083"/>
                    <a:pt x="7128" y="12084"/>
                  </a:cubicBezTo>
                  <a:cubicBezTo>
                    <a:pt x="7130" y="12084"/>
                    <a:pt x="7133" y="12085"/>
                    <a:pt x="7137" y="12086"/>
                  </a:cubicBezTo>
                  <a:cubicBezTo>
                    <a:pt x="7144" y="12087"/>
                    <a:pt x="7154" y="12090"/>
                    <a:pt x="7166" y="12093"/>
                  </a:cubicBezTo>
                  <a:cubicBezTo>
                    <a:pt x="7189" y="12099"/>
                    <a:pt x="7220" y="12107"/>
                    <a:pt x="7251" y="12115"/>
                  </a:cubicBezTo>
                  <a:cubicBezTo>
                    <a:pt x="7307" y="12130"/>
                    <a:pt x="7363" y="12145"/>
                    <a:pt x="7372" y="12147"/>
                  </a:cubicBezTo>
                  <a:cubicBezTo>
                    <a:pt x="7387" y="12159"/>
                    <a:pt x="7540" y="12282"/>
                    <a:pt x="7587" y="12314"/>
                  </a:cubicBezTo>
                  <a:cubicBezTo>
                    <a:pt x="7587" y="12314"/>
                    <a:pt x="7587" y="12314"/>
                    <a:pt x="7587" y="12315"/>
                  </a:cubicBezTo>
                  <a:cubicBezTo>
                    <a:pt x="7463" y="12568"/>
                    <a:pt x="7463" y="12568"/>
                    <a:pt x="7463" y="12568"/>
                  </a:cubicBezTo>
                  <a:cubicBezTo>
                    <a:pt x="7040" y="12433"/>
                    <a:pt x="7040" y="12433"/>
                    <a:pt x="7040" y="12433"/>
                  </a:cubicBezTo>
                  <a:cubicBezTo>
                    <a:pt x="7123" y="12293"/>
                    <a:pt x="7123" y="12293"/>
                    <a:pt x="7123" y="12293"/>
                  </a:cubicBezTo>
                  <a:cubicBezTo>
                    <a:pt x="7120" y="11966"/>
                    <a:pt x="7120" y="11966"/>
                    <a:pt x="7120" y="11966"/>
                  </a:cubicBezTo>
                  <a:cubicBezTo>
                    <a:pt x="7128" y="11946"/>
                    <a:pt x="7227" y="11661"/>
                    <a:pt x="7308" y="11427"/>
                  </a:cubicBezTo>
                  <a:cubicBezTo>
                    <a:pt x="7471" y="11584"/>
                    <a:pt x="7471" y="11584"/>
                    <a:pt x="7471" y="11584"/>
                  </a:cubicBezTo>
                  <a:cubicBezTo>
                    <a:pt x="7776" y="11602"/>
                    <a:pt x="7776" y="11602"/>
                    <a:pt x="7776" y="11602"/>
                  </a:cubicBezTo>
                  <a:cubicBezTo>
                    <a:pt x="7886" y="11700"/>
                    <a:pt x="7886" y="11700"/>
                    <a:pt x="7886" y="11700"/>
                  </a:cubicBezTo>
                  <a:cubicBezTo>
                    <a:pt x="7769" y="11941"/>
                    <a:pt x="7769" y="11941"/>
                    <a:pt x="7769" y="11941"/>
                  </a:cubicBezTo>
                  <a:cubicBezTo>
                    <a:pt x="7436" y="11771"/>
                    <a:pt x="7436" y="11771"/>
                    <a:pt x="7436" y="11771"/>
                  </a:cubicBezTo>
                  <a:cubicBezTo>
                    <a:pt x="7211" y="11709"/>
                    <a:pt x="7211" y="11709"/>
                    <a:pt x="7211" y="11709"/>
                  </a:cubicBezTo>
                  <a:cubicBezTo>
                    <a:pt x="7207" y="11722"/>
                    <a:pt x="7207" y="11722"/>
                    <a:pt x="7207" y="11722"/>
                  </a:cubicBezTo>
                  <a:lnTo>
                    <a:pt x="7431" y="11784"/>
                  </a:lnTo>
                  <a:close/>
                  <a:moveTo>
                    <a:pt x="7925" y="13425"/>
                  </a:moveTo>
                  <a:cubicBezTo>
                    <a:pt x="7925" y="13717"/>
                    <a:pt x="7925" y="13717"/>
                    <a:pt x="7925" y="13717"/>
                  </a:cubicBezTo>
                  <a:cubicBezTo>
                    <a:pt x="7757" y="13724"/>
                    <a:pt x="7757" y="13724"/>
                    <a:pt x="7757" y="13724"/>
                  </a:cubicBezTo>
                  <a:cubicBezTo>
                    <a:pt x="7757" y="13434"/>
                    <a:pt x="7757" y="13434"/>
                    <a:pt x="7757" y="13434"/>
                  </a:cubicBezTo>
                  <a:cubicBezTo>
                    <a:pt x="7743" y="13434"/>
                    <a:pt x="7743" y="13434"/>
                    <a:pt x="7743" y="13434"/>
                  </a:cubicBezTo>
                  <a:cubicBezTo>
                    <a:pt x="7743" y="13725"/>
                    <a:pt x="7743" y="13725"/>
                    <a:pt x="7743" y="13725"/>
                  </a:cubicBezTo>
                  <a:cubicBezTo>
                    <a:pt x="7575" y="13731"/>
                    <a:pt x="7575" y="13731"/>
                    <a:pt x="7575" y="13731"/>
                  </a:cubicBezTo>
                  <a:cubicBezTo>
                    <a:pt x="7575" y="13434"/>
                    <a:pt x="7575" y="13434"/>
                    <a:pt x="7575" y="13434"/>
                  </a:cubicBezTo>
                  <a:cubicBezTo>
                    <a:pt x="7561" y="13434"/>
                    <a:pt x="7561" y="13434"/>
                    <a:pt x="7561" y="13434"/>
                  </a:cubicBezTo>
                  <a:cubicBezTo>
                    <a:pt x="7561" y="13732"/>
                    <a:pt x="7561" y="13732"/>
                    <a:pt x="7561" y="13732"/>
                  </a:cubicBezTo>
                  <a:cubicBezTo>
                    <a:pt x="7374" y="13739"/>
                    <a:pt x="7374" y="13739"/>
                    <a:pt x="7374" y="13739"/>
                  </a:cubicBezTo>
                  <a:cubicBezTo>
                    <a:pt x="7358" y="13654"/>
                    <a:pt x="7350" y="13578"/>
                    <a:pt x="7346" y="13522"/>
                  </a:cubicBezTo>
                  <a:cubicBezTo>
                    <a:pt x="7343" y="13483"/>
                    <a:pt x="7342" y="13455"/>
                    <a:pt x="7342" y="13441"/>
                  </a:cubicBezTo>
                  <a:cubicBezTo>
                    <a:pt x="7345" y="13441"/>
                    <a:pt x="7348" y="13441"/>
                    <a:pt x="7351" y="13441"/>
                  </a:cubicBezTo>
                  <a:cubicBezTo>
                    <a:pt x="7383" y="13439"/>
                    <a:pt x="7428" y="13437"/>
                    <a:pt x="7483" y="13435"/>
                  </a:cubicBezTo>
                  <a:cubicBezTo>
                    <a:pt x="7592" y="13431"/>
                    <a:pt x="7737" y="13426"/>
                    <a:pt x="7882" y="13422"/>
                  </a:cubicBezTo>
                  <a:cubicBezTo>
                    <a:pt x="7956" y="13419"/>
                    <a:pt x="8031" y="13417"/>
                    <a:pt x="8100" y="13415"/>
                  </a:cubicBezTo>
                  <a:cubicBezTo>
                    <a:pt x="8100" y="13710"/>
                    <a:pt x="8100" y="13710"/>
                    <a:pt x="8100" y="13710"/>
                  </a:cubicBezTo>
                  <a:cubicBezTo>
                    <a:pt x="7939" y="13717"/>
                    <a:pt x="7939" y="13717"/>
                    <a:pt x="7939" y="13717"/>
                  </a:cubicBezTo>
                  <a:cubicBezTo>
                    <a:pt x="7939" y="13425"/>
                    <a:pt x="7939" y="13425"/>
                    <a:pt x="7939" y="13425"/>
                  </a:cubicBezTo>
                  <a:lnTo>
                    <a:pt x="7925" y="13425"/>
                  </a:lnTo>
                  <a:close/>
                  <a:moveTo>
                    <a:pt x="7679" y="14966"/>
                  </a:moveTo>
                  <a:cubicBezTo>
                    <a:pt x="7674" y="14997"/>
                    <a:pt x="7674" y="14997"/>
                    <a:pt x="7674" y="14997"/>
                  </a:cubicBezTo>
                  <a:cubicBezTo>
                    <a:pt x="7573" y="14977"/>
                    <a:pt x="7573" y="14977"/>
                    <a:pt x="7573" y="14977"/>
                  </a:cubicBezTo>
                  <a:cubicBezTo>
                    <a:pt x="7584" y="14904"/>
                    <a:pt x="7584" y="14904"/>
                    <a:pt x="7584" y="14904"/>
                  </a:cubicBezTo>
                  <a:cubicBezTo>
                    <a:pt x="7643" y="14913"/>
                    <a:pt x="7643" y="14913"/>
                    <a:pt x="7643" y="14913"/>
                  </a:cubicBezTo>
                  <a:cubicBezTo>
                    <a:pt x="7636" y="14959"/>
                    <a:pt x="7636" y="14959"/>
                    <a:pt x="7636" y="14959"/>
                  </a:cubicBezTo>
                  <a:lnTo>
                    <a:pt x="7679" y="14966"/>
                  </a:lnTo>
                  <a:close/>
                  <a:moveTo>
                    <a:pt x="7672" y="15011"/>
                  </a:moveTo>
                  <a:cubicBezTo>
                    <a:pt x="7665" y="15055"/>
                    <a:pt x="7665" y="15055"/>
                    <a:pt x="7665" y="15055"/>
                  </a:cubicBezTo>
                  <a:cubicBezTo>
                    <a:pt x="7622" y="15049"/>
                    <a:pt x="7622" y="15049"/>
                    <a:pt x="7622" y="15049"/>
                  </a:cubicBezTo>
                  <a:cubicBezTo>
                    <a:pt x="7615" y="15095"/>
                    <a:pt x="7615" y="15095"/>
                    <a:pt x="7615" y="15095"/>
                  </a:cubicBezTo>
                  <a:cubicBezTo>
                    <a:pt x="7556" y="15086"/>
                    <a:pt x="7556" y="15086"/>
                    <a:pt x="7556" y="15086"/>
                  </a:cubicBezTo>
                  <a:cubicBezTo>
                    <a:pt x="7570" y="14991"/>
                    <a:pt x="7570" y="14991"/>
                    <a:pt x="7570" y="14991"/>
                  </a:cubicBezTo>
                  <a:lnTo>
                    <a:pt x="7672" y="15011"/>
                  </a:lnTo>
                  <a:close/>
                  <a:moveTo>
                    <a:pt x="7573" y="14889"/>
                  </a:moveTo>
                  <a:cubicBezTo>
                    <a:pt x="7560" y="14974"/>
                    <a:pt x="7560" y="14974"/>
                    <a:pt x="7560" y="14974"/>
                  </a:cubicBezTo>
                  <a:cubicBezTo>
                    <a:pt x="7192" y="14903"/>
                    <a:pt x="7192" y="14903"/>
                    <a:pt x="7192" y="14903"/>
                  </a:cubicBezTo>
                  <a:cubicBezTo>
                    <a:pt x="7192" y="14869"/>
                    <a:pt x="7192" y="14836"/>
                    <a:pt x="7193" y="14806"/>
                  </a:cubicBezTo>
                  <a:cubicBezTo>
                    <a:pt x="7217" y="14811"/>
                    <a:pt x="7340" y="14838"/>
                    <a:pt x="7464" y="14865"/>
                  </a:cubicBezTo>
                  <a:cubicBezTo>
                    <a:pt x="7502" y="14873"/>
                    <a:pt x="7539" y="14881"/>
                    <a:pt x="7575" y="14889"/>
                  </a:cubicBezTo>
                  <a:lnTo>
                    <a:pt x="7573" y="14889"/>
                  </a:lnTo>
                  <a:close/>
                  <a:moveTo>
                    <a:pt x="7192" y="14607"/>
                  </a:moveTo>
                  <a:cubicBezTo>
                    <a:pt x="7180" y="14552"/>
                    <a:pt x="7139" y="14370"/>
                    <a:pt x="7115" y="14267"/>
                  </a:cubicBezTo>
                  <a:cubicBezTo>
                    <a:pt x="7107" y="14236"/>
                    <a:pt x="7102" y="14213"/>
                    <a:pt x="7098" y="14201"/>
                  </a:cubicBezTo>
                  <a:cubicBezTo>
                    <a:pt x="7243" y="14196"/>
                    <a:pt x="7360" y="14191"/>
                    <a:pt x="7389" y="14190"/>
                  </a:cubicBezTo>
                  <a:cubicBezTo>
                    <a:pt x="7387" y="14218"/>
                    <a:pt x="7382" y="14315"/>
                    <a:pt x="7382" y="14359"/>
                  </a:cubicBezTo>
                  <a:cubicBezTo>
                    <a:pt x="7382" y="14368"/>
                    <a:pt x="7382" y="14375"/>
                    <a:pt x="7383" y="14380"/>
                  </a:cubicBezTo>
                  <a:cubicBezTo>
                    <a:pt x="7384" y="14381"/>
                    <a:pt x="7382" y="14383"/>
                    <a:pt x="7388" y="14386"/>
                  </a:cubicBezTo>
                  <a:cubicBezTo>
                    <a:pt x="7395" y="14389"/>
                    <a:pt x="7424" y="14393"/>
                    <a:pt x="7436" y="14394"/>
                  </a:cubicBezTo>
                  <a:cubicBezTo>
                    <a:pt x="7473" y="14575"/>
                    <a:pt x="7473" y="14575"/>
                    <a:pt x="7473" y="14575"/>
                  </a:cubicBezTo>
                  <a:cubicBezTo>
                    <a:pt x="7425" y="14593"/>
                    <a:pt x="7371" y="14605"/>
                    <a:pt x="7312" y="14606"/>
                  </a:cubicBezTo>
                  <a:cubicBezTo>
                    <a:pt x="7282" y="14606"/>
                    <a:pt x="7240" y="14607"/>
                    <a:pt x="7192" y="14607"/>
                  </a:cubicBezTo>
                  <a:close/>
                  <a:moveTo>
                    <a:pt x="6938" y="15926"/>
                  </a:moveTo>
                  <a:cubicBezTo>
                    <a:pt x="6699" y="15919"/>
                    <a:pt x="6699" y="15919"/>
                    <a:pt x="6699" y="15919"/>
                  </a:cubicBezTo>
                  <a:cubicBezTo>
                    <a:pt x="6708" y="15325"/>
                    <a:pt x="6708" y="15325"/>
                    <a:pt x="6708" y="15325"/>
                  </a:cubicBezTo>
                  <a:cubicBezTo>
                    <a:pt x="6733" y="15323"/>
                    <a:pt x="6733" y="15323"/>
                    <a:pt x="6733" y="15323"/>
                  </a:cubicBezTo>
                  <a:cubicBezTo>
                    <a:pt x="6729" y="15172"/>
                    <a:pt x="6729" y="15172"/>
                    <a:pt x="6729" y="15172"/>
                  </a:cubicBezTo>
                  <a:cubicBezTo>
                    <a:pt x="6869" y="15204"/>
                    <a:pt x="6869" y="15204"/>
                    <a:pt x="6869" y="15204"/>
                  </a:cubicBezTo>
                  <a:cubicBezTo>
                    <a:pt x="6856" y="15501"/>
                    <a:pt x="6856" y="15501"/>
                    <a:pt x="6856" y="15501"/>
                  </a:cubicBezTo>
                  <a:cubicBezTo>
                    <a:pt x="6963" y="15519"/>
                    <a:pt x="6963" y="15519"/>
                    <a:pt x="6963" y="15519"/>
                  </a:cubicBezTo>
                  <a:cubicBezTo>
                    <a:pt x="6959" y="15567"/>
                    <a:pt x="6938" y="15867"/>
                    <a:pt x="6938" y="15926"/>
                  </a:cubicBezTo>
                  <a:cubicBezTo>
                    <a:pt x="6938" y="15926"/>
                    <a:pt x="6938" y="15926"/>
                    <a:pt x="6938" y="15926"/>
                  </a:cubicBezTo>
                  <a:close/>
                  <a:moveTo>
                    <a:pt x="6395" y="16809"/>
                  </a:moveTo>
                  <a:cubicBezTo>
                    <a:pt x="6441" y="16749"/>
                    <a:pt x="6441" y="16749"/>
                    <a:pt x="6441" y="16749"/>
                  </a:cubicBezTo>
                  <a:cubicBezTo>
                    <a:pt x="6325" y="16662"/>
                    <a:pt x="6325" y="16662"/>
                    <a:pt x="6325" y="16662"/>
                  </a:cubicBezTo>
                  <a:cubicBezTo>
                    <a:pt x="6320" y="16658"/>
                    <a:pt x="6320" y="16658"/>
                    <a:pt x="6320" y="16658"/>
                  </a:cubicBezTo>
                  <a:cubicBezTo>
                    <a:pt x="6276" y="16716"/>
                    <a:pt x="6276" y="16716"/>
                    <a:pt x="6276" y="16716"/>
                  </a:cubicBezTo>
                  <a:cubicBezTo>
                    <a:pt x="6232" y="16676"/>
                    <a:pt x="6232" y="16676"/>
                    <a:pt x="6232" y="16676"/>
                  </a:cubicBezTo>
                  <a:cubicBezTo>
                    <a:pt x="6238" y="16671"/>
                    <a:pt x="6245" y="16666"/>
                    <a:pt x="6251" y="16660"/>
                  </a:cubicBezTo>
                  <a:cubicBezTo>
                    <a:pt x="6264" y="16648"/>
                    <a:pt x="6275" y="16633"/>
                    <a:pt x="6283" y="16617"/>
                  </a:cubicBezTo>
                  <a:cubicBezTo>
                    <a:pt x="6720" y="16717"/>
                    <a:pt x="6720" y="16717"/>
                    <a:pt x="6720" y="16717"/>
                  </a:cubicBezTo>
                  <a:cubicBezTo>
                    <a:pt x="6733" y="16812"/>
                    <a:pt x="6733" y="16812"/>
                    <a:pt x="6733" y="16812"/>
                  </a:cubicBezTo>
                  <a:cubicBezTo>
                    <a:pt x="6720" y="16820"/>
                    <a:pt x="6677" y="16848"/>
                    <a:pt x="6634" y="16877"/>
                  </a:cubicBezTo>
                  <a:cubicBezTo>
                    <a:pt x="6590" y="16906"/>
                    <a:pt x="6545" y="16935"/>
                    <a:pt x="6532" y="16944"/>
                  </a:cubicBezTo>
                  <a:cubicBezTo>
                    <a:pt x="6304" y="16741"/>
                    <a:pt x="6304" y="16741"/>
                    <a:pt x="6304" y="16741"/>
                  </a:cubicBezTo>
                  <a:lnTo>
                    <a:pt x="6395" y="16809"/>
                  </a:lnTo>
                  <a:close/>
                  <a:moveTo>
                    <a:pt x="6292" y="16716"/>
                  </a:moveTo>
                  <a:cubicBezTo>
                    <a:pt x="6322" y="16676"/>
                    <a:pt x="6322" y="16676"/>
                    <a:pt x="6322" y="16676"/>
                  </a:cubicBezTo>
                  <a:cubicBezTo>
                    <a:pt x="6422" y="16751"/>
                    <a:pt x="6422" y="16751"/>
                    <a:pt x="6422" y="16751"/>
                  </a:cubicBezTo>
                  <a:cubicBezTo>
                    <a:pt x="6393" y="16791"/>
                    <a:pt x="6393" y="16791"/>
                    <a:pt x="6393" y="16791"/>
                  </a:cubicBezTo>
                  <a:lnTo>
                    <a:pt x="6292" y="16716"/>
                  </a:lnTo>
                  <a:close/>
                  <a:moveTo>
                    <a:pt x="6689" y="15441"/>
                  </a:moveTo>
                  <a:cubicBezTo>
                    <a:pt x="6171" y="15476"/>
                    <a:pt x="6171" y="15476"/>
                    <a:pt x="6171" y="15476"/>
                  </a:cubicBezTo>
                  <a:cubicBezTo>
                    <a:pt x="6162" y="15361"/>
                    <a:pt x="6162" y="15361"/>
                    <a:pt x="6162" y="15361"/>
                  </a:cubicBezTo>
                  <a:cubicBezTo>
                    <a:pt x="6206" y="15358"/>
                    <a:pt x="6206" y="15358"/>
                    <a:pt x="6206" y="15358"/>
                  </a:cubicBezTo>
                  <a:cubicBezTo>
                    <a:pt x="6205" y="15404"/>
                    <a:pt x="6205" y="15404"/>
                    <a:pt x="6205" y="15404"/>
                  </a:cubicBezTo>
                  <a:cubicBezTo>
                    <a:pt x="6248" y="15404"/>
                    <a:pt x="6248" y="15404"/>
                    <a:pt x="6248" y="15404"/>
                  </a:cubicBezTo>
                  <a:cubicBezTo>
                    <a:pt x="6247" y="15451"/>
                    <a:pt x="6247" y="15451"/>
                    <a:pt x="6247" y="15451"/>
                  </a:cubicBezTo>
                  <a:cubicBezTo>
                    <a:pt x="6327" y="15453"/>
                    <a:pt x="6327" y="15453"/>
                    <a:pt x="6327" y="15453"/>
                  </a:cubicBezTo>
                  <a:cubicBezTo>
                    <a:pt x="6333" y="15453"/>
                    <a:pt x="6333" y="15453"/>
                    <a:pt x="6333" y="15453"/>
                  </a:cubicBezTo>
                  <a:cubicBezTo>
                    <a:pt x="6335" y="15350"/>
                    <a:pt x="6335" y="15350"/>
                    <a:pt x="6335" y="15350"/>
                  </a:cubicBezTo>
                  <a:cubicBezTo>
                    <a:pt x="6694" y="15326"/>
                    <a:pt x="6694" y="15326"/>
                    <a:pt x="6694" y="15326"/>
                  </a:cubicBezTo>
                  <a:cubicBezTo>
                    <a:pt x="6685" y="15919"/>
                    <a:pt x="6685" y="15919"/>
                    <a:pt x="6685" y="15919"/>
                  </a:cubicBezTo>
                  <a:cubicBezTo>
                    <a:pt x="6420" y="15911"/>
                    <a:pt x="6420" y="15911"/>
                    <a:pt x="6420" y="15911"/>
                  </a:cubicBezTo>
                  <a:cubicBezTo>
                    <a:pt x="6425" y="15644"/>
                    <a:pt x="6425" y="15644"/>
                    <a:pt x="6425" y="15644"/>
                  </a:cubicBezTo>
                  <a:cubicBezTo>
                    <a:pt x="6688" y="15629"/>
                    <a:pt x="6688" y="15629"/>
                    <a:pt x="6688" y="15629"/>
                  </a:cubicBezTo>
                  <a:cubicBezTo>
                    <a:pt x="6687" y="15615"/>
                    <a:pt x="6687" y="15615"/>
                    <a:pt x="6687" y="15615"/>
                  </a:cubicBezTo>
                  <a:cubicBezTo>
                    <a:pt x="6184" y="15644"/>
                    <a:pt x="6184" y="15644"/>
                    <a:pt x="6184" y="15644"/>
                  </a:cubicBezTo>
                  <a:cubicBezTo>
                    <a:pt x="6172" y="15490"/>
                    <a:pt x="6172" y="15490"/>
                    <a:pt x="6172" y="15490"/>
                  </a:cubicBezTo>
                  <a:cubicBezTo>
                    <a:pt x="6690" y="15455"/>
                    <a:pt x="6690" y="15455"/>
                    <a:pt x="6690" y="15455"/>
                  </a:cubicBezTo>
                  <a:lnTo>
                    <a:pt x="6689" y="15441"/>
                  </a:lnTo>
                  <a:close/>
                  <a:moveTo>
                    <a:pt x="5796" y="15459"/>
                  </a:moveTo>
                  <a:cubicBezTo>
                    <a:pt x="5796" y="15459"/>
                    <a:pt x="5796" y="15459"/>
                    <a:pt x="5796" y="15459"/>
                  </a:cubicBezTo>
                  <a:cubicBezTo>
                    <a:pt x="5796" y="15459"/>
                    <a:pt x="5795" y="15459"/>
                    <a:pt x="5795" y="15459"/>
                  </a:cubicBezTo>
                  <a:cubicBezTo>
                    <a:pt x="5795" y="15459"/>
                    <a:pt x="5794" y="15459"/>
                    <a:pt x="5794" y="15460"/>
                  </a:cubicBezTo>
                  <a:cubicBezTo>
                    <a:pt x="5784" y="15462"/>
                    <a:pt x="5650" y="15502"/>
                    <a:pt x="5505" y="15545"/>
                  </a:cubicBezTo>
                  <a:cubicBezTo>
                    <a:pt x="5505" y="15176"/>
                    <a:pt x="5505" y="15176"/>
                    <a:pt x="5505" y="15176"/>
                  </a:cubicBezTo>
                  <a:cubicBezTo>
                    <a:pt x="5504" y="15166"/>
                    <a:pt x="5504" y="15166"/>
                    <a:pt x="5504" y="15166"/>
                  </a:cubicBezTo>
                  <a:cubicBezTo>
                    <a:pt x="5826" y="15178"/>
                    <a:pt x="5826" y="15178"/>
                    <a:pt x="5826" y="15178"/>
                  </a:cubicBezTo>
                  <a:cubicBezTo>
                    <a:pt x="5827" y="15178"/>
                    <a:pt x="6021" y="15175"/>
                    <a:pt x="6082" y="15174"/>
                  </a:cubicBezTo>
                  <a:cubicBezTo>
                    <a:pt x="6127" y="15752"/>
                    <a:pt x="6127" y="15752"/>
                    <a:pt x="6127" y="15752"/>
                  </a:cubicBezTo>
                  <a:cubicBezTo>
                    <a:pt x="5839" y="15684"/>
                    <a:pt x="5839" y="15684"/>
                    <a:pt x="5839" y="15684"/>
                  </a:cubicBezTo>
                  <a:cubicBezTo>
                    <a:pt x="5835" y="15654"/>
                    <a:pt x="5816" y="15491"/>
                    <a:pt x="5804" y="15466"/>
                  </a:cubicBezTo>
                  <a:cubicBezTo>
                    <a:pt x="5803" y="15464"/>
                    <a:pt x="5803" y="15461"/>
                    <a:pt x="5796" y="15459"/>
                  </a:cubicBezTo>
                  <a:cubicBezTo>
                    <a:pt x="5796" y="15459"/>
                    <a:pt x="5796" y="15459"/>
                    <a:pt x="5796" y="15459"/>
                  </a:cubicBezTo>
                  <a:close/>
                  <a:moveTo>
                    <a:pt x="4715" y="15817"/>
                  </a:moveTo>
                  <a:cubicBezTo>
                    <a:pt x="4694" y="15822"/>
                    <a:pt x="4635" y="15837"/>
                    <a:pt x="4573" y="15852"/>
                  </a:cubicBezTo>
                  <a:cubicBezTo>
                    <a:pt x="4521" y="15865"/>
                    <a:pt x="4470" y="15878"/>
                    <a:pt x="4445" y="15884"/>
                  </a:cubicBezTo>
                  <a:cubicBezTo>
                    <a:pt x="4424" y="15775"/>
                    <a:pt x="4399" y="15661"/>
                    <a:pt x="4381" y="15607"/>
                  </a:cubicBezTo>
                  <a:cubicBezTo>
                    <a:pt x="4374" y="15585"/>
                    <a:pt x="4358" y="15552"/>
                    <a:pt x="4336" y="15511"/>
                  </a:cubicBezTo>
                  <a:cubicBezTo>
                    <a:pt x="4340" y="15509"/>
                    <a:pt x="4345" y="15506"/>
                    <a:pt x="4351" y="15503"/>
                  </a:cubicBezTo>
                  <a:cubicBezTo>
                    <a:pt x="4371" y="15492"/>
                    <a:pt x="4399" y="15475"/>
                    <a:pt x="4434" y="15456"/>
                  </a:cubicBezTo>
                  <a:cubicBezTo>
                    <a:pt x="4503" y="15418"/>
                    <a:pt x="4594" y="15366"/>
                    <a:pt x="4686" y="15315"/>
                  </a:cubicBezTo>
                  <a:cubicBezTo>
                    <a:pt x="4727" y="15293"/>
                    <a:pt x="4767" y="15270"/>
                    <a:pt x="4806" y="15249"/>
                  </a:cubicBezTo>
                  <a:cubicBezTo>
                    <a:pt x="4811" y="15270"/>
                    <a:pt x="4835" y="15370"/>
                    <a:pt x="4846" y="15395"/>
                  </a:cubicBezTo>
                  <a:cubicBezTo>
                    <a:pt x="4845" y="15396"/>
                    <a:pt x="4844" y="15396"/>
                    <a:pt x="4843" y="15397"/>
                  </a:cubicBezTo>
                  <a:cubicBezTo>
                    <a:pt x="4838" y="15400"/>
                    <a:pt x="4830" y="15405"/>
                    <a:pt x="4822" y="15411"/>
                  </a:cubicBezTo>
                  <a:cubicBezTo>
                    <a:pt x="4804" y="15422"/>
                    <a:pt x="4780" y="15437"/>
                    <a:pt x="4757" y="15451"/>
                  </a:cubicBezTo>
                  <a:cubicBezTo>
                    <a:pt x="4710" y="15481"/>
                    <a:pt x="4663" y="15509"/>
                    <a:pt x="4663" y="15509"/>
                  </a:cubicBezTo>
                  <a:cubicBezTo>
                    <a:pt x="4658" y="15512"/>
                    <a:pt x="4658" y="15512"/>
                    <a:pt x="4658" y="15512"/>
                  </a:cubicBezTo>
                  <a:lnTo>
                    <a:pt x="4715" y="15817"/>
                  </a:lnTo>
                  <a:close/>
                  <a:moveTo>
                    <a:pt x="4155" y="16317"/>
                  </a:moveTo>
                  <a:cubicBezTo>
                    <a:pt x="4111" y="16348"/>
                    <a:pt x="4076" y="16374"/>
                    <a:pt x="4060" y="16386"/>
                  </a:cubicBezTo>
                  <a:cubicBezTo>
                    <a:pt x="4056" y="16389"/>
                    <a:pt x="4054" y="16390"/>
                    <a:pt x="4050" y="16394"/>
                  </a:cubicBezTo>
                  <a:cubicBezTo>
                    <a:pt x="4049" y="16396"/>
                    <a:pt x="4048" y="16396"/>
                    <a:pt x="4046" y="16400"/>
                  </a:cubicBezTo>
                  <a:cubicBezTo>
                    <a:pt x="4045" y="16400"/>
                    <a:pt x="4045" y="16401"/>
                    <a:pt x="4044" y="16402"/>
                  </a:cubicBezTo>
                  <a:cubicBezTo>
                    <a:pt x="4016" y="16393"/>
                    <a:pt x="3925" y="16365"/>
                    <a:pt x="3830" y="16335"/>
                  </a:cubicBezTo>
                  <a:cubicBezTo>
                    <a:pt x="3729" y="16304"/>
                    <a:pt x="3623" y="16271"/>
                    <a:pt x="3591" y="16259"/>
                  </a:cubicBezTo>
                  <a:cubicBezTo>
                    <a:pt x="3615" y="16238"/>
                    <a:pt x="3693" y="16171"/>
                    <a:pt x="3772" y="16102"/>
                  </a:cubicBezTo>
                  <a:cubicBezTo>
                    <a:pt x="3858" y="16027"/>
                    <a:pt x="3944" y="15952"/>
                    <a:pt x="3965" y="15931"/>
                  </a:cubicBezTo>
                  <a:cubicBezTo>
                    <a:pt x="3999" y="15965"/>
                    <a:pt x="4211" y="16172"/>
                    <a:pt x="4276" y="16231"/>
                  </a:cubicBezTo>
                  <a:cubicBezTo>
                    <a:pt x="4239" y="16257"/>
                    <a:pt x="4201" y="16284"/>
                    <a:pt x="4167" y="16308"/>
                  </a:cubicBezTo>
                  <a:cubicBezTo>
                    <a:pt x="3815" y="16065"/>
                    <a:pt x="3815" y="16065"/>
                    <a:pt x="3815" y="16065"/>
                  </a:cubicBezTo>
                  <a:cubicBezTo>
                    <a:pt x="3807" y="16077"/>
                    <a:pt x="3807" y="16077"/>
                    <a:pt x="3807" y="16077"/>
                  </a:cubicBezTo>
                  <a:lnTo>
                    <a:pt x="4155" y="16317"/>
                  </a:lnTo>
                  <a:close/>
                  <a:moveTo>
                    <a:pt x="3313" y="15945"/>
                  </a:moveTo>
                  <a:cubicBezTo>
                    <a:pt x="3313" y="15946"/>
                    <a:pt x="3313" y="15946"/>
                    <a:pt x="3313" y="15946"/>
                  </a:cubicBezTo>
                  <a:cubicBezTo>
                    <a:pt x="3178" y="15889"/>
                    <a:pt x="3178" y="15889"/>
                    <a:pt x="3178" y="15889"/>
                  </a:cubicBezTo>
                  <a:cubicBezTo>
                    <a:pt x="3164" y="15875"/>
                    <a:pt x="2978" y="15692"/>
                    <a:pt x="2932" y="15645"/>
                  </a:cubicBezTo>
                  <a:cubicBezTo>
                    <a:pt x="3201" y="15495"/>
                    <a:pt x="3201" y="15495"/>
                    <a:pt x="3201" y="15495"/>
                  </a:cubicBezTo>
                  <a:cubicBezTo>
                    <a:pt x="3205" y="15503"/>
                    <a:pt x="3209" y="15511"/>
                    <a:pt x="3214" y="15521"/>
                  </a:cubicBezTo>
                  <a:cubicBezTo>
                    <a:pt x="3230" y="15552"/>
                    <a:pt x="3250" y="15592"/>
                    <a:pt x="3271" y="15632"/>
                  </a:cubicBezTo>
                  <a:cubicBezTo>
                    <a:pt x="3309" y="15704"/>
                    <a:pt x="3346" y="15775"/>
                    <a:pt x="3353" y="15789"/>
                  </a:cubicBezTo>
                  <a:cubicBezTo>
                    <a:pt x="3351" y="15798"/>
                    <a:pt x="3343" y="15827"/>
                    <a:pt x="3335" y="15858"/>
                  </a:cubicBezTo>
                  <a:cubicBezTo>
                    <a:pt x="3325" y="15894"/>
                    <a:pt x="3313" y="15934"/>
                    <a:pt x="3309" y="15941"/>
                  </a:cubicBezTo>
                  <a:cubicBezTo>
                    <a:pt x="3309" y="15941"/>
                    <a:pt x="3309" y="15941"/>
                    <a:pt x="3309" y="15941"/>
                  </a:cubicBezTo>
                  <a:lnTo>
                    <a:pt x="3313" y="15945"/>
                  </a:lnTo>
                  <a:close/>
                  <a:moveTo>
                    <a:pt x="1989" y="14709"/>
                  </a:moveTo>
                  <a:cubicBezTo>
                    <a:pt x="1888" y="14637"/>
                    <a:pt x="1888" y="14637"/>
                    <a:pt x="1888" y="14637"/>
                  </a:cubicBezTo>
                  <a:cubicBezTo>
                    <a:pt x="1906" y="14599"/>
                    <a:pt x="1922" y="14565"/>
                    <a:pt x="1935" y="14539"/>
                  </a:cubicBezTo>
                  <a:cubicBezTo>
                    <a:pt x="2036" y="14611"/>
                    <a:pt x="2036" y="14611"/>
                    <a:pt x="2036" y="14611"/>
                  </a:cubicBezTo>
                  <a:cubicBezTo>
                    <a:pt x="2024" y="14636"/>
                    <a:pt x="2008" y="14670"/>
                    <a:pt x="1989" y="14709"/>
                  </a:cubicBezTo>
                  <a:close/>
                  <a:moveTo>
                    <a:pt x="2047" y="14619"/>
                  </a:moveTo>
                  <a:cubicBezTo>
                    <a:pt x="2117" y="14670"/>
                    <a:pt x="2117" y="14670"/>
                    <a:pt x="2117" y="14670"/>
                  </a:cubicBezTo>
                  <a:cubicBezTo>
                    <a:pt x="2057" y="14757"/>
                    <a:pt x="2057" y="14757"/>
                    <a:pt x="2057" y="14757"/>
                  </a:cubicBezTo>
                  <a:cubicBezTo>
                    <a:pt x="2001" y="14717"/>
                    <a:pt x="2001" y="14717"/>
                    <a:pt x="2001" y="14717"/>
                  </a:cubicBezTo>
                  <a:cubicBezTo>
                    <a:pt x="2019" y="14678"/>
                    <a:pt x="2035" y="14645"/>
                    <a:pt x="2047" y="14619"/>
                  </a:cubicBezTo>
                  <a:close/>
                  <a:moveTo>
                    <a:pt x="1876" y="14629"/>
                  </a:moveTo>
                  <a:cubicBezTo>
                    <a:pt x="1781" y="14561"/>
                    <a:pt x="1781" y="14561"/>
                    <a:pt x="1781" y="14561"/>
                  </a:cubicBezTo>
                  <a:cubicBezTo>
                    <a:pt x="1799" y="14523"/>
                    <a:pt x="1815" y="14489"/>
                    <a:pt x="1828" y="14462"/>
                  </a:cubicBezTo>
                  <a:cubicBezTo>
                    <a:pt x="1924" y="14530"/>
                    <a:pt x="1924" y="14530"/>
                    <a:pt x="1924" y="14530"/>
                  </a:cubicBezTo>
                  <a:cubicBezTo>
                    <a:pt x="1911" y="14557"/>
                    <a:pt x="1895" y="14591"/>
                    <a:pt x="1876" y="14629"/>
                  </a:cubicBezTo>
                  <a:close/>
                  <a:moveTo>
                    <a:pt x="1769" y="14553"/>
                  </a:moveTo>
                  <a:cubicBezTo>
                    <a:pt x="1709" y="14510"/>
                    <a:pt x="1709" y="14510"/>
                    <a:pt x="1709" y="14510"/>
                  </a:cubicBezTo>
                  <a:cubicBezTo>
                    <a:pt x="1774" y="14422"/>
                    <a:pt x="1774" y="14422"/>
                    <a:pt x="1774" y="14422"/>
                  </a:cubicBezTo>
                  <a:cubicBezTo>
                    <a:pt x="1817" y="14453"/>
                    <a:pt x="1817" y="14453"/>
                    <a:pt x="1817" y="14453"/>
                  </a:cubicBezTo>
                  <a:cubicBezTo>
                    <a:pt x="1804" y="14481"/>
                    <a:pt x="1787" y="14515"/>
                    <a:pt x="1769" y="14553"/>
                  </a:cubicBezTo>
                  <a:close/>
                  <a:moveTo>
                    <a:pt x="1775" y="14573"/>
                  </a:moveTo>
                  <a:cubicBezTo>
                    <a:pt x="1871" y="14641"/>
                    <a:pt x="1871" y="14641"/>
                    <a:pt x="1871" y="14641"/>
                  </a:cubicBezTo>
                  <a:cubicBezTo>
                    <a:pt x="1856" y="14671"/>
                    <a:pt x="1841" y="14703"/>
                    <a:pt x="1825" y="14737"/>
                  </a:cubicBezTo>
                  <a:cubicBezTo>
                    <a:pt x="1744" y="14638"/>
                    <a:pt x="1744" y="14638"/>
                    <a:pt x="1744" y="14638"/>
                  </a:cubicBezTo>
                  <a:cubicBezTo>
                    <a:pt x="1754" y="14616"/>
                    <a:pt x="1765" y="14594"/>
                    <a:pt x="1775" y="14573"/>
                  </a:cubicBezTo>
                  <a:close/>
                  <a:moveTo>
                    <a:pt x="1818" y="14751"/>
                  </a:moveTo>
                  <a:cubicBezTo>
                    <a:pt x="1774" y="14843"/>
                    <a:pt x="1726" y="14943"/>
                    <a:pt x="1688" y="15025"/>
                  </a:cubicBezTo>
                  <a:cubicBezTo>
                    <a:pt x="1593" y="14956"/>
                    <a:pt x="1593" y="14956"/>
                    <a:pt x="1593" y="14956"/>
                  </a:cubicBezTo>
                  <a:cubicBezTo>
                    <a:pt x="1622" y="14894"/>
                    <a:pt x="1657" y="14820"/>
                    <a:pt x="1692" y="14746"/>
                  </a:cubicBezTo>
                  <a:cubicBezTo>
                    <a:pt x="1707" y="14715"/>
                    <a:pt x="1722" y="14683"/>
                    <a:pt x="1737" y="14652"/>
                  </a:cubicBezTo>
                  <a:lnTo>
                    <a:pt x="1818" y="14751"/>
                  </a:lnTo>
                  <a:close/>
                  <a:moveTo>
                    <a:pt x="1694" y="15045"/>
                  </a:moveTo>
                  <a:cubicBezTo>
                    <a:pt x="1794" y="15118"/>
                    <a:pt x="1794" y="15118"/>
                    <a:pt x="1794" y="15118"/>
                  </a:cubicBezTo>
                  <a:cubicBezTo>
                    <a:pt x="1777" y="15155"/>
                    <a:pt x="1761" y="15189"/>
                    <a:pt x="1748" y="15216"/>
                  </a:cubicBezTo>
                  <a:cubicBezTo>
                    <a:pt x="1648" y="15144"/>
                    <a:pt x="1648" y="15144"/>
                    <a:pt x="1648" y="15144"/>
                  </a:cubicBezTo>
                  <a:cubicBezTo>
                    <a:pt x="1656" y="15126"/>
                    <a:pt x="1666" y="15104"/>
                    <a:pt x="1678" y="15080"/>
                  </a:cubicBezTo>
                  <a:cubicBezTo>
                    <a:pt x="1683" y="15069"/>
                    <a:pt x="1688" y="15057"/>
                    <a:pt x="1694" y="15045"/>
                  </a:cubicBezTo>
                  <a:close/>
                  <a:moveTo>
                    <a:pt x="1784" y="15172"/>
                  </a:moveTo>
                  <a:cubicBezTo>
                    <a:pt x="1791" y="15158"/>
                    <a:pt x="1798" y="15142"/>
                    <a:pt x="1806" y="15126"/>
                  </a:cubicBezTo>
                  <a:cubicBezTo>
                    <a:pt x="1874" y="15175"/>
                    <a:pt x="1874" y="15175"/>
                    <a:pt x="1874" y="15175"/>
                  </a:cubicBezTo>
                  <a:cubicBezTo>
                    <a:pt x="1813" y="15262"/>
                    <a:pt x="1813" y="15262"/>
                    <a:pt x="1813" y="15262"/>
                  </a:cubicBezTo>
                  <a:cubicBezTo>
                    <a:pt x="1760" y="15224"/>
                    <a:pt x="1760" y="15224"/>
                    <a:pt x="1760" y="15224"/>
                  </a:cubicBezTo>
                  <a:cubicBezTo>
                    <a:pt x="1767" y="15209"/>
                    <a:pt x="1775" y="15191"/>
                    <a:pt x="1784" y="15172"/>
                  </a:cubicBezTo>
                  <a:close/>
                  <a:moveTo>
                    <a:pt x="1800" y="15105"/>
                  </a:moveTo>
                  <a:cubicBezTo>
                    <a:pt x="1699" y="15033"/>
                    <a:pt x="1699" y="15033"/>
                    <a:pt x="1699" y="15033"/>
                  </a:cubicBezTo>
                  <a:cubicBezTo>
                    <a:pt x="1728" y="14973"/>
                    <a:pt x="1761" y="14903"/>
                    <a:pt x="1795" y="14832"/>
                  </a:cubicBezTo>
                  <a:cubicBezTo>
                    <a:pt x="1795" y="14832"/>
                    <a:pt x="1795" y="14832"/>
                    <a:pt x="1795" y="14832"/>
                  </a:cubicBezTo>
                  <a:cubicBezTo>
                    <a:pt x="1915" y="14863"/>
                    <a:pt x="1915" y="14863"/>
                    <a:pt x="1915" y="14863"/>
                  </a:cubicBezTo>
                  <a:cubicBezTo>
                    <a:pt x="1876" y="14945"/>
                    <a:pt x="1835" y="15032"/>
                    <a:pt x="1800" y="15105"/>
                  </a:cubicBezTo>
                  <a:close/>
                  <a:moveTo>
                    <a:pt x="1801" y="14819"/>
                  </a:moveTo>
                  <a:cubicBezTo>
                    <a:pt x="1829" y="14759"/>
                    <a:pt x="1858" y="14701"/>
                    <a:pt x="1882" y="14649"/>
                  </a:cubicBezTo>
                  <a:cubicBezTo>
                    <a:pt x="1983" y="14721"/>
                    <a:pt x="1983" y="14721"/>
                    <a:pt x="1983" y="14721"/>
                  </a:cubicBezTo>
                  <a:cubicBezTo>
                    <a:pt x="1964" y="14760"/>
                    <a:pt x="1943" y="14804"/>
                    <a:pt x="1921" y="14850"/>
                  </a:cubicBezTo>
                  <a:lnTo>
                    <a:pt x="1801" y="14819"/>
                  </a:lnTo>
                  <a:close/>
                  <a:moveTo>
                    <a:pt x="1995" y="14729"/>
                  </a:moveTo>
                  <a:cubicBezTo>
                    <a:pt x="2060" y="14775"/>
                    <a:pt x="2060" y="14775"/>
                    <a:pt x="2060" y="14775"/>
                  </a:cubicBezTo>
                  <a:cubicBezTo>
                    <a:pt x="2132" y="14672"/>
                    <a:pt x="2132" y="14672"/>
                    <a:pt x="2132" y="14672"/>
                  </a:cubicBezTo>
                  <a:cubicBezTo>
                    <a:pt x="2135" y="14667"/>
                    <a:pt x="2135" y="14667"/>
                    <a:pt x="2135" y="14667"/>
                  </a:cubicBezTo>
                  <a:cubicBezTo>
                    <a:pt x="2053" y="14607"/>
                    <a:pt x="2053" y="14607"/>
                    <a:pt x="2053" y="14607"/>
                  </a:cubicBezTo>
                  <a:cubicBezTo>
                    <a:pt x="2060" y="14594"/>
                    <a:pt x="2065" y="14583"/>
                    <a:pt x="2068" y="14577"/>
                  </a:cubicBezTo>
                  <a:cubicBezTo>
                    <a:pt x="2157" y="14654"/>
                    <a:pt x="2157" y="14654"/>
                    <a:pt x="2157" y="14654"/>
                  </a:cubicBezTo>
                  <a:cubicBezTo>
                    <a:pt x="2151" y="14652"/>
                    <a:pt x="2151" y="14652"/>
                    <a:pt x="2151" y="14652"/>
                  </a:cubicBezTo>
                  <a:cubicBezTo>
                    <a:pt x="2151" y="14652"/>
                    <a:pt x="2102" y="14754"/>
                    <a:pt x="2041" y="14882"/>
                  </a:cubicBezTo>
                  <a:cubicBezTo>
                    <a:pt x="1935" y="14854"/>
                    <a:pt x="1935" y="14854"/>
                    <a:pt x="1935" y="14854"/>
                  </a:cubicBezTo>
                  <a:cubicBezTo>
                    <a:pt x="1956" y="14810"/>
                    <a:pt x="1976" y="14767"/>
                    <a:pt x="1995" y="14729"/>
                  </a:cubicBezTo>
                  <a:close/>
                  <a:moveTo>
                    <a:pt x="2042" y="14599"/>
                  </a:moveTo>
                  <a:cubicBezTo>
                    <a:pt x="1941" y="14527"/>
                    <a:pt x="1941" y="14527"/>
                    <a:pt x="1941" y="14527"/>
                  </a:cubicBezTo>
                  <a:cubicBezTo>
                    <a:pt x="1951" y="14507"/>
                    <a:pt x="1958" y="14492"/>
                    <a:pt x="1961" y="14484"/>
                  </a:cubicBezTo>
                  <a:cubicBezTo>
                    <a:pt x="2057" y="14567"/>
                    <a:pt x="2057" y="14567"/>
                    <a:pt x="2057" y="14567"/>
                  </a:cubicBezTo>
                  <a:cubicBezTo>
                    <a:pt x="2054" y="14573"/>
                    <a:pt x="2049" y="14584"/>
                    <a:pt x="2042" y="14599"/>
                  </a:cubicBezTo>
                  <a:close/>
                  <a:moveTo>
                    <a:pt x="1929" y="14518"/>
                  </a:moveTo>
                  <a:cubicBezTo>
                    <a:pt x="1834" y="14450"/>
                    <a:pt x="1834" y="14450"/>
                    <a:pt x="1834" y="14450"/>
                  </a:cubicBezTo>
                  <a:cubicBezTo>
                    <a:pt x="1847" y="14423"/>
                    <a:pt x="1856" y="14404"/>
                    <a:pt x="1860" y="14396"/>
                  </a:cubicBezTo>
                  <a:cubicBezTo>
                    <a:pt x="1950" y="14475"/>
                    <a:pt x="1950" y="14475"/>
                    <a:pt x="1950" y="14475"/>
                  </a:cubicBezTo>
                  <a:cubicBezTo>
                    <a:pt x="1947" y="14481"/>
                    <a:pt x="1940" y="14496"/>
                    <a:pt x="1929" y="14518"/>
                  </a:cubicBezTo>
                  <a:close/>
                  <a:moveTo>
                    <a:pt x="1823" y="14441"/>
                  </a:moveTo>
                  <a:cubicBezTo>
                    <a:pt x="1771" y="14404"/>
                    <a:pt x="1771" y="14404"/>
                    <a:pt x="1771" y="14404"/>
                  </a:cubicBezTo>
                  <a:cubicBezTo>
                    <a:pt x="1690" y="14513"/>
                    <a:pt x="1690" y="14513"/>
                    <a:pt x="1690" y="14513"/>
                  </a:cubicBezTo>
                  <a:cubicBezTo>
                    <a:pt x="1763" y="14565"/>
                    <a:pt x="1763" y="14565"/>
                    <a:pt x="1763" y="14565"/>
                  </a:cubicBezTo>
                  <a:cubicBezTo>
                    <a:pt x="1754" y="14585"/>
                    <a:pt x="1744" y="14605"/>
                    <a:pt x="1734" y="14627"/>
                  </a:cubicBezTo>
                  <a:cubicBezTo>
                    <a:pt x="1665" y="14543"/>
                    <a:pt x="1665" y="14543"/>
                    <a:pt x="1665" y="14543"/>
                  </a:cubicBezTo>
                  <a:cubicBezTo>
                    <a:pt x="1716" y="14438"/>
                    <a:pt x="1758" y="14350"/>
                    <a:pt x="1773" y="14320"/>
                  </a:cubicBezTo>
                  <a:cubicBezTo>
                    <a:pt x="1849" y="14386"/>
                    <a:pt x="1849" y="14386"/>
                    <a:pt x="1849" y="14386"/>
                  </a:cubicBezTo>
                  <a:cubicBezTo>
                    <a:pt x="1847" y="14391"/>
                    <a:pt x="1837" y="14411"/>
                    <a:pt x="1823" y="14441"/>
                  </a:cubicBezTo>
                  <a:close/>
                  <a:moveTo>
                    <a:pt x="1618" y="14607"/>
                  </a:moveTo>
                  <a:cubicBezTo>
                    <a:pt x="1606" y="14599"/>
                    <a:pt x="1565" y="14572"/>
                    <a:pt x="1521" y="14543"/>
                  </a:cubicBezTo>
                  <a:cubicBezTo>
                    <a:pt x="1546" y="14491"/>
                    <a:pt x="1571" y="14440"/>
                    <a:pt x="1593" y="14394"/>
                  </a:cubicBezTo>
                  <a:cubicBezTo>
                    <a:pt x="1667" y="14446"/>
                    <a:pt x="1667" y="14446"/>
                    <a:pt x="1667" y="14446"/>
                  </a:cubicBezTo>
                  <a:cubicBezTo>
                    <a:pt x="1739" y="14343"/>
                    <a:pt x="1739" y="14343"/>
                    <a:pt x="1739" y="14343"/>
                  </a:cubicBezTo>
                  <a:cubicBezTo>
                    <a:pt x="1742" y="14338"/>
                    <a:pt x="1742" y="14338"/>
                    <a:pt x="1742" y="14338"/>
                  </a:cubicBezTo>
                  <a:cubicBezTo>
                    <a:pt x="1652" y="14272"/>
                    <a:pt x="1652" y="14272"/>
                    <a:pt x="1652" y="14272"/>
                  </a:cubicBezTo>
                  <a:cubicBezTo>
                    <a:pt x="1661" y="14254"/>
                    <a:pt x="1667" y="14240"/>
                    <a:pt x="1671" y="14232"/>
                  </a:cubicBezTo>
                  <a:cubicBezTo>
                    <a:pt x="1762" y="14311"/>
                    <a:pt x="1762" y="14311"/>
                    <a:pt x="1762" y="14311"/>
                  </a:cubicBezTo>
                  <a:cubicBezTo>
                    <a:pt x="1747" y="14342"/>
                    <a:pt x="1685" y="14468"/>
                    <a:pt x="1618" y="14607"/>
                  </a:cubicBezTo>
                  <a:close/>
                  <a:moveTo>
                    <a:pt x="1382" y="14802"/>
                  </a:moveTo>
                  <a:cubicBezTo>
                    <a:pt x="1316" y="14755"/>
                    <a:pt x="1316" y="14755"/>
                    <a:pt x="1316" y="14755"/>
                  </a:cubicBezTo>
                  <a:cubicBezTo>
                    <a:pt x="1235" y="14863"/>
                    <a:pt x="1235" y="14863"/>
                    <a:pt x="1235" y="14863"/>
                  </a:cubicBezTo>
                  <a:cubicBezTo>
                    <a:pt x="1324" y="14926"/>
                    <a:pt x="1324" y="14926"/>
                    <a:pt x="1324" y="14926"/>
                  </a:cubicBezTo>
                  <a:cubicBezTo>
                    <a:pt x="1321" y="14933"/>
                    <a:pt x="1318" y="14940"/>
                    <a:pt x="1316" y="14945"/>
                  </a:cubicBezTo>
                  <a:cubicBezTo>
                    <a:pt x="1280" y="14919"/>
                    <a:pt x="1248" y="14894"/>
                    <a:pt x="1220" y="14873"/>
                  </a:cubicBezTo>
                  <a:cubicBezTo>
                    <a:pt x="1405" y="14486"/>
                    <a:pt x="1405" y="14486"/>
                    <a:pt x="1405" y="14486"/>
                  </a:cubicBezTo>
                  <a:cubicBezTo>
                    <a:pt x="1412" y="14490"/>
                    <a:pt x="1421" y="14495"/>
                    <a:pt x="1431" y="14502"/>
                  </a:cubicBezTo>
                  <a:cubicBezTo>
                    <a:pt x="1451" y="14515"/>
                    <a:pt x="1477" y="14531"/>
                    <a:pt x="1503" y="14548"/>
                  </a:cubicBezTo>
                  <a:cubicBezTo>
                    <a:pt x="1461" y="14637"/>
                    <a:pt x="1417" y="14728"/>
                    <a:pt x="1382" y="14802"/>
                  </a:cubicBezTo>
                  <a:close/>
                  <a:moveTo>
                    <a:pt x="1388" y="14823"/>
                  </a:moveTo>
                  <a:cubicBezTo>
                    <a:pt x="1462" y="14877"/>
                    <a:pt x="1462" y="14877"/>
                    <a:pt x="1462" y="14877"/>
                  </a:cubicBezTo>
                  <a:cubicBezTo>
                    <a:pt x="1401" y="14964"/>
                    <a:pt x="1401" y="14964"/>
                    <a:pt x="1401" y="14964"/>
                  </a:cubicBezTo>
                  <a:cubicBezTo>
                    <a:pt x="1341" y="14922"/>
                    <a:pt x="1341" y="14922"/>
                    <a:pt x="1341" y="14922"/>
                  </a:cubicBezTo>
                  <a:cubicBezTo>
                    <a:pt x="1351" y="14902"/>
                    <a:pt x="1362" y="14876"/>
                    <a:pt x="1377" y="14846"/>
                  </a:cubicBezTo>
                  <a:cubicBezTo>
                    <a:pt x="1380" y="14839"/>
                    <a:pt x="1384" y="14831"/>
                    <a:pt x="1388" y="14823"/>
                  </a:cubicBezTo>
                  <a:close/>
                  <a:moveTo>
                    <a:pt x="1254" y="14860"/>
                  </a:moveTo>
                  <a:cubicBezTo>
                    <a:pt x="1319" y="14773"/>
                    <a:pt x="1319" y="14773"/>
                    <a:pt x="1319" y="14773"/>
                  </a:cubicBezTo>
                  <a:cubicBezTo>
                    <a:pt x="1376" y="14815"/>
                    <a:pt x="1376" y="14815"/>
                    <a:pt x="1376" y="14815"/>
                  </a:cubicBezTo>
                  <a:cubicBezTo>
                    <a:pt x="1357" y="14854"/>
                    <a:pt x="1341" y="14888"/>
                    <a:pt x="1330" y="14914"/>
                  </a:cubicBezTo>
                  <a:lnTo>
                    <a:pt x="1254" y="14860"/>
                  </a:lnTo>
                  <a:close/>
                  <a:moveTo>
                    <a:pt x="1336" y="14934"/>
                  </a:moveTo>
                  <a:cubicBezTo>
                    <a:pt x="1404" y="14983"/>
                    <a:pt x="1404" y="14983"/>
                    <a:pt x="1404" y="14983"/>
                  </a:cubicBezTo>
                  <a:cubicBezTo>
                    <a:pt x="1476" y="14879"/>
                    <a:pt x="1476" y="14879"/>
                    <a:pt x="1476" y="14879"/>
                  </a:cubicBezTo>
                  <a:cubicBezTo>
                    <a:pt x="1480" y="14874"/>
                    <a:pt x="1480" y="14874"/>
                    <a:pt x="1480" y="14874"/>
                  </a:cubicBezTo>
                  <a:cubicBezTo>
                    <a:pt x="1393" y="14811"/>
                    <a:pt x="1393" y="14811"/>
                    <a:pt x="1393" y="14811"/>
                  </a:cubicBezTo>
                  <a:cubicBezTo>
                    <a:pt x="1424" y="14746"/>
                    <a:pt x="1461" y="14669"/>
                    <a:pt x="1498" y="14591"/>
                  </a:cubicBezTo>
                  <a:cubicBezTo>
                    <a:pt x="1504" y="14579"/>
                    <a:pt x="1509" y="14568"/>
                    <a:pt x="1515" y="14556"/>
                  </a:cubicBezTo>
                  <a:cubicBezTo>
                    <a:pt x="1560" y="14585"/>
                    <a:pt x="1602" y="14613"/>
                    <a:pt x="1612" y="14620"/>
                  </a:cubicBezTo>
                  <a:cubicBezTo>
                    <a:pt x="1530" y="14790"/>
                    <a:pt x="1442" y="14974"/>
                    <a:pt x="1420" y="15024"/>
                  </a:cubicBezTo>
                  <a:cubicBezTo>
                    <a:pt x="1387" y="14999"/>
                    <a:pt x="1356" y="14976"/>
                    <a:pt x="1327" y="14954"/>
                  </a:cubicBezTo>
                  <a:cubicBezTo>
                    <a:pt x="1329" y="14948"/>
                    <a:pt x="1332" y="14942"/>
                    <a:pt x="1336" y="14934"/>
                  </a:cubicBezTo>
                  <a:close/>
                  <a:moveTo>
                    <a:pt x="1587" y="14374"/>
                  </a:moveTo>
                  <a:cubicBezTo>
                    <a:pt x="1526" y="14331"/>
                    <a:pt x="1526" y="14331"/>
                    <a:pt x="1526" y="14331"/>
                  </a:cubicBezTo>
                  <a:cubicBezTo>
                    <a:pt x="1591" y="14244"/>
                    <a:pt x="1591" y="14244"/>
                    <a:pt x="1591" y="14244"/>
                  </a:cubicBezTo>
                  <a:cubicBezTo>
                    <a:pt x="1635" y="14276"/>
                    <a:pt x="1635" y="14276"/>
                    <a:pt x="1635" y="14276"/>
                  </a:cubicBezTo>
                  <a:cubicBezTo>
                    <a:pt x="1622" y="14302"/>
                    <a:pt x="1606" y="14336"/>
                    <a:pt x="1587" y="14374"/>
                  </a:cubicBezTo>
                  <a:close/>
                  <a:moveTo>
                    <a:pt x="1646" y="14284"/>
                  </a:moveTo>
                  <a:cubicBezTo>
                    <a:pt x="1724" y="14341"/>
                    <a:pt x="1724" y="14341"/>
                    <a:pt x="1724" y="14341"/>
                  </a:cubicBezTo>
                  <a:cubicBezTo>
                    <a:pt x="1664" y="14428"/>
                    <a:pt x="1664" y="14428"/>
                    <a:pt x="1664" y="14428"/>
                  </a:cubicBezTo>
                  <a:cubicBezTo>
                    <a:pt x="1599" y="14382"/>
                    <a:pt x="1599" y="14382"/>
                    <a:pt x="1599" y="14382"/>
                  </a:cubicBezTo>
                  <a:cubicBezTo>
                    <a:pt x="1617" y="14344"/>
                    <a:pt x="1633" y="14310"/>
                    <a:pt x="1646" y="14284"/>
                  </a:cubicBezTo>
                  <a:close/>
                  <a:moveTo>
                    <a:pt x="1641" y="14264"/>
                  </a:moveTo>
                  <a:cubicBezTo>
                    <a:pt x="1589" y="14226"/>
                    <a:pt x="1589" y="14226"/>
                    <a:pt x="1589" y="14226"/>
                  </a:cubicBezTo>
                  <a:cubicBezTo>
                    <a:pt x="1508" y="14334"/>
                    <a:pt x="1508" y="14334"/>
                    <a:pt x="1508" y="14334"/>
                  </a:cubicBezTo>
                  <a:cubicBezTo>
                    <a:pt x="1581" y="14386"/>
                    <a:pt x="1581" y="14386"/>
                    <a:pt x="1581" y="14386"/>
                  </a:cubicBezTo>
                  <a:cubicBezTo>
                    <a:pt x="1559" y="14432"/>
                    <a:pt x="1535" y="14483"/>
                    <a:pt x="1509" y="14536"/>
                  </a:cubicBezTo>
                  <a:cubicBezTo>
                    <a:pt x="1470" y="14510"/>
                    <a:pt x="1431" y="14485"/>
                    <a:pt x="1412" y="14474"/>
                  </a:cubicBezTo>
                  <a:cubicBezTo>
                    <a:pt x="1412" y="14474"/>
                    <a:pt x="1412" y="14474"/>
                    <a:pt x="1411" y="14474"/>
                  </a:cubicBezTo>
                  <a:cubicBezTo>
                    <a:pt x="1570" y="14143"/>
                    <a:pt x="1570" y="14143"/>
                    <a:pt x="1570" y="14143"/>
                  </a:cubicBezTo>
                  <a:cubicBezTo>
                    <a:pt x="1661" y="14222"/>
                    <a:pt x="1661" y="14222"/>
                    <a:pt x="1661" y="14222"/>
                  </a:cubicBezTo>
                  <a:cubicBezTo>
                    <a:pt x="1657" y="14230"/>
                    <a:pt x="1650" y="14244"/>
                    <a:pt x="1641" y="14264"/>
                  </a:cubicBezTo>
                  <a:close/>
                  <a:moveTo>
                    <a:pt x="1396" y="14467"/>
                  </a:moveTo>
                  <a:cubicBezTo>
                    <a:pt x="1396" y="14467"/>
                    <a:pt x="1395" y="14467"/>
                    <a:pt x="1395" y="14467"/>
                  </a:cubicBezTo>
                  <a:cubicBezTo>
                    <a:pt x="1393" y="14468"/>
                    <a:pt x="1392" y="14469"/>
                    <a:pt x="1391" y="14470"/>
                  </a:cubicBezTo>
                  <a:cubicBezTo>
                    <a:pt x="1394" y="14472"/>
                    <a:pt x="1394" y="14472"/>
                    <a:pt x="1394" y="14472"/>
                  </a:cubicBezTo>
                  <a:cubicBezTo>
                    <a:pt x="1206" y="14863"/>
                    <a:pt x="1206" y="14863"/>
                    <a:pt x="1206" y="14863"/>
                  </a:cubicBezTo>
                  <a:cubicBezTo>
                    <a:pt x="1138" y="14811"/>
                    <a:pt x="1095" y="14779"/>
                    <a:pt x="1095" y="14779"/>
                  </a:cubicBezTo>
                  <a:cubicBezTo>
                    <a:pt x="1093" y="14781"/>
                    <a:pt x="1093" y="14781"/>
                    <a:pt x="1093" y="14781"/>
                  </a:cubicBezTo>
                  <a:cubicBezTo>
                    <a:pt x="1057" y="14754"/>
                    <a:pt x="1057" y="14754"/>
                    <a:pt x="1057" y="14754"/>
                  </a:cubicBezTo>
                  <a:cubicBezTo>
                    <a:pt x="1416" y="14002"/>
                    <a:pt x="1416" y="14002"/>
                    <a:pt x="1416" y="14002"/>
                  </a:cubicBezTo>
                  <a:cubicBezTo>
                    <a:pt x="1556" y="14135"/>
                    <a:pt x="1556" y="14135"/>
                    <a:pt x="1556" y="14135"/>
                  </a:cubicBezTo>
                  <a:lnTo>
                    <a:pt x="1396" y="14467"/>
                  </a:lnTo>
                  <a:close/>
                  <a:moveTo>
                    <a:pt x="1503" y="15171"/>
                  </a:moveTo>
                  <a:cubicBezTo>
                    <a:pt x="1198" y="15542"/>
                    <a:pt x="1198" y="15542"/>
                    <a:pt x="1198" y="15542"/>
                  </a:cubicBezTo>
                  <a:cubicBezTo>
                    <a:pt x="930" y="15306"/>
                    <a:pt x="930" y="15306"/>
                    <a:pt x="930" y="15306"/>
                  </a:cubicBezTo>
                  <a:cubicBezTo>
                    <a:pt x="930" y="15306"/>
                    <a:pt x="930" y="15306"/>
                    <a:pt x="930" y="15306"/>
                  </a:cubicBezTo>
                  <a:cubicBezTo>
                    <a:pt x="926" y="15311"/>
                    <a:pt x="926" y="15311"/>
                    <a:pt x="926" y="15311"/>
                  </a:cubicBezTo>
                  <a:cubicBezTo>
                    <a:pt x="991" y="15066"/>
                    <a:pt x="991" y="15066"/>
                    <a:pt x="991" y="15066"/>
                  </a:cubicBezTo>
                  <a:cubicBezTo>
                    <a:pt x="946" y="14944"/>
                    <a:pt x="946" y="14944"/>
                    <a:pt x="946" y="14944"/>
                  </a:cubicBezTo>
                  <a:cubicBezTo>
                    <a:pt x="1042" y="14827"/>
                    <a:pt x="1042" y="14827"/>
                    <a:pt x="1042" y="14827"/>
                  </a:cubicBezTo>
                  <a:cubicBezTo>
                    <a:pt x="1045" y="14829"/>
                    <a:pt x="1262" y="14991"/>
                    <a:pt x="1503" y="15171"/>
                  </a:cubicBezTo>
                  <a:close/>
                  <a:moveTo>
                    <a:pt x="1431" y="15032"/>
                  </a:moveTo>
                  <a:cubicBezTo>
                    <a:pt x="1432" y="15032"/>
                    <a:pt x="1432" y="15032"/>
                    <a:pt x="1432" y="15032"/>
                  </a:cubicBezTo>
                  <a:cubicBezTo>
                    <a:pt x="1434" y="15026"/>
                    <a:pt x="1438" y="15017"/>
                    <a:pt x="1443" y="15007"/>
                  </a:cubicBezTo>
                  <a:cubicBezTo>
                    <a:pt x="1452" y="14986"/>
                    <a:pt x="1466" y="14957"/>
                    <a:pt x="1482" y="14922"/>
                  </a:cubicBezTo>
                  <a:cubicBezTo>
                    <a:pt x="1515" y="14853"/>
                    <a:pt x="1559" y="14761"/>
                    <a:pt x="1603" y="14671"/>
                  </a:cubicBezTo>
                  <a:cubicBezTo>
                    <a:pt x="1622" y="14632"/>
                    <a:pt x="1640" y="14593"/>
                    <a:pt x="1658" y="14556"/>
                  </a:cubicBezTo>
                  <a:cubicBezTo>
                    <a:pt x="1727" y="14640"/>
                    <a:pt x="1727" y="14640"/>
                    <a:pt x="1727" y="14640"/>
                  </a:cubicBezTo>
                  <a:cubicBezTo>
                    <a:pt x="1678" y="14743"/>
                    <a:pt x="1624" y="14858"/>
                    <a:pt x="1581" y="14948"/>
                  </a:cubicBezTo>
                  <a:cubicBezTo>
                    <a:pt x="1527" y="14909"/>
                    <a:pt x="1527" y="14909"/>
                    <a:pt x="1527" y="14909"/>
                  </a:cubicBezTo>
                  <a:cubicBezTo>
                    <a:pt x="1446" y="15018"/>
                    <a:pt x="1446" y="15018"/>
                    <a:pt x="1446" y="15018"/>
                  </a:cubicBezTo>
                  <a:cubicBezTo>
                    <a:pt x="1524" y="15072"/>
                    <a:pt x="1524" y="15072"/>
                    <a:pt x="1524" y="15072"/>
                  </a:cubicBezTo>
                  <a:cubicBezTo>
                    <a:pt x="1519" y="15081"/>
                    <a:pt x="1516" y="15089"/>
                    <a:pt x="1514" y="15094"/>
                  </a:cubicBezTo>
                  <a:cubicBezTo>
                    <a:pt x="1486" y="15073"/>
                    <a:pt x="1458" y="15053"/>
                    <a:pt x="1431" y="15032"/>
                  </a:cubicBezTo>
                  <a:close/>
                  <a:moveTo>
                    <a:pt x="1465" y="15015"/>
                  </a:moveTo>
                  <a:cubicBezTo>
                    <a:pt x="1530" y="14927"/>
                    <a:pt x="1530" y="14927"/>
                    <a:pt x="1530" y="14927"/>
                  </a:cubicBezTo>
                  <a:cubicBezTo>
                    <a:pt x="1575" y="14960"/>
                    <a:pt x="1575" y="14960"/>
                    <a:pt x="1575" y="14960"/>
                  </a:cubicBezTo>
                  <a:cubicBezTo>
                    <a:pt x="1557" y="15000"/>
                    <a:pt x="1541" y="15035"/>
                    <a:pt x="1529" y="15060"/>
                  </a:cubicBezTo>
                  <a:lnTo>
                    <a:pt x="1465" y="15015"/>
                  </a:lnTo>
                  <a:close/>
                  <a:moveTo>
                    <a:pt x="1526" y="15102"/>
                  </a:moveTo>
                  <a:cubicBezTo>
                    <a:pt x="1528" y="15096"/>
                    <a:pt x="1531" y="15089"/>
                    <a:pt x="1535" y="15081"/>
                  </a:cubicBezTo>
                  <a:cubicBezTo>
                    <a:pt x="1631" y="15148"/>
                    <a:pt x="1631" y="15148"/>
                    <a:pt x="1631" y="15148"/>
                  </a:cubicBezTo>
                  <a:cubicBezTo>
                    <a:pt x="1626" y="15158"/>
                    <a:pt x="1622" y="15167"/>
                    <a:pt x="1619" y="15174"/>
                  </a:cubicBezTo>
                  <a:cubicBezTo>
                    <a:pt x="1599" y="15159"/>
                    <a:pt x="1580" y="15144"/>
                    <a:pt x="1560" y="15129"/>
                  </a:cubicBezTo>
                  <a:cubicBezTo>
                    <a:pt x="1548" y="15120"/>
                    <a:pt x="1537" y="15112"/>
                    <a:pt x="1525" y="15103"/>
                  </a:cubicBezTo>
                  <a:cubicBezTo>
                    <a:pt x="1526" y="15102"/>
                    <a:pt x="1526" y="15102"/>
                    <a:pt x="1526" y="15102"/>
                  </a:cubicBezTo>
                  <a:close/>
                  <a:moveTo>
                    <a:pt x="1541" y="15068"/>
                  </a:moveTo>
                  <a:cubicBezTo>
                    <a:pt x="1550" y="15049"/>
                    <a:pt x="1561" y="15023"/>
                    <a:pt x="1575" y="14994"/>
                  </a:cubicBezTo>
                  <a:cubicBezTo>
                    <a:pt x="1579" y="14986"/>
                    <a:pt x="1583" y="14977"/>
                    <a:pt x="1587" y="14968"/>
                  </a:cubicBezTo>
                  <a:cubicBezTo>
                    <a:pt x="1682" y="15037"/>
                    <a:pt x="1682" y="15037"/>
                    <a:pt x="1682" y="15037"/>
                  </a:cubicBezTo>
                  <a:cubicBezTo>
                    <a:pt x="1664" y="15076"/>
                    <a:pt x="1648" y="15110"/>
                    <a:pt x="1636" y="15136"/>
                  </a:cubicBezTo>
                  <a:lnTo>
                    <a:pt x="1541" y="15068"/>
                  </a:lnTo>
                  <a:close/>
                  <a:moveTo>
                    <a:pt x="1639" y="15163"/>
                  </a:moveTo>
                  <a:cubicBezTo>
                    <a:pt x="1640" y="15161"/>
                    <a:pt x="1641" y="15159"/>
                    <a:pt x="1642" y="15157"/>
                  </a:cubicBezTo>
                  <a:cubicBezTo>
                    <a:pt x="1743" y="15228"/>
                    <a:pt x="1743" y="15228"/>
                    <a:pt x="1743" y="15228"/>
                  </a:cubicBezTo>
                  <a:cubicBezTo>
                    <a:pt x="1738" y="15239"/>
                    <a:pt x="1733" y="15249"/>
                    <a:pt x="1730" y="15257"/>
                  </a:cubicBezTo>
                  <a:cubicBezTo>
                    <a:pt x="1697" y="15232"/>
                    <a:pt x="1664" y="15207"/>
                    <a:pt x="1631" y="15182"/>
                  </a:cubicBezTo>
                  <a:cubicBezTo>
                    <a:pt x="1633" y="15177"/>
                    <a:pt x="1636" y="15171"/>
                    <a:pt x="1639" y="15163"/>
                  </a:cubicBezTo>
                  <a:close/>
                  <a:moveTo>
                    <a:pt x="1746" y="15255"/>
                  </a:moveTo>
                  <a:cubicBezTo>
                    <a:pt x="1748" y="15250"/>
                    <a:pt x="1751" y="15243"/>
                    <a:pt x="1754" y="15236"/>
                  </a:cubicBezTo>
                  <a:cubicBezTo>
                    <a:pt x="1816" y="15280"/>
                    <a:pt x="1816" y="15280"/>
                    <a:pt x="1816" y="15280"/>
                  </a:cubicBezTo>
                  <a:cubicBezTo>
                    <a:pt x="1888" y="15177"/>
                    <a:pt x="1888" y="15177"/>
                    <a:pt x="1888" y="15177"/>
                  </a:cubicBezTo>
                  <a:cubicBezTo>
                    <a:pt x="1892" y="15172"/>
                    <a:pt x="1892" y="15172"/>
                    <a:pt x="1892" y="15172"/>
                  </a:cubicBezTo>
                  <a:cubicBezTo>
                    <a:pt x="1811" y="15114"/>
                    <a:pt x="1811" y="15114"/>
                    <a:pt x="1811" y="15114"/>
                  </a:cubicBezTo>
                  <a:cubicBezTo>
                    <a:pt x="1839" y="15056"/>
                    <a:pt x="1870" y="14990"/>
                    <a:pt x="1901" y="14925"/>
                  </a:cubicBezTo>
                  <a:cubicBezTo>
                    <a:pt x="1910" y="14905"/>
                    <a:pt x="1920" y="14886"/>
                    <a:pt x="1929" y="14867"/>
                  </a:cubicBezTo>
                  <a:cubicBezTo>
                    <a:pt x="2035" y="14894"/>
                    <a:pt x="2035" y="14894"/>
                    <a:pt x="2035" y="14894"/>
                  </a:cubicBezTo>
                  <a:cubicBezTo>
                    <a:pt x="1958" y="15054"/>
                    <a:pt x="1866" y="15247"/>
                    <a:pt x="1828" y="15331"/>
                  </a:cubicBezTo>
                  <a:cubicBezTo>
                    <a:pt x="1800" y="15309"/>
                    <a:pt x="1771" y="15288"/>
                    <a:pt x="1741" y="15265"/>
                  </a:cubicBezTo>
                  <a:cubicBezTo>
                    <a:pt x="1743" y="15262"/>
                    <a:pt x="1744" y="15259"/>
                    <a:pt x="1746" y="15255"/>
                  </a:cubicBezTo>
                  <a:close/>
                  <a:moveTo>
                    <a:pt x="1876" y="15260"/>
                  </a:moveTo>
                  <a:cubicBezTo>
                    <a:pt x="1908" y="15192"/>
                    <a:pt x="1951" y="15102"/>
                    <a:pt x="1993" y="15013"/>
                  </a:cubicBezTo>
                  <a:cubicBezTo>
                    <a:pt x="2074" y="14845"/>
                    <a:pt x="2154" y="14678"/>
                    <a:pt x="2163" y="14659"/>
                  </a:cubicBezTo>
                  <a:cubicBezTo>
                    <a:pt x="2210" y="14700"/>
                    <a:pt x="2210" y="14700"/>
                    <a:pt x="2210" y="14700"/>
                  </a:cubicBezTo>
                  <a:cubicBezTo>
                    <a:pt x="2378" y="14873"/>
                    <a:pt x="2378" y="14873"/>
                    <a:pt x="2378" y="14873"/>
                  </a:cubicBezTo>
                  <a:cubicBezTo>
                    <a:pt x="2374" y="14882"/>
                    <a:pt x="2315" y="14993"/>
                    <a:pt x="2246" y="15124"/>
                  </a:cubicBezTo>
                  <a:cubicBezTo>
                    <a:pt x="2175" y="15257"/>
                    <a:pt x="2094" y="15411"/>
                    <a:pt x="2047" y="15495"/>
                  </a:cubicBezTo>
                  <a:cubicBezTo>
                    <a:pt x="1989" y="15452"/>
                    <a:pt x="1918" y="15398"/>
                    <a:pt x="1840" y="15339"/>
                  </a:cubicBezTo>
                  <a:cubicBezTo>
                    <a:pt x="1849" y="15319"/>
                    <a:pt x="1861" y="15292"/>
                    <a:pt x="1876" y="15260"/>
                  </a:cubicBezTo>
                  <a:close/>
                  <a:moveTo>
                    <a:pt x="2219" y="14690"/>
                  </a:moveTo>
                  <a:cubicBezTo>
                    <a:pt x="1572" y="14126"/>
                    <a:pt x="1572" y="14126"/>
                    <a:pt x="1572" y="14126"/>
                  </a:cubicBezTo>
                  <a:cubicBezTo>
                    <a:pt x="1571" y="14127"/>
                    <a:pt x="1571" y="14127"/>
                    <a:pt x="1571" y="14127"/>
                  </a:cubicBezTo>
                  <a:cubicBezTo>
                    <a:pt x="1307" y="13877"/>
                    <a:pt x="1307" y="13877"/>
                    <a:pt x="1307" y="13877"/>
                  </a:cubicBezTo>
                  <a:cubicBezTo>
                    <a:pt x="1348" y="13822"/>
                    <a:pt x="1348" y="13822"/>
                    <a:pt x="1348" y="13822"/>
                  </a:cubicBezTo>
                  <a:cubicBezTo>
                    <a:pt x="1525" y="13882"/>
                    <a:pt x="1525" y="13882"/>
                    <a:pt x="1525" y="13882"/>
                  </a:cubicBezTo>
                  <a:cubicBezTo>
                    <a:pt x="1600" y="13928"/>
                    <a:pt x="1600" y="13928"/>
                    <a:pt x="1600" y="13928"/>
                  </a:cubicBezTo>
                  <a:cubicBezTo>
                    <a:pt x="1601" y="13925"/>
                    <a:pt x="1601" y="13925"/>
                    <a:pt x="1601" y="13925"/>
                  </a:cubicBezTo>
                  <a:cubicBezTo>
                    <a:pt x="2408" y="14414"/>
                    <a:pt x="2408" y="14414"/>
                    <a:pt x="2408" y="14414"/>
                  </a:cubicBezTo>
                  <a:cubicBezTo>
                    <a:pt x="2697" y="14612"/>
                    <a:pt x="2697" y="14612"/>
                    <a:pt x="2697" y="14612"/>
                  </a:cubicBezTo>
                  <a:cubicBezTo>
                    <a:pt x="2851" y="14666"/>
                    <a:pt x="2851" y="14666"/>
                    <a:pt x="2851" y="14666"/>
                  </a:cubicBezTo>
                  <a:cubicBezTo>
                    <a:pt x="2852" y="14666"/>
                    <a:pt x="2852" y="14666"/>
                    <a:pt x="2852" y="14666"/>
                  </a:cubicBezTo>
                  <a:cubicBezTo>
                    <a:pt x="2852" y="14666"/>
                    <a:pt x="3296" y="14701"/>
                    <a:pt x="3364" y="14706"/>
                  </a:cubicBezTo>
                  <a:cubicBezTo>
                    <a:pt x="3350" y="14813"/>
                    <a:pt x="3350" y="14813"/>
                    <a:pt x="3350" y="14813"/>
                  </a:cubicBezTo>
                  <a:cubicBezTo>
                    <a:pt x="3295" y="14826"/>
                    <a:pt x="3197" y="14859"/>
                    <a:pt x="3098" y="14947"/>
                  </a:cubicBezTo>
                  <a:cubicBezTo>
                    <a:pt x="3047" y="14993"/>
                    <a:pt x="2950" y="15062"/>
                    <a:pt x="2857" y="15143"/>
                  </a:cubicBezTo>
                  <a:cubicBezTo>
                    <a:pt x="2782" y="15209"/>
                    <a:pt x="2708" y="15278"/>
                    <a:pt x="2651" y="15332"/>
                  </a:cubicBezTo>
                  <a:cubicBezTo>
                    <a:pt x="2600" y="15082"/>
                    <a:pt x="2600" y="15082"/>
                    <a:pt x="2600" y="15082"/>
                  </a:cubicBezTo>
                  <a:lnTo>
                    <a:pt x="2219" y="14690"/>
                  </a:lnTo>
                  <a:close/>
                  <a:moveTo>
                    <a:pt x="1127" y="13073"/>
                  </a:moveTo>
                  <a:cubicBezTo>
                    <a:pt x="989" y="12849"/>
                    <a:pt x="989" y="12849"/>
                    <a:pt x="989" y="12849"/>
                  </a:cubicBezTo>
                  <a:cubicBezTo>
                    <a:pt x="1002" y="12846"/>
                    <a:pt x="1018" y="12842"/>
                    <a:pt x="1027" y="12840"/>
                  </a:cubicBezTo>
                  <a:cubicBezTo>
                    <a:pt x="1062" y="12832"/>
                    <a:pt x="1108" y="12822"/>
                    <a:pt x="1153" y="12812"/>
                  </a:cubicBezTo>
                  <a:cubicBezTo>
                    <a:pt x="1192" y="12804"/>
                    <a:pt x="1230" y="12795"/>
                    <a:pt x="1262" y="12788"/>
                  </a:cubicBezTo>
                  <a:cubicBezTo>
                    <a:pt x="1018" y="12845"/>
                    <a:pt x="1018" y="12845"/>
                    <a:pt x="1018" y="12845"/>
                  </a:cubicBezTo>
                  <a:cubicBezTo>
                    <a:pt x="1150" y="13059"/>
                    <a:pt x="1150" y="13059"/>
                    <a:pt x="1150" y="13059"/>
                  </a:cubicBezTo>
                  <a:cubicBezTo>
                    <a:pt x="1154" y="13279"/>
                    <a:pt x="1154" y="13279"/>
                    <a:pt x="1154" y="13279"/>
                  </a:cubicBezTo>
                  <a:cubicBezTo>
                    <a:pt x="1436" y="13513"/>
                    <a:pt x="1436" y="13513"/>
                    <a:pt x="1436" y="13513"/>
                  </a:cubicBezTo>
                  <a:cubicBezTo>
                    <a:pt x="1581" y="13292"/>
                    <a:pt x="1581" y="13292"/>
                    <a:pt x="1581" y="13292"/>
                  </a:cubicBezTo>
                  <a:cubicBezTo>
                    <a:pt x="1529" y="12879"/>
                    <a:pt x="1529" y="12879"/>
                    <a:pt x="1529" y="12879"/>
                  </a:cubicBezTo>
                  <a:cubicBezTo>
                    <a:pt x="1322" y="12775"/>
                    <a:pt x="1322" y="12775"/>
                    <a:pt x="1322" y="12775"/>
                  </a:cubicBezTo>
                  <a:cubicBezTo>
                    <a:pt x="1323" y="12775"/>
                    <a:pt x="1323" y="12775"/>
                    <a:pt x="1324" y="12774"/>
                  </a:cubicBezTo>
                  <a:cubicBezTo>
                    <a:pt x="1543" y="12882"/>
                    <a:pt x="1543" y="12882"/>
                    <a:pt x="1543" y="12882"/>
                  </a:cubicBezTo>
                  <a:cubicBezTo>
                    <a:pt x="1609" y="13325"/>
                    <a:pt x="1609" y="13325"/>
                    <a:pt x="1609" y="13325"/>
                  </a:cubicBezTo>
                  <a:cubicBezTo>
                    <a:pt x="1608" y="13325"/>
                    <a:pt x="1608" y="13326"/>
                    <a:pt x="1607" y="13326"/>
                  </a:cubicBezTo>
                  <a:cubicBezTo>
                    <a:pt x="1604" y="13332"/>
                    <a:pt x="1599" y="13340"/>
                    <a:pt x="1593" y="13349"/>
                  </a:cubicBezTo>
                  <a:cubicBezTo>
                    <a:pt x="1580" y="13368"/>
                    <a:pt x="1565" y="13392"/>
                    <a:pt x="1549" y="13416"/>
                  </a:cubicBezTo>
                  <a:cubicBezTo>
                    <a:pt x="1520" y="13461"/>
                    <a:pt x="1492" y="13506"/>
                    <a:pt x="1487" y="13513"/>
                  </a:cubicBezTo>
                  <a:cubicBezTo>
                    <a:pt x="1447" y="13568"/>
                    <a:pt x="1447" y="13568"/>
                    <a:pt x="1447" y="13568"/>
                  </a:cubicBezTo>
                  <a:cubicBezTo>
                    <a:pt x="1128" y="13290"/>
                    <a:pt x="1128" y="13290"/>
                    <a:pt x="1128" y="13290"/>
                  </a:cubicBezTo>
                  <a:cubicBezTo>
                    <a:pt x="1129" y="13285"/>
                    <a:pt x="1129" y="13285"/>
                    <a:pt x="1129" y="13285"/>
                  </a:cubicBezTo>
                  <a:lnTo>
                    <a:pt x="1127" y="13073"/>
                  </a:lnTo>
                  <a:close/>
                  <a:moveTo>
                    <a:pt x="452" y="12223"/>
                  </a:moveTo>
                  <a:cubicBezTo>
                    <a:pt x="823" y="12077"/>
                    <a:pt x="823" y="12077"/>
                    <a:pt x="823" y="12077"/>
                  </a:cubicBezTo>
                  <a:cubicBezTo>
                    <a:pt x="896" y="12182"/>
                    <a:pt x="896" y="12182"/>
                    <a:pt x="896" y="12182"/>
                  </a:cubicBezTo>
                  <a:cubicBezTo>
                    <a:pt x="403" y="12352"/>
                    <a:pt x="403" y="12352"/>
                    <a:pt x="403" y="12352"/>
                  </a:cubicBezTo>
                  <a:cubicBezTo>
                    <a:pt x="462" y="12308"/>
                    <a:pt x="462" y="12308"/>
                    <a:pt x="462" y="12308"/>
                  </a:cubicBezTo>
                  <a:cubicBezTo>
                    <a:pt x="434" y="12270"/>
                    <a:pt x="434" y="12270"/>
                    <a:pt x="434" y="12270"/>
                  </a:cubicBezTo>
                  <a:cubicBezTo>
                    <a:pt x="469" y="12245"/>
                    <a:pt x="469" y="12245"/>
                    <a:pt x="469" y="12245"/>
                  </a:cubicBezTo>
                  <a:lnTo>
                    <a:pt x="452" y="12223"/>
                  </a:lnTo>
                  <a:close/>
                  <a:moveTo>
                    <a:pt x="825" y="12049"/>
                  </a:moveTo>
                  <a:cubicBezTo>
                    <a:pt x="833" y="12053"/>
                    <a:pt x="833" y="12053"/>
                    <a:pt x="833" y="12053"/>
                  </a:cubicBezTo>
                  <a:cubicBezTo>
                    <a:pt x="833" y="12053"/>
                    <a:pt x="833" y="12053"/>
                    <a:pt x="833" y="12053"/>
                  </a:cubicBezTo>
                  <a:lnTo>
                    <a:pt x="825" y="12049"/>
                  </a:lnTo>
                  <a:close/>
                  <a:moveTo>
                    <a:pt x="886" y="12053"/>
                  </a:moveTo>
                  <a:cubicBezTo>
                    <a:pt x="885" y="12052"/>
                    <a:pt x="885" y="12052"/>
                    <a:pt x="885" y="12051"/>
                  </a:cubicBezTo>
                  <a:cubicBezTo>
                    <a:pt x="884" y="12049"/>
                    <a:pt x="884" y="12049"/>
                    <a:pt x="883" y="12048"/>
                  </a:cubicBezTo>
                  <a:cubicBezTo>
                    <a:pt x="883" y="12047"/>
                    <a:pt x="883" y="12047"/>
                    <a:pt x="882" y="12046"/>
                  </a:cubicBezTo>
                  <a:cubicBezTo>
                    <a:pt x="882" y="12045"/>
                    <a:pt x="882" y="12045"/>
                    <a:pt x="881" y="12044"/>
                  </a:cubicBezTo>
                  <a:cubicBezTo>
                    <a:pt x="880" y="12043"/>
                    <a:pt x="880" y="12042"/>
                    <a:pt x="879" y="12041"/>
                  </a:cubicBezTo>
                  <a:cubicBezTo>
                    <a:pt x="877" y="12038"/>
                    <a:pt x="874" y="12034"/>
                    <a:pt x="870" y="12029"/>
                  </a:cubicBezTo>
                  <a:cubicBezTo>
                    <a:pt x="870" y="12029"/>
                    <a:pt x="869" y="12028"/>
                    <a:pt x="869" y="12027"/>
                  </a:cubicBezTo>
                  <a:cubicBezTo>
                    <a:pt x="1334" y="11914"/>
                    <a:pt x="1334" y="11914"/>
                    <a:pt x="1334" y="11914"/>
                  </a:cubicBezTo>
                  <a:cubicBezTo>
                    <a:pt x="1343" y="11948"/>
                    <a:pt x="1351" y="11979"/>
                    <a:pt x="1356" y="11995"/>
                  </a:cubicBezTo>
                  <a:cubicBezTo>
                    <a:pt x="1363" y="12022"/>
                    <a:pt x="1377" y="12079"/>
                    <a:pt x="1444" y="12140"/>
                  </a:cubicBezTo>
                  <a:cubicBezTo>
                    <a:pt x="1154" y="12433"/>
                    <a:pt x="1154" y="12433"/>
                    <a:pt x="1154" y="12433"/>
                  </a:cubicBezTo>
                  <a:lnTo>
                    <a:pt x="886" y="12053"/>
                  </a:lnTo>
                  <a:close/>
                  <a:moveTo>
                    <a:pt x="1033" y="11454"/>
                  </a:moveTo>
                  <a:cubicBezTo>
                    <a:pt x="1084" y="11494"/>
                    <a:pt x="1143" y="11546"/>
                    <a:pt x="1175" y="11580"/>
                  </a:cubicBezTo>
                  <a:cubicBezTo>
                    <a:pt x="1224" y="11633"/>
                    <a:pt x="1286" y="11733"/>
                    <a:pt x="1301" y="11791"/>
                  </a:cubicBezTo>
                  <a:cubicBezTo>
                    <a:pt x="1310" y="11821"/>
                    <a:pt x="1320" y="11861"/>
                    <a:pt x="1330" y="11899"/>
                  </a:cubicBezTo>
                  <a:cubicBezTo>
                    <a:pt x="1146" y="11943"/>
                    <a:pt x="1146" y="11943"/>
                    <a:pt x="1146" y="11943"/>
                  </a:cubicBezTo>
                  <a:cubicBezTo>
                    <a:pt x="1091" y="11706"/>
                    <a:pt x="1091" y="11706"/>
                    <a:pt x="1091" y="11706"/>
                  </a:cubicBezTo>
                  <a:cubicBezTo>
                    <a:pt x="968" y="11594"/>
                    <a:pt x="968" y="11594"/>
                    <a:pt x="968" y="11594"/>
                  </a:cubicBezTo>
                  <a:cubicBezTo>
                    <a:pt x="985" y="11581"/>
                    <a:pt x="1002" y="11563"/>
                    <a:pt x="1017" y="11538"/>
                  </a:cubicBezTo>
                  <a:cubicBezTo>
                    <a:pt x="1030" y="11517"/>
                    <a:pt x="1035" y="11493"/>
                    <a:pt x="1035" y="11468"/>
                  </a:cubicBezTo>
                  <a:cubicBezTo>
                    <a:pt x="1035" y="11463"/>
                    <a:pt x="1034" y="11458"/>
                    <a:pt x="1033" y="11454"/>
                  </a:cubicBezTo>
                  <a:close/>
                  <a:moveTo>
                    <a:pt x="1315" y="11276"/>
                  </a:moveTo>
                  <a:cubicBezTo>
                    <a:pt x="1337" y="11300"/>
                    <a:pt x="1344" y="11319"/>
                    <a:pt x="1344" y="11337"/>
                  </a:cubicBezTo>
                  <a:cubicBezTo>
                    <a:pt x="1344" y="11354"/>
                    <a:pt x="1338" y="11371"/>
                    <a:pt x="1329" y="11388"/>
                  </a:cubicBezTo>
                  <a:cubicBezTo>
                    <a:pt x="1318" y="11413"/>
                    <a:pt x="1281" y="11445"/>
                    <a:pt x="1280" y="11486"/>
                  </a:cubicBezTo>
                  <a:cubicBezTo>
                    <a:pt x="1279" y="11501"/>
                    <a:pt x="1286" y="11516"/>
                    <a:pt x="1299" y="11530"/>
                  </a:cubicBezTo>
                  <a:cubicBezTo>
                    <a:pt x="1336" y="11564"/>
                    <a:pt x="1410" y="11577"/>
                    <a:pt x="1464" y="11577"/>
                  </a:cubicBezTo>
                  <a:cubicBezTo>
                    <a:pt x="1489" y="11577"/>
                    <a:pt x="1509" y="11575"/>
                    <a:pt x="1522" y="11568"/>
                  </a:cubicBezTo>
                  <a:cubicBezTo>
                    <a:pt x="1539" y="11558"/>
                    <a:pt x="1610" y="11514"/>
                    <a:pt x="1673" y="11474"/>
                  </a:cubicBezTo>
                  <a:cubicBezTo>
                    <a:pt x="1773" y="11588"/>
                    <a:pt x="1773" y="11588"/>
                    <a:pt x="1773" y="11588"/>
                  </a:cubicBezTo>
                  <a:cubicBezTo>
                    <a:pt x="1285" y="11653"/>
                    <a:pt x="1285" y="11653"/>
                    <a:pt x="1285" y="11653"/>
                  </a:cubicBezTo>
                  <a:cubicBezTo>
                    <a:pt x="1261" y="11615"/>
                    <a:pt x="1234" y="11577"/>
                    <a:pt x="1208" y="11549"/>
                  </a:cubicBezTo>
                  <a:cubicBezTo>
                    <a:pt x="1172" y="11510"/>
                    <a:pt x="1109" y="11455"/>
                    <a:pt x="1055" y="11413"/>
                  </a:cubicBezTo>
                  <a:cubicBezTo>
                    <a:pt x="1057" y="11409"/>
                    <a:pt x="1058" y="11404"/>
                    <a:pt x="1061" y="11397"/>
                  </a:cubicBezTo>
                  <a:cubicBezTo>
                    <a:pt x="1068" y="11378"/>
                    <a:pt x="1078" y="11352"/>
                    <a:pt x="1092" y="11326"/>
                  </a:cubicBezTo>
                  <a:cubicBezTo>
                    <a:pt x="1113" y="11287"/>
                    <a:pt x="1142" y="11246"/>
                    <a:pt x="1167" y="11216"/>
                  </a:cubicBezTo>
                  <a:cubicBezTo>
                    <a:pt x="1186" y="11194"/>
                    <a:pt x="1208" y="11169"/>
                    <a:pt x="1231" y="11149"/>
                  </a:cubicBezTo>
                  <a:cubicBezTo>
                    <a:pt x="1240" y="11141"/>
                    <a:pt x="1249" y="11134"/>
                    <a:pt x="1258" y="11127"/>
                  </a:cubicBezTo>
                  <a:cubicBezTo>
                    <a:pt x="1267" y="11145"/>
                    <a:pt x="1272" y="11160"/>
                    <a:pt x="1274" y="11166"/>
                  </a:cubicBezTo>
                  <a:cubicBezTo>
                    <a:pt x="1274" y="11168"/>
                    <a:pt x="1274" y="11172"/>
                    <a:pt x="1274" y="11177"/>
                  </a:cubicBezTo>
                  <a:cubicBezTo>
                    <a:pt x="1273" y="11198"/>
                    <a:pt x="1279" y="11239"/>
                    <a:pt x="1315" y="11276"/>
                  </a:cubicBezTo>
                  <a:close/>
                  <a:moveTo>
                    <a:pt x="3530" y="9199"/>
                  </a:moveTo>
                  <a:cubicBezTo>
                    <a:pt x="3572" y="9160"/>
                    <a:pt x="3638" y="9121"/>
                    <a:pt x="3749" y="9086"/>
                  </a:cubicBezTo>
                  <a:cubicBezTo>
                    <a:pt x="3861" y="9051"/>
                    <a:pt x="3978" y="9020"/>
                    <a:pt x="4026" y="9007"/>
                  </a:cubicBezTo>
                  <a:cubicBezTo>
                    <a:pt x="4139" y="9280"/>
                    <a:pt x="4139" y="9280"/>
                    <a:pt x="4139" y="9280"/>
                  </a:cubicBezTo>
                  <a:cubicBezTo>
                    <a:pt x="4258" y="9540"/>
                    <a:pt x="4258" y="9540"/>
                    <a:pt x="4258" y="9540"/>
                  </a:cubicBezTo>
                  <a:cubicBezTo>
                    <a:pt x="4167" y="9598"/>
                    <a:pt x="3697" y="9903"/>
                    <a:pt x="3697" y="9904"/>
                  </a:cubicBezTo>
                  <a:cubicBezTo>
                    <a:pt x="3696" y="9904"/>
                    <a:pt x="3696" y="9904"/>
                    <a:pt x="3696" y="9904"/>
                  </a:cubicBezTo>
                  <a:cubicBezTo>
                    <a:pt x="3560" y="10125"/>
                    <a:pt x="3560" y="10125"/>
                    <a:pt x="3560" y="10125"/>
                  </a:cubicBezTo>
                  <a:cubicBezTo>
                    <a:pt x="3560" y="10125"/>
                    <a:pt x="3559" y="10124"/>
                    <a:pt x="3558" y="10123"/>
                  </a:cubicBezTo>
                  <a:cubicBezTo>
                    <a:pt x="3557" y="10121"/>
                    <a:pt x="3555" y="10118"/>
                    <a:pt x="3552" y="10113"/>
                  </a:cubicBezTo>
                  <a:cubicBezTo>
                    <a:pt x="3546" y="10104"/>
                    <a:pt x="3538" y="10092"/>
                    <a:pt x="3528" y="10077"/>
                  </a:cubicBezTo>
                  <a:cubicBezTo>
                    <a:pt x="3509" y="10046"/>
                    <a:pt x="3483" y="10005"/>
                    <a:pt x="3457" y="9964"/>
                  </a:cubicBezTo>
                  <a:cubicBezTo>
                    <a:pt x="3407" y="9886"/>
                    <a:pt x="3357" y="9807"/>
                    <a:pt x="3343" y="9788"/>
                  </a:cubicBezTo>
                  <a:cubicBezTo>
                    <a:pt x="3405" y="9657"/>
                    <a:pt x="3415" y="9476"/>
                    <a:pt x="3439" y="9387"/>
                  </a:cubicBezTo>
                  <a:cubicBezTo>
                    <a:pt x="3454" y="9333"/>
                    <a:pt x="3464" y="9280"/>
                    <a:pt x="3502" y="9230"/>
                  </a:cubicBezTo>
                  <a:cubicBezTo>
                    <a:pt x="3507" y="9223"/>
                    <a:pt x="3513" y="9216"/>
                    <a:pt x="3520" y="9209"/>
                  </a:cubicBezTo>
                  <a:cubicBezTo>
                    <a:pt x="3521" y="9210"/>
                    <a:pt x="3522" y="9211"/>
                    <a:pt x="3523" y="9212"/>
                  </a:cubicBezTo>
                  <a:cubicBezTo>
                    <a:pt x="3535" y="9227"/>
                    <a:pt x="3552" y="9249"/>
                    <a:pt x="3572" y="9275"/>
                  </a:cubicBezTo>
                  <a:cubicBezTo>
                    <a:pt x="3613" y="9327"/>
                    <a:pt x="3667" y="9397"/>
                    <a:pt x="3721" y="9467"/>
                  </a:cubicBezTo>
                  <a:cubicBezTo>
                    <a:pt x="3828" y="9605"/>
                    <a:pt x="3934" y="9744"/>
                    <a:pt x="3935" y="9746"/>
                  </a:cubicBezTo>
                  <a:cubicBezTo>
                    <a:pt x="3946" y="9737"/>
                    <a:pt x="3946" y="9737"/>
                    <a:pt x="3946" y="9737"/>
                  </a:cubicBezTo>
                  <a:cubicBezTo>
                    <a:pt x="3946" y="9737"/>
                    <a:pt x="3611" y="9300"/>
                    <a:pt x="3530" y="9199"/>
                  </a:cubicBezTo>
                  <a:close/>
                  <a:moveTo>
                    <a:pt x="3951" y="7899"/>
                  </a:moveTo>
                  <a:cubicBezTo>
                    <a:pt x="3950" y="7898"/>
                    <a:pt x="3950" y="7898"/>
                    <a:pt x="3950" y="7898"/>
                  </a:cubicBezTo>
                  <a:cubicBezTo>
                    <a:pt x="3948" y="7886"/>
                    <a:pt x="3944" y="7859"/>
                    <a:pt x="3939" y="7827"/>
                  </a:cubicBezTo>
                  <a:cubicBezTo>
                    <a:pt x="3933" y="7788"/>
                    <a:pt x="3928" y="7742"/>
                    <a:pt x="3927" y="7711"/>
                  </a:cubicBezTo>
                  <a:cubicBezTo>
                    <a:pt x="4003" y="7678"/>
                    <a:pt x="4003" y="7678"/>
                    <a:pt x="4003" y="7678"/>
                  </a:cubicBezTo>
                  <a:cubicBezTo>
                    <a:pt x="4087" y="8020"/>
                    <a:pt x="4087" y="8020"/>
                    <a:pt x="4087" y="8020"/>
                  </a:cubicBezTo>
                  <a:cubicBezTo>
                    <a:pt x="4080" y="8020"/>
                    <a:pt x="4073" y="8019"/>
                    <a:pt x="4066" y="8019"/>
                  </a:cubicBezTo>
                  <a:cubicBezTo>
                    <a:pt x="4041" y="8019"/>
                    <a:pt x="4016" y="8021"/>
                    <a:pt x="3991" y="8024"/>
                  </a:cubicBezTo>
                  <a:cubicBezTo>
                    <a:pt x="3991" y="8024"/>
                    <a:pt x="3991" y="8023"/>
                    <a:pt x="3990" y="8023"/>
                  </a:cubicBezTo>
                  <a:cubicBezTo>
                    <a:pt x="3990" y="8021"/>
                    <a:pt x="3989" y="8020"/>
                    <a:pt x="3989" y="8019"/>
                  </a:cubicBezTo>
                  <a:cubicBezTo>
                    <a:pt x="3987" y="8016"/>
                    <a:pt x="3986" y="8013"/>
                    <a:pt x="3984" y="8009"/>
                  </a:cubicBezTo>
                  <a:cubicBezTo>
                    <a:pt x="3980" y="8001"/>
                    <a:pt x="3976" y="7990"/>
                    <a:pt x="3971" y="7978"/>
                  </a:cubicBezTo>
                  <a:cubicBezTo>
                    <a:pt x="3961" y="7954"/>
                    <a:pt x="3954" y="7927"/>
                    <a:pt x="3951" y="7899"/>
                  </a:cubicBezTo>
                  <a:close/>
                  <a:moveTo>
                    <a:pt x="3951" y="8031"/>
                  </a:moveTo>
                  <a:cubicBezTo>
                    <a:pt x="3951" y="8031"/>
                    <a:pt x="3951" y="8031"/>
                    <a:pt x="3951" y="8031"/>
                  </a:cubicBezTo>
                  <a:cubicBezTo>
                    <a:pt x="3932" y="8020"/>
                    <a:pt x="3932" y="8020"/>
                    <a:pt x="3932" y="8020"/>
                  </a:cubicBezTo>
                  <a:lnTo>
                    <a:pt x="3951" y="8031"/>
                  </a:lnTo>
                  <a:close/>
                  <a:moveTo>
                    <a:pt x="3239" y="8424"/>
                  </a:moveTo>
                  <a:cubicBezTo>
                    <a:pt x="3208" y="8441"/>
                    <a:pt x="3175" y="8458"/>
                    <a:pt x="3142" y="8476"/>
                  </a:cubicBezTo>
                  <a:cubicBezTo>
                    <a:pt x="3111" y="8492"/>
                    <a:pt x="3079" y="8509"/>
                    <a:pt x="3047" y="8526"/>
                  </a:cubicBezTo>
                  <a:cubicBezTo>
                    <a:pt x="2677" y="8006"/>
                    <a:pt x="2677" y="8006"/>
                    <a:pt x="2677" y="8006"/>
                  </a:cubicBezTo>
                  <a:cubicBezTo>
                    <a:pt x="2973" y="7786"/>
                    <a:pt x="2973" y="7786"/>
                    <a:pt x="2973" y="7786"/>
                  </a:cubicBezTo>
                  <a:cubicBezTo>
                    <a:pt x="3015" y="7827"/>
                    <a:pt x="3308" y="8116"/>
                    <a:pt x="3343" y="8150"/>
                  </a:cubicBezTo>
                  <a:cubicBezTo>
                    <a:pt x="3231" y="8421"/>
                    <a:pt x="3231" y="8421"/>
                    <a:pt x="3231" y="8421"/>
                  </a:cubicBezTo>
                  <a:lnTo>
                    <a:pt x="3239" y="8424"/>
                  </a:lnTo>
                  <a:close/>
                  <a:moveTo>
                    <a:pt x="2605" y="8350"/>
                  </a:moveTo>
                  <a:cubicBezTo>
                    <a:pt x="2600" y="8351"/>
                    <a:pt x="2600" y="8351"/>
                    <a:pt x="2600" y="8351"/>
                  </a:cubicBezTo>
                  <a:cubicBezTo>
                    <a:pt x="2600" y="8351"/>
                    <a:pt x="2560" y="8366"/>
                    <a:pt x="2519" y="8381"/>
                  </a:cubicBezTo>
                  <a:cubicBezTo>
                    <a:pt x="2484" y="8394"/>
                    <a:pt x="2450" y="8407"/>
                    <a:pt x="2436" y="8413"/>
                  </a:cubicBezTo>
                  <a:cubicBezTo>
                    <a:pt x="2288" y="8106"/>
                    <a:pt x="2288" y="8106"/>
                    <a:pt x="2288" y="8106"/>
                  </a:cubicBezTo>
                  <a:cubicBezTo>
                    <a:pt x="2493" y="7967"/>
                    <a:pt x="2493" y="7967"/>
                    <a:pt x="2493" y="7967"/>
                  </a:cubicBezTo>
                  <a:cubicBezTo>
                    <a:pt x="2495" y="7968"/>
                    <a:pt x="2497" y="7968"/>
                    <a:pt x="2499" y="7969"/>
                  </a:cubicBezTo>
                  <a:cubicBezTo>
                    <a:pt x="2515" y="7973"/>
                    <a:pt x="2642" y="8006"/>
                    <a:pt x="2661" y="8011"/>
                  </a:cubicBezTo>
                  <a:cubicBezTo>
                    <a:pt x="3032" y="8534"/>
                    <a:pt x="3032" y="8534"/>
                    <a:pt x="3032" y="8534"/>
                  </a:cubicBezTo>
                  <a:cubicBezTo>
                    <a:pt x="2979" y="8562"/>
                    <a:pt x="2925" y="8591"/>
                    <a:pt x="2871" y="8620"/>
                  </a:cubicBezTo>
                  <a:cubicBezTo>
                    <a:pt x="2873" y="8618"/>
                    <a:pt x="2873" y="8618"/>
                    <a:pt x="2873" y="8618"/>
                  </a:cubicBezTo>
                  <a:lnTo>
                    <a:pt x="2605" y="8350"/>
                  </a:lnTo>
                  <a:close/>
                  <a:moveTo>
                    <a:pt x="2163" y="8991"/>
                  </a:moveTo>
                  <a:cubicBezTo>
                    <a:pt x="2102" y="9023"/>
                    <a:pt x="2102" y="9023"/>
                    <a:pt x="2102" y="9023"/>
                  </a:cubicBezTo>
                  <a:cubicBezTo>
                    <a:pt x="2075" y="8966"/>
                    <a:pt x="2075" y="8966"/>
                    <a:pt x="2075" y="8966"/>
                  </a:cubicBezTo>
                  <a:cubicBezTo>
                    <a:pt x="2155" y="8926"/>
                    <a:pt x="2155" y="8926"/>
                    <a:pt x="2155" y="8926"/>
                  </a:cubicBezTo>
                  <a:cubicBezTo>
                    <a:pt x="2180" y="8982"/>
                    <a:pt x="2180" y="8982"/>
                    <a:pt x="2180" y="8982"/>
                  </a:cubicBezTo>
                  <a:cubicBezTo>
                    <a:pt x="2169" y="8987"/>
                    <a:pt x="2162" y="8990"/>
                    <a:pt x="2162" y="8990"/>
                  </a:cubicBezTo>
                  <a:lnTo>
                    <a:pt x="2163" y="8991"/>
                  </a:lnTo>
                  <a:close/>
                  <a:moveTo>
                    <a:pt x="1091" y="8331"/>
                  </a:moveTo>
                  <a:cubicBezTo>
                    <a:pt x="1316" y="8318"/>
                    <a:pt x="1316" y="8318"/>
                    <a:pt x="1316" y="8318"/>
                  </a:cubicBezTo>
                  <a:cubicBezTo>
                    <a:pt x="1529" y="8476"/>
                    <a:pt x="1529" y="8476"/>
                    <a:pt x="1529" y="8476"/>
                  </a:cubicBezTo>
                  <a:cubicBezTo>
                    <a:pt x="1518" y="8495"/>
                    <a:pt x="1506" y="8514"/>
                    <a:pt x="1495" y="8534"/>
                  </a:cubicBezTo>
                  <a:cubicBezTo>
                    <a:pt x="1443" y="8623"/>
                    <a:pt x="1392" y="8711"/>
                    <a:pt x="1366" y="8755"/>
                  </a:cubicBezTo>
                  <a:cubicBezTo>
                    <a:pt x="1340" y="8735"/>
                    <a:pt x="1327" y="8725"/>
                    <a:pt x="1312" y="8714"/>
                  </a:cubicBezTo>
                  <a:cubicBezTo>
                    <a:pt x="1277" y="8687"/>
                    <a:pt x="1230" y="8651"/>
                    <a:pt x="1183" y="8615"/>
                  </a:cubicBezTo>
                  <a:cubicBezTo>
                    <a:pt x="1101" y="8552"/>
                    <a:pt x="1019" y="8490"/>
                    <a:pt x="1000" y="8475"/>
                  </a:cubicBezTo>
                  <a:cubicBezTo>
                    <a:pt x="1040" y="8414"/>
                    <a:pt x="1084" y="8346"/>
                    <a:pt x="1089" y="8336"/>
                  </a:cubicBezTo>
                  <a:cubicBezTo>
                    <a:pt x="1090" y="8335"/>
                    <a:pt x="1090" y="8336"/>
                    <a:pt x="1091" y="8331"/>
                  </a:cubicBezTo>
                  <a:cubicBezTo>
                    <a:pt x="1091" y="8331"/>
                    <a:pt x="1091" y="8331"/>
                    <a:pt x="1091" y="8331"/>
                  </a:cubicBezTo>
                  <a:close/>
                  <a:moveTo>
                    <a:pt x="1298" y="6988"/>
                  </a:moveTo>
                  <a:cubicBezTo>
                    <a:pt x="1311" y="6974"/>
                    <a:pt x="1323" y="6958"/>
                    <a:pt x="1335" y="6940"/>
                  </a:cubicBezTo>
                  <a:cubicBezTo>
                    <a:pt x="1357" y="6906"/>
                    <a:pt x="1380" y="6867"/>
                    <a:pt x="1399" y="6829"/>
                  </a:cubicBezTo>
                  <a:cubicBezTo>
                    <a:pt x="1422" y="6787"/>
                    <a:pt x="1441" y="6746"/>
                    <a:pt x="1454" y="6719"/>
                  </a:cubicBezTo>
                  <a:cubicBezTo>
                    <a:pt x="1533" y="6766"/>
                    <a:pt x="1745" y="6892"/>
                    <a:pt x="1887" y="6974"/>
                  </a:cubicBezTo>
                  <a:cubicBezTo>
                    <a:pt x="1885" y="6978"/>
                    <a:pt x="1882" y="6981"/>
                    <a:pt x="1879" y="6986"/>
                  </a:cubicBezTo>
                  <a:cubicBezTo>
                    <a:pt x="1863" y="7007"/>
                    <a:pt x="1844" y="7036"/>
                    <a:pt x="1822" y="7068"/>
                  </a:cubicBezTo>
                  <a:cubicBezTo>
                    <a:pt x="1790" y="7115"/>
                    <a:pt x="1754" y="7169"/>
                    <a:pt x="1722" y="7218"/>
                  </a:cubicBezTo>
                  <a:cubicBezTo>
                    <a:pt x="1722" y="7216"/>
                    <a:pt x="1722" y="7216"/>
                    <a:pt x="1722" y="7216"/>
                  </a:cubicBezTo>
                  <a:cubicBezTo>
                    <a:pt x="1693" y="7204"/>
                    <a:pt x="1690" y="7203"/>
                    <a:pt x="1687" y="7202"/>
                  </a:cubicBezTo>
                  <a:cubicBezTo>
                    <a:pt x="1671" y="7196"/>
                    <a:pt x="1649" y="7187"/>
                    <a:pt x="1627" y="7179"/>
                  </a:cubicBezTo>
                  <a:cubicBezTo>
                    <a:pt x="1583" y="7163"/>
                    <a:pt x="1539" y="7146"/>
                    <a:pt x="1539" y="7146"/>
                  </a:cubicBezTo>
                  <a:cubicBezTo>
                    <a:pt x="1538" y="7146"/>
                    <a:pt x="1538" y="7146"/>
                    <a:pt x="1538" y="7146"/>
                  </a:cubicBezTo>
                  <a:cubicBezTo>
                    <a:pt x="1403" y="7149"/>
                    <a:pt x="1403" y="7149"/>
                    <a:pt x="1403" y="7149"/>
                  </a:cubicBezTo>
                  <a:lnTo>
                    <a:pt x="1298" y="6988"/>
                  </a:lnTo>
                  <a:close/>
                  <a:moveTo>
                    <a:pt x="1352" y="7151"/>
                  </a:moveTo>
                  <a:cubicBezTo>
                    <a:pt x="1321" y="7158"/>
                    <a:pt x="1150" y="7197"/>
                    <a:pt x="1087" y="7212"/>
                  </a:cubicBezTo>
                  <a:cubicBezTo>
                    <a:pt x="1139" y="7071"/>
                    <a:pt x="1139" y="7071"/>
                    <a:pt x="1139" y="7071"/>
                  </a:cubicBezTo>
                  <a:cubicBezTo>
                    <a:pt x="1171" y="7064"/>
                    <a:pt x="1216" y="7050"/>
                    <a:pt x="1264" y="7020"/>
                  </a:cubicBezTo>
                  <a:cubicBezTo>
                    <a:pt x="1264" y="7019"/>
                    <a:pt x="1265" y="7019"/>
                    <a:pt x="1265" y="7019"/>
                  </a:cubicBezTo>
                  <a:lnTo>
                    <a:pt x="1352" y="7151"/>
                  </a:lnTo>
                  <a:close/>
                  <a:moveTo>
                    <a:pt x="2199" y="4743"/>
                  </a:moveTo>
                  <a:cubicBezTo>
                    <a:pt x="2400" y="4889"/>
                    <a:pt x="2400" y="4889"/>
                    <a:pt x="2400" y="4889"/>
                  </a:cubicBezTo>
                  <a:cubicBezTo>
                    <a:pt x="2345" y="4987"/>
                    <a:pt x="2345" y="4987"/>
                    <a:pt x="2345" y="4987"/>
                  </a:cubicBezTo>
                  <a:cubicBezTo>
                    <a:pt x="2088" y="4841"/>
                    <a:pt x="2088" y="4841"/>
                    <a:pt x="2088" y="4841"/>
                  </a:cubicBezTo>
                  <a:lnTo>
                    <a:pt x="2199" y="4743"/>
                  </a:lnTo>
                  <a:close/>
                  <a:moveTo>
                    <a:pt x="2076" y="4834"/>
                  </a:moveTo>
                  <a:cubicBezTo>
                    <a:pt x="1797" y="4674"/>
                    <a:pt x="1797" y="4674"/>
                    <a:pt x="1797" y="4674"/>
                  </a:cubicBezTo>
                  <a:cubicBezTo>
                    <a:pt x="1922" y="4542"/>
                    <a:pt x="1922" y="4542"/>
                    <a:pt x="1922" y="4542"/>
                  </a:cubicBezTo>
                  <a:cubicBezTo>
                    <a:pt x="2187" y="4735"/>
                    <a:pt x="2187" y="4735"/>
                    <a:pt x="2187" y="4735"/>
                  </a:cubicBezTo>
                  <a:lnTo>
                    <a:pt x="2076" y="4834"/>
                  </a:lnTo>
                  <a:close/>
                  <a:moveTo>
                    <a:pt x="4152" y="4111"/>
                  </a:moveTo>
                  <a:cubicBezTo>
                    <a:pt x="4648" y="4219"/>
                    <a:pt x="4648" y="4219"/>
                    <a:pt x="4648" y="4219"/>
                  </a:cubicBezTo>
                  <a:cubicBezTo>
                    <a:pt x="4487" y="4547"/>
                    <a:pt x="4487" y="4547"/>
                    <a:pt x="4487" y="4547"/>
                  </a:cubicBezTo>
                  <a:cubicBezTo>
                    <a:pt x="4485" y="4538"/>
                    <a:pt x="4485" y="4538"/>
                    <a:pt x="4485" y="4538"/>
                  </a:cubicBezTo>
                  <a:cubicBezTo>
                    <a:pt x="4486" y="4543"/>
                    <a:pt x="4486" y="4543"/>
                    <a:pt x="4486" y="4543"/>
                  </a:cubicBezTo>
                  <a:cubicBezTo>
                    <a:pt x="4486" y="4538"/>
                    <a:pt x="4486" y="4538"/>
                    <a:pt x="4486" y="4538"/>
                  </a:cubicBezTo>
                  <a:cubicBezTo>
                    <a:pt x="4486" y="4538"/>
                    <a:pt x="4486" y="4538"/>
                    <a:pt x="4486" y="4538"/>
                  </a:cubicBezTo>
                  <a:cubicBezTo>
                    <a:pt x="4486" y="4538"/>
                    <a:pt x="4486" y="4538"/>
                    <a:pt x="4486" y="4538"/>
                  </a:cubicBezTo>
                  <a:cubicBezTo>
                    <a:pt x="4473" y="4538"/>
                    <a:pt x="4304" y="4506"/>
                    <a:pt x="4137" y="4474"/>
                  </a:cubicBezTo>
                  <a:cubicBezTo>
                    <a:pt x="4138" y="4468"/>
                    <a:pt x="4139" y="4462"/>
                    <a:pt x="4140" y="4456"/>
                  </a:cubicBezTo>
                  <a:cubicBezTo>
                    <a:pt x="4151" y="4397"/>
                    <a:pt x="4154" y="4317"/>
                    <a:pt x="4154" y="4235"/>
                  </a:cubicBezTo>
                  <a:cubicBezTo>
                    <a:pt x="4154" y="4193"/>
                    <a:pt x="4153" y="4151"/>
                    <a:pt x="4152" y="4111"/>
                  </a:cubicBezTo>
                  <a:close/>
                  <a:moveTo>
                    <a:pt x="8512" y="7211"/>
                  </a:moveTo>
                  <a:cubicBezTo>
                    <a:pt x="8512" y="7212"/>
                    <a:pt x="8512" y="7213"/>
                    <a:pt x="8512" y="7213"/>
                  </a:cubicBezTo>
                  <a:cubicBezTo>
                    <a:pt x="8510" y="7263"/>
                    <a:pt x="8506" y="7322"/>
                    <a:pt x="8506" y="7384"/>
                  </a:cubicBezTo>
                  <a:cubicBezTo>
                    <a:pt x="8506" y="7416"/>
                    <a:pt x="8507" y="7450"/>
                    <a:pt x="8510" y="7483"/>
                  </a:cubicBezTo>
                  <a:cubicBezTo>
                    <a:pt x="8500" y="7477"/>
                    <a:pt x="8486" y="7468"/>
                    <a:pt x="8470" y="7457"/>
                  </a:cubicBezTo>
                  <a:cubicBezTo>
                    <a:pt x="8435" y="7432"/>
                    <a:pt x="8390" y="7399"/>
                    <a:pt x="8344" y="7367"/>
                  </a:cubicBezTo>
                  <a:cubicBezTo>
                    <a:pt x="8265" y="7309"/>
                    <a:pt x="8187" y="7252"/>
                    <a:pt x="8169" y="7239"/>
                  </a:cubicBezTo>
                  <a:cubicBezTo>
                    <a:pt x="8373" y="7057"/>
                    <a:pt x="8457" y="6835"/>
                    <a:pt x="8470" y="6799"/>
                  </a:cubicBezTo>
                  <a:cubicBezTo>
                    <a:pt x="8480" y="6800"/>
                    <a:pt x="8503" y="6801"/>
                    <a:pt x="8523" y="6802"/>
                  </a:cubicBezTo>
                  <a:cubicBezTo>
                    <a:pt x="8520" y="6977"/>
                    <a:pt x="8516" y="7129"/>
                    <a:pt x="8513" y="7197"/>
                  </a:cubicBezTo>
                  <a:cubicBezTo>
                    <a:pt x="8286" y="7118"/>
                    <a:pt x="8286" y="7118"/>
                    <a:pt x="8286" y="7118"/>
                  </a:cubicBezTo>
                  <a:cubicBezTo>
                    <a:pt x="8281" y="7131"/>
                    <a:pt x="8281" y="7131"/>
                    <a:pt x="8281" y="7131"/>
                  </a:cubicBezTo>
                  <a:lnTo>
                    <a:pt x="8512" y="7211"/>
                  </a:lnTo>
                  <a:close/>
                  <a:moveTo>
                    <a:pt x="8074" y="7661"/>
                  </a:moveTo>
                  <a:cubicBezTo>
                    <a:pt x="7992" y="7691"/>
                    <a:pt x="7916" y="7720"/>
                    <a:pt x="7900" y="7726"/>
                  </a:cubicBezTo>
                  <a:cubicBezTo>
                    <a:pt x="7685" y="7498"/>
                    <a:pt x="7685" y="7498"/>
                    <a:pt x="7685" y="7498"/>
                  </a:cubicBezTo>
                  <a:cubicBezTo>
                    <a:pt x="7675" y="7508"/>
                    <a:pt x="7675" y="7508"/>
                    <a:pt x="7675" y="7508"/>
                  </a:cubicBezTo>
                  <a:cubicBezTo>
                    <a:pt x="8117" y="7977"/>
                    <a:pt x="8117" y="7977"/>
                    <a:pt x="8117" y="7977"/>
                  </a:cubicBezTo>
                  <a:cubicBezTo>
                    <a:pt x="8101" y="7979"/>
                    <a:pt x="8087" y="7980"/>
                    <a:pt x="8077" y="7981"/>
                  </a:cubicBezTo>
                  <a:cubicBezTo>
                    <a:pt x="8047" y="7961"/>
                    <a:pt x="7990" y="7926"/>
                    <a:pt x="7921" y="7887"/>
                  </a:cubicBezTo>
                  <a:cubicBezTo>
                    <a:pt x="7832" y="7837"/>
                    <a:pt x="7723" y="7782"/>
                    <a:pt x="7616" y="7748"/>
                  </a:cubicBezTo>
                  <a:cubicBezTo>
                    <a:pt x="7519" y="7551"/>
                    <a:pt x="7519" y="7551"/>
                    <a:pt x="7519" y="7551"/>
                  </a:cubicBezTo>
                  <a:cubicBezTo>
                    <a:pt x="7646" y="7513"/>
                    <a:pt x="7792" y="7462"/>
                    <a:pt x="7939" y="7392"/>
                  </a:cubicBezTo>
                  <a:cubicBezTo>
                    <a:pt x="7964" y="7381"/>
                    <a:pt x="7987" y="7368"/>
                    <a:pt x="8010" y="7354"/>
                  </a:cubicBezTo>
                  <a:cubicBezTo>
                    <a:pt x="8005" y="7361"/>
                    <a:pt x="8005" y="7361"/>
                    <a:pt x="8005" y="7361"/>
                  </a:cubicBezTo>
                  <a:cubicBezTo>
                    <a:pt x="8272" y="7588"/>
                    <a:pt x="8272" y="7588"/>
                    <a:pt x="8272" y="7588"/>
                  </a:cubicBezTo>
                  <a:cubicBezTo>
                    <a:pt x="8272" y="7589"/>
                    <a:pt x="8271" y="7589"/>
                    <a:pt x="8271" y="7589"/>
                  </a:cubicBezTo>
                  <a:cubicBezTo>
                    <a:pt x="8259" y="7593"/>
                    <a:pt x="8244" y="7599"/>
                    <a:pt x="8225" y="7605"/>
                  </a:cubicBezTo>
                  <a:cubicBezTo>
                    <a:pt x="8188" y="7619"/>
                    <a:pt x="8139" y="7637"/>
                    <a:pt x="8090" y="7655"/>
                  </a:cubicBezTo>
                  <a:cubicBezTo>
                    <a:pt x="8089" y="7655"/>
                    <a:pt x="8089" y="7656"/>
                    <a:pt x="8088" y="7656"/>
                  </a:cubicBezTo>
                  <a:cubicBezTo>
                    <a:pt x="7971" y="7538"/>
                    <a:pt x="7864" y="7428"/>
                    <a:pt x="7864" y="7427"/>
                  </a:cubicBezTo>
                  <a:cubicBezTo>
                    <a:pt x="7854" y="7437"/>
                    <a:pt x="7854" y="7437"/>
                    <a:pt x="7854" y="7437"/>
                  </a:cubicBezTo>
                  <a:cubicBezTo>
                    <a:pt x="7854" y="7437"/>
                    <a:pt x="7959" y="7545"/>
                    <a:pt x="8074" y="7661"/>
                  </a:cubicBezTo>
                  <a:close/>
                  <a:moveTo>
                    <a:pt x="7455" y="14081"/>
                  </a:moveTo>
                  <a:cubicBezTo>
                    <a:pt x="7393" y="14176"/>
                    <a:pt x="7393" y="14176"/>
                    <a:pt x="7393" y="14176"/>
                  </a:cubicBezTo>
                  <a:cubicBezTo>
                    <a:pt x="7375" y="14177"/>
                    <a:pt x="7291" y="14180"/>
                    <a:pt x="7179" y="14184"/>
                  </a:cubicBezTo>
                  <a:cubicBezTo>
                    <a:pt x="7096" y="13821"/>
                    <a:pt x="7096" y="13821"/>
                    <a:pt x="7096" y="13821"/>
                  </a:cubicBezTo>
                  <a:cubicBezTo>
                    <a:pt x="7116" y="13819"/>
                    <a:pt x="7137" y="13818"/>
                    <a:pt x="7157" y="13817"/>
                  </a:cubicBezTo>
                  <a:cubicBezTo>
                    <a:pt x="7260" y="13809"/>
                    <a:pt x="7343" y="13806"/>
                    <a:pt x="7343" y="13806"/>
                  </a:cubicBezTo>
                  <a:cubicBezTo>
                    <a:pt x="7447" y="13802"/>
                    <a:pt x="7447" y="13802"/>
                    <a:pt x="7447" y="13802"/>
                  </a:cubicBezTo>
                  <a:cubicBezTo>
                    <a:pt x="7447" y="13806"/>
                    <a:pt x="7447" y="13809"/>
                    <a:pt x="7447" y="13814"/>
                  </a:cubicBezTo>
                  <a:cubicBezTo>
                    <a:pt x="7447" y="13885"/>
                    <a:pt x="7454" y="14059"/>
                    <a:pt x="7455" y="14081"/>
                  </a:cubicBezTo>
                  <a:close/>
                  <a:moveTo>
                    <a:pt x="7018" y="15224"/>
                  </a:moveTo>
                  <a:cubicBezTo>
                    <a:pt x="6790" y="15171"/>
                    <a:pt x="6790" y="15171"/>
                    <a:pt x="6790" y="15171"/>
                  </a:cubicBezTo>
                  <a:cubicBezTo>
                    <a:pt x="6790" y="15166"/>
                    <a:pt x="6790" y="15166"/>
                    <a:pt x="6790" y="15166"/>
                  </a:cubicBezTo>
                  <a:cubicBezTo>
                    <a:pt x="6795" y="15163"/>
                    <a:pt x="6795" y="15163"/>
                    <a:pt x="6795" y="15163"/>
                  </a:cubicBezTo>
                  <a:cubicBezTo>
                    <a:pt x="6794" y="15164"/>
                    <a:pt x="6794" y="15164"/>
                    <a:pt x="6794" y="15164"/>
                  </a:cubicBezTo>
                  <a:cubicBezTo>
                    <a:pt x="6796" y="15164"/>
                    <a:pt x="6796" y="15164"/>
                    <a:pt x="6796" y="15164"/>
                  </a:cubicBezTo>
                  <a:cubicBezTo>
                    <a:pt x="6796" y="15164"/>
                    <a:pt x="6796" y="15164"/>
                    <a:pt x="6796" y="15164"/>
                  </a:cubicBezTo>
                  <a:cubicBezTo>
                    <a:pt x="6796" y="15163"/>
                    <a:pt x="6795" y="15162"/>
                    <a:pt x="6795" y="15160"/>
                  </a:cubicBezTo>
                  <a:cubicBezTo>
                    <a:pt x="6795" y="15157"/>
                    <a:pt x="6794" y="15151"/>
                    <a:pt x="6794" y="15144"/>
                  </a:cubicBezTo>
                  <a:cubicBezTo>
                    <a:pt x="6793" y="15131"/>
                    <a:pt x="6792" y="15111"/>
                    <a:pt x="6792" y="15086"/>
                  </a:cubicBezTo>
                  <a:cubicBezTo>
                    <a:pt x="6791" y="15038"/>
                    <a:pt x="6790" y="14974"/>
                    <a:pt x="6789" y="14910"/>
                  </a:cubicBezTo>
                  <a:cubicBezTo>
                    <a:pt x="6789" y="14813"/>
                    <a:pt x="6789" y="14717"/>
                    <a:pt x="6788" y="14675"/>
                  </a:cubicBezTo>
                  <a:cubicBezTo>
                    <a:pt x="6859" y="14674"/>
                    <a:pt x="6928" y="14674"/>
                    <a:pt x="6993" y="14674"/>
                  </a:cubicBezTo>
                  <a:cubicBezTo>
                    <a:pt x="6995" y="14702"/>
                    <a:pt x="6995" y="14702"/>
                    <a:pt x="6995" y="14702"/>
                  </a:cubicBezTo>
                  <a:cubicBezTo>
                    <a:pt x="6948" y="14703"/>
                    <a:pt x="6948" y="14703"/>
                    <a:pt x="6948" y="14703"/>
                  </a:cubicBezTo>
                  <a:cubicBezTo>
                    <a:pt x="6949" y="14746"/>
                    <a:pt x="6949" y="14746"/>
                    <a:pt x="6949" y="14746"/>
                  </a:cubicBezTo>
                  <a:cubicBezTo>
                    <a:pt x="6903" y="14748"/>
                    <a:pt x="6903" y="14748"/>
                    <a:pt x="6903" y="14748"/>
                  </a:cubicBezTo>
                  <a:cubicBezTo>
                    <a:pt x="6905" y="14827"/>
                    <a:pt x="6905" y="14827"/>
                    <a:pt x="6905" y="14827"/>
                  </a:cubicBezTo>
                  <a:cubicBezTo>
                    <a:pt x="6905" y="14834"/>
                    <a:pt x="6905" y="14834"/>
                    <a:pt x="6905" y="14834"/>
                  </a:cubicBezTo>
                  <a:cubicBezTo>
                    <a:pt x="7000" y="14831"/>
                    <a:pt x="7000" y="14831"/>
                    <a:pt x="7000" y="14831"/>
                  </a:cubicBezTo>
                  <a:lnTo>
                    <a:pt x="7018" y="15224"/>
                  </a:lnTo>
                  <a:close/>
                  <a:moveTo>
                    <a:pt x="7009" y="14715"/>
                  </a:moveTo>
                  <a:cubicBezTo>
                    <a:pt x="7052" y="14714"/>
                    <a:pt x="7052" y="14714"/>
                    <a:pt x="7052" y="14714"/>
                  </a:cubicBezTo>
                  <a:cubicBezTo>
                    <a:pt x="7053" y="14757"/>
                    <a:pt x="7053" y="14757"/>
                    <a:pt x="7053" y="14757"/>
                  </a:cubicBezTo>
                  <a:cubicBezTo>
                    <a:pt x="7100" y="14756"/>
                    <a:pt x="7100" y="14756"/>
                    <a:pt x="7100" y="14756"/>
                  </a:cubicBezTo>
                  <a:cubicBezTo>
                    <a:pt x="7102" y="14816"/>
                    <a:pt x="7102" y="14816"/>
                    <a:pt x="7102" y="14816"/>
                  </a:cubicBezTo>
                  <a:cubicBezTo>
                    <a:pt x="7014" y="14818"/>
                    <a:pt x="7014" y="14818"/>
                    <a:pt x="7014" y="14818"/>
                  </a:cubicBezTo>
                  <a:lnTo>
                    <a:pt x="7009" y="14715"/>
                  </a:lnTo>
                  <a:close/>
                  <a:moveTo>
                    <a:pt x="6911" y="14596"/>
                  </a:moveTo>
                  <a:cubicBezTo>
                    <a:pt x="6912" y="14601"/>
                    <a:pt x="6912" y="14605"/>
                    <a:pt x="6912" y="14609"/>
                  </a:cubicBezTo>
                  <a:cubicBezTo>
                    <a:pt x="6827" y="14609"/>
                    <a:pt x="6738" y="14609"/>
                    <a:pt x="6651" y="14609"/>
                  </a:cubicBezTo>
                  <a:cubicBezTo>
                    <a:pt x="6653" y="14217"/>
                    <a:pt x="6653" y="14217"/>
                    <a:pt x="6653" y="14217"/>
                  </a:cubicBezTo>
                  <a:cubicBezTo>
                    <a:pt x="6729" y="14214"/>
                    <a:pt x="6815" y="14211"/>
                    <a:pt x="6902" y="14208"/>
                  </a:cubicBezTo>
                  <a:cubicBezTo>
                    <a:pt x="6906" y="14208"/>
                    <a:pt x="6911" y="14207"/>
                    <a:pt x="6916" y="14207"/>
                  </a:cubicBezTo>
                  <a:cubicBezTo>
                    <a:pt x="6915" y="14246"/>
                    <a:pt x="6911" y="14428"/>
                    <a:pt x="6911" y="14538"/>
                  </a:cubicBezTo>
                  <a:cubicBezTo>
                    <a:pt x="6911" y="14561"/>
                    <a:pt x="6911" y="14581"/>
                    <a:pt x="6911" y="14596"/>
                  </a:cubicBezTo>
                  <a:close/>
                  <a:moveTo>
                    <a:pt x="6962" y="14716"/>
                  </a:moveTo>
                  <a:cubicBezTo>
                    <a:pt x="6995" y="14715"/>
                    <a:pt x="6995" y="14715"/>
                    <a:pt x="6995" y="14715"/>
                  </a:cubicBezTo>
                  <a:cubicBezTo>
                    <a:pt x="7000" y="14818"/>
                    <a:pt x="7000" y="14818"/>
                    <a:pt x="7000" y="14818"/>
                  </a:cubicBezTo>
                  <a:cubicBezTo>
                    <a:pt x="6917" y="14820"/>
                    <a:pt x="6917" y="14820"/>
                    <a:pt x="6917" y="14820"/>
                  </a:cubicBezTo>
                  <a:cubicBezTo>
                    <a:pt x="6916" y="14760"/>
                    <a:pt x="6916" y="14760"/>
                    <a:pt x="6916" y="14760"/>
                  </a:cubicBezTo>
                  <a:cubicBezTo>
                    <a:pt x="6963" y="14759"/>
                    <a:pt x="6963" y="14759"/>
                    <a:pt x="6963" y="14759"/>
                  </a:cubicBezTo>
                  <a:lnTo>
                    <a:pt x="6962" y="14716"/>
                  </a:lnTo>
                  <a:close/>
                  <a:moveTo>
                    <a:pt x="6926" y="14609"/>
                  </a:moveTo>
                  <a:cubicBezTo>
                    <a:pt x="6926" y="14606"/>
                    <a:pt x="6926" y="14602"/>
                    <a:pt x="6925" y="14598"/>
                  </a:cubicBezTo>
                  <a:cubicBezTo>
                    <a:pt x="6925" y="14583"/>
                    <a:pt x="6925" y="14563"/>
                    <a:pt x="6925" y="14538"/>
                  </a:cubicBezTo>
                  <a:cubicBezTo>
                    <a:pt x="6925" y="14428"/>
                    <a:pt x="6929" y="14244"/>
                    <a:pt x="6930" y="14207"/>
                  </a:cubicBezTo>
                  <a:cubicBezTo>
                    <a:pt x="6982" y="14205"/>
                    <a:pt x="7034" y="14203"/>
                    <a:pt x="7084" y="14201"/>
                  </a:cubicBezTo>
                  <a:cubicBezTo>
                    <a:pt x="7084" y="14202"/>
                    <a:pt x="7084" y="14202"/>
                    <a:pt x="7084" y="14202"/>
                  </a:cubicBezTo>
                  <a:cubicBezTo>
                    <a:pt x="7085" y="14205"/>
                    <a:pt x="7086" y="14210"/>
                    <a:pt x="7088" y="14216"/>
                  </a:cubicBezTo>
                  <a:cubicBezTo>
                    <a:pt x="7091" y="14227"/>
                    <a:pt x="7095" y="14244"/>
                    <a:pt x="7100" y="14264"/>
                  </a:cubicBezTo>
                  <a:cubicBezTo>
                    <a:pt x="7109" y="14305"/>
                    <a:pt x="7122" y="14358"/>
                    <a:pt x="7134" y="14412"/>
                  </a:cubicBezTo>
                  <a:cubicBezTo>
                    <a:pt x="7152" y="14492"/>
                    <a:pt x="7170" y="14571"/>
                    <a:pt x="7178" y="14607"/>
                  </a:cubicBezTo>
                  <a:cubicBezTo>
                    <a:pt x="7106" y="14608"/>
                    <a:pt x="7019" y="14608"/>
                    <a:pt x="6926" y="14609"/>
                  </a:cubicBezTo>
                  <a:close/>
                  <a:moveTo>
                    <a:pt x="6559" y="14206"/>
                  </a:moveTo>
                  <a:cubicBezTo>
                    <a:pt x="6550" y="14207"/>
                    <a:pt x="6541" y="14207"/>
                    <a:pt x="6532" y="14207"/>
                  </a:cubicBezTo>
                  <a:cubicBezTo>
                    <a:pt x="6532" y="13902"/>
                    <a:pt x="6532" y="13902"/>
                    <a:pt x="6532" y="13902"/>
                  </a:cubicBezTo>
                  <a:cubicBezTo>
                    <a:pt x="6631" y="13890"/>
                    <a:pt x="6730" y="13875"/>
                    <a:pt x="6827" y="13856"/>
                  </a:cubicBezTo>
                  <a:cubicBezTo>
                    <a:pt x="6791" y="14193"/>
                    <a:pt x="6791" y="14193"/>
                    <a:pt x="6791" y="14193"/>
                  </a:cubicBezTo>
                  <a:cubicBezTo>
                    <a:pt x="6805" y="14194"/>
                    <a:pt x="6805" y="14194"/>
                    <a:pt x="6805" y="14194"/>
                  </a:cubicBezTo>
                  <a:cubicBezTo>
                    <a:pt x="6841" y="13853"/>
                    <a:pt x="6841" y="13853"/>
                    <a:pt x="6841" y="13853"/>
                  </a:cubicBezTo>
                  <a:cubicBezTo>
                    <a:pt x="6846" y="13852"/>
                    <a:pt x="6850" y="13852"/>
                    <a:pt x="6854" y="13851"/>
                  </a:cubicBezTo>
                  <a:cubicBezTo>
                    <a:pt x="6913" y="13839"/>
                    <a:pt x="6999" y="13829"/>
                    <a:pt x="7082" y="13822"/>
                  </a:cubicBezTo>
                  <a:cubicBezTo>
                    <a:pt x="7165" y="14184"/>
                    <a:pt x="7165" y="14184"/>
                    <a:pt x="7165" y="14184"/>
                  </a:cubicBezTo>
                  <a:cubicBezTo>
                    <a:pt x="6979" y="14191"/>
                    <a:pt x="6723" y="14200"/>
                    <a:pt x="6559" y="14206"/>
                  </a:cubicBezTo>
                  <a:close/>
                  <a:moveTo>
                    <a:pt x="6322" y="14610"/>
                  </a:moveTo>
                  <a:cubicBezTo>
                    <a:pt x="6406" y="14227"/>
                    <a:pt x="6406" y="14227"/>
                    <a:pt x="6406" y="14227"/>
                  </a:cubicBezTo>
                  <a:cubicBezTo>
                    <a:pt x="6408" y="14226"/>
                    <a:pt x="6410" y="14226"/>
                    <a:pt x="6413" y="14226"/>
                  </a:cubicBezTo>
                  <a:cubicBezTo>
                    <a:pt x="6421" y="14226"/>
                    <a:pt x="6432" y="14225"/>
                    <a:pt x="6446" y="14225"/>
                  </a:cubicBezTo>
                  <a:cubicBezTo>
                    <a:pt x="6473" y="14224"/>
                    <a:pt x="6513" y="14222"/>
                    <a:pt x="6560" y="14220"/>
                  </a:cubicBezTo>
                  <a:cubicBezTo>
                    <a:pt x="6584" y="14219"/>
                    <a:pt x="6611" y="14218"/>
                    <a:pt x="6639" y="14217"/>
                  </a:cubicBezTo>
                  <a:cubicBezTo>
                    <a:pt x="6637" y="14609"/>
                    <a:pt x="6637" y="14609"/>
                    <a:pt x="6637" y="14609"/>
                  </a:cubicBezTo>
                  <a:cubicBezTo>
                    <a:pt x="6626" y="14609"/>
                    <a:pt x="6616" y="14609"/>
                    <a:pt x="6605" y="14609"/>
                  </a:cubicBezTo>
                  <a:cubicBezTo>
                    <a:pt x="6502" y="14610"/>
                    <a:pt x="6404" y="14610"/>
                    <a:pt x="6322" y="14610"/>
                  </a:cubicBezTo>
                  <a:close/>
                  <a:moveTo>
                    <a:pt x="6591" y="14873"/>
                  </a:moveTo>
                  <a:cubicBezTo>
                    <a:pt x="6360" y="14860"/>
                    <a:pt x="6360" y="14860"/>
                    <a:pt x="6360" y="14860"/>
                  </a:cubicBezTo>
                  <a:cubicBezTo>
                    <a:pt x="6349" y="14675"/>
                    <a:pt x="6349" y="14675"/>
                    <a:pt x="6349" y="14675"/>
                  </a:cubicBezTo>
                  <a:cubicBezTo>
                    <a:pt x="6419" y="14675"/>
                    <a:pt x="6499" y="14675"/>
                    <a:pt x="6583" y="14675"/>
                  </a:cubicBezTo>
                  <a:lnTo>
                    <a:pt x="6591" y="14873"/>
                  </a:lnTo>
                  <a:close/>
                  <a:moveTo>
                    <a:pt x="3808" y="15156"/>
                  </a:moveTo>
                  <a:cubicBezTo>
                    <a:pt x="3995" y="15052"/>
                    <a:pt x="3995" y="15052"/>
                    <a:pt x="3995" y="15052"/>
                  </a:cubicBezTo>
                  <a:cubicBezTo>
                    <a:pt x="3995" y="15052"/>
                    <a:pt x="3995" y="15052"/>
                    <a:pt x="3995" y="15052"/>
                  </a:cubicBezTo>
                  <a:cubicBezTo>
                    <a:pt x="4005" y="15069"/>
                    <a:pt x="4042" y="15130"/>
                    <a:pt x="4088" y="15207"/>
                  </a:cubicBezTo>
                  <a:cubicBezTo>
                    <a:pt x="4142" y="15299"/>
                    <a:pt x="4208" y="15412"/>
                    <a:pt x="4256" y="15501"/>
                  </a:cubicBezTo>
                  <a:cubicBezTo>
                    <a:pt x="4259" y="15506"/>
                    <a:pt x="4262" y="15512"/>
                    <a:pt x="4265" y="15517"/>
                  </a:cubicBezTo>
                  <a:cubicBezTo>
                    <a:pt x="4264" y="15517"/>
                    <a:pt x="4264" y="15517"/>
                    <a:pt x="4264" y="15517"/>
                  </a:cubicBezTo>
                  <a:cubicBezTo>
                    <a:pt x="4098" y="15619"/>
                    <a:pt x="4098" y="15619"/>
                    <a:pt x="4098" y="15619"/>
                  </a:cubicBezTo>
                  <a:cubicBezTo>
                    <a:pt x="4102" y="15616"/>
                    <a:pt x="4102" y="15616"/>
                    <a:pt x="4102" y="15616"/>
                  </a:cubicBezTo>
                  <a:lnTo>
                    <a:pt x="3808" y="15156"/>
                  </a:lnTo>
                  <a:close/>
                  <a:moveTo>
                    <a:pt x="3559" y="15444"/>
                  </a:moveTo>
                  <a:cubicBezTo>
                    <a:pt x="3670" y="15380"/>
                    <a:pt x="3670" y="15380"/>
                    <a:pt x="3670" y="15380"/>
                  </a:cubicBezTo>
                  <a:cubicBezTo>
                    <a:pt x="3618" y="15290"/>
                    <a:pt x="3618" y="15290"/>
                    <a:pt x="3618" y="15290"/>
                  </a:cubicBezTo>
                  <a:cubicBezTo>
                    <a:pt x="3493" y="15362"/>
                    <a:pt x="3493" y="15362"/>
                    <a:pt x="3493" y="15362"/>
                  </a:cubicBezTo>
                  <a:cubicBezTo>
                    <a:pt x="3479" y="15339"/>
                    <a:pt x="3479" y="15339"/>
                    <a:pt x="3479" y="15339"/>
                  </a:cubicBezTo>
                  <a:cubicBezTo>
                    <a:pt x="3796" y="15163"/>
                    <a:pt x="3796" y="15163"/>
                    <a:pt x="3796" y="15163"/>
                  </a:cubicBezTo>
                  <a:cubicBezTo>
                    <a:pt x="4090" y="15624"/>
                    <a:pt x="4090" y="15624"/>
                    <a:pt x="4090" y="15624"/>
                  </a:cubicBezTo>
                  <a:cubicBezTo>
                    <a:pt x="3861" y="15764"/>
                    <a:pt x="3861" y="15764"/>
                    <a:pt x="3861" y="15764"/>
                  </a:cubicBezTo>
                  <a:cubicBezTo>
                    <a:pt x="3715" y="15733"/>
                    <a:pt x="3715" y="15733"/>
                    <a:pt x="3715" y="15733"/>
                  </a:cubicBezTo>
                  <a:cubicBezTo>
                    <a:pt x="3585" y="15515"/>
                    <a:pt x="3585" y="15515"/>
                    <a:pt x="3585" y="15515"/>
                  </a:cubicBezTo>
                  <a:cubicBezTo>
                    <a:pt x="3597" y="15509"/>
                    <a:pt x="3597" y="15509"/>
                    <a:pt x="3597" y="15509"/>
                  </a:cubicBezTo>
                  <a:lnTo>
                    <a:pt x="3559" y="15444"/>
                  </a:lnTo>
                  <a:close/>
                  <a:moveTo>
                    <a:pt x="3566" y="15511"/>
                  </a:moveTo>
                  <a:cubicBezTo>
                    <a:pt x="3473" y="15565"/>
                    <a:pt x="3473" y="15565"/>
                    <a:pt x="3473" y="15565"/>
                  </a:cubicBezTo>
                  <a:cubicBezTo>
                    <a:pt x="3434" y="15497"/>
                    <a:pt x="3434" y="15497"/>
                    <a:pt x="3434" y="15497"/>
                  </a:cubicBezTo>
                  <a:cubicBezTo>
                    <a:pt x="3526" y="15444"/>
                    <a:pt x="3526" y="15444"/>
                    <a:pt x="3526" y="15444"/>
                  </a:cubicBezTo>
                  <a:lnTo>
                    <a:pt x="3566" y="15511"/>
                  </a:lnTo>
                  <a:close/>
                  <a:moveTo>
                    <a:pt x="3507" y="15369"/>
                  </a:moveTo>
                  <a:cubicBezTo>
                    <a:pt x="3613" y="15308"/>
                    <a:pt x="3613" y="15308"/>
                    <a:pt x="3613" y="15308"/>
                  </a:cubicBezTo>
                  <a:cubicBezTo>
                    <a:pt x="3652" y="15376"/>
                    <a:pt x="3652" y="15376"/>
                    <a:pt x="3652" y="15376"/>
                  </a:cubicBezTo>
                  <a:cubicBezTo>
                    <a:pt x="3553" y="15433"/>
                    <a:pt x="3553" y="15433"/>
                    <a:pt x="3553" y="15433"/>
                  </a:cubicBezTo>
                  <a:cubicBezTo>
                    <a:pt x="3544" y="15418"/>
                    <a:pt x="3544" y="15418"/>
                    <a:pt x="3544" y="15418"/>
                  </a:cubicBezTo>
                  <a:cubicBezTo>
                    <a:pt x="3538" y="15422"/>
                    <a:pt x="3538" y="15422"/>
                    <a:pt x="3538" y="15422"/>
                  </a:cubicBezTo>
                  <a:lnTo>
                    <a:pt x="3507" y="15369"/>
                  </a:lnTo>
                  <a:close/>
                  <a:moveTo>
                    <a:pt x="3547" y="15452"/>
                  </a:moveTo>
                  <a:cubicBezTo>
                    <a:pt x="3548" y="15451"/>
                    <a:pt x="3548" y="15451"/>
                    <a:pt x="3548" y="15451"/>
                  </a:cubicBezTo>
                  <a:cubicBezTo>
                    <a:pt x="3579" y="15504"/>
                    <a:pt x="3579" y="15504"/>
                    <a:pt x="3579" y="15504"/>
                  </a:cubicBezTo>
                  <a:cubicBezTo>
                    <a:pt x="3578" y="15504"/>
                    <a:pt x="3578" y="15504"/>
                    <a:pt x="3578" y="15504"/>
                  </a:cubicBezTo>
                  <a:lnTo>
                    <a:pt x="3547" y="15452"/>
                  </a:lnTo>
                  <a:close/>
                  <a:moveTo>
                    <a:pt x="3226" y="14681"/>
                  </a:moveTo>
                  <a:cubicBezTo>
                    <a:pt x="3194" y="14679"/>
                    <a:pt x="3158" y="14676"/>
                    <a:pt x="3122" y="14673"/>
                  </a:cubicBezTo>
                  <a:cubicBezTo>
                    <a:pt x="3132" y="14606"/>
                    <a:pt x="3210" y="14036"/>
                    <a:pt x="3219" y="13942"/>
                  </a:cubicBezTo>
                  <a:cubicBezTo>
                    <a:pt x="3324" y="13980"/>
                    <a:pt x="3324" y="13980"/>
                    <a:pt x="3324" y="13980"/>
                  </a:cubicBezTo>
                  <a:cubicBezTo>
                    <a:pt x="3323" y="13988"/>
                    <a:pt x="3320" y="14005"/>
                    <a:pt x="3317" y="14029"/>
                  </a:cubicBezTo>
                  <a:cubicBezTo>
                    <a:pt x="3268" y="14023"/>
                    <a:pt x="3268" y="14023"/>
                    <a:pt x="3268" y="14023"/>
                  </a:cubicBezTo>
                  <a:cubicBezTo>
                    <a:pt x="3262" y="14065"/>
                    <a:pt x="3262" y="14065"/>
                    <a:pt x="3262" y="14065"/>
                  </a:cubicBezTo>
                  <a:cubicBezTo>
                    <a:pt x="3216" y="14059"/>
                    <a:pt x="3216" y="14059"/>
                    <a:pt x="3216" y="14059"/>
                  </a:cubicBezTo>
                  <a:cubicBezTo>
                    <a:pt x="3205" y="14138"/>
                    <a:pt x="3205" y="14138"/>
                    <a:pt x="3205" y="14138"/>
                  </a:cubicBezTo>
                  <a:cubicBezTo>
                    <a:pt x="3204" y="14144"/>
                    <a:pt x="3204" y="14144"/>
                    <a:pt x="3204" y="14144"/>
                  </a:cubicBezTo>
                  <a:cubicBezTo>
                    <a:pt x="3298" y="14157"/>
                    <a:pt x="3298" y="14157"/>
                    <a:pt x="3298" y="14157"/>
                  </a:cubicBezTo>
                  <a:cubicBezTo>
                    <a:pt x="3269" y="14355"/>
                    <a:pt x="3228" y="14646"/>
                    <a:pt x="3226" y="14681"/>
                  </a:cubicBezTo>
                  <a:close/>
                  <a:moveTo>
                    <a:pt x="3237" y="14679"/>
                  </a:moveTo>
                  <a:cubicBezTo>
                    <a:pt x="3235" y="14682"/>
                    <a:pt x="3235" y="14682"/>
                    <a:pt x="3235" y="14682"/>
                  </a:cubicBezTo>
                  <a:cubicBezTo>
                    <a:pt x="3235" y="14682"/>
                    <a:pt x="3235" y="14682"/>
                    <a:pt x="3235" y="14682"/>
                  </a:cubicBezTo>
                  <a:lnTo>
                    <a:pt x="3237" y="14679"/>
                  </a:lnTo>
                  <a:close/>
                  <a:moveTo>
                    <a:pt x="2927" y="14133"/>
                  </a:moveTo>
                  <a:cubicBezTo>
                    <a:pt x="2865" y="14653"/>
                    <a:pt x="2865" y="14653"/>
                    <a:pt x="2865" y="14653"/>
                  </a:cubicBezTo>
                  <a:cubicBezTo>
                    <a:pt x="2859" y="14652"/>
                    <a:pt x="2855" y="14652"/>
                    <a:pt x="2854" y="14652"/>
                  </a:cubicBezTo>
                  <a:cubicBezTo>
                    <a:pt x="2704" y="14599"/>
                    <a:pt x="2704" y="14599"/>
                    <a:pt x="2704" y="14599"/>
                  </a:cubicBezTo>
                  <a:cubicBezTo>
                    <a:pt x="2422" y="14408"/>
                    <a:pt x="2422" y="14408"/>
                    <a:pt x="2422" y="14408"/>
                  </a:cubicBezTo>
                  <a:cubicBezTo>
                    <a:pt x="2488" y="14343"/>
                    <a:pt x="2488" y="14343"/>
                    <a:pt x="2488" y="14343"/>
                  </a:cubicBezTo>
                  <a:cubicBezTo>
                    <a:pt x="2648" y="14441"/>
                    <a:pt x="2648" y="14441"/>
                    <a:pt x="2648" y="14441"/>
                  </a:cubicBezTo>
                  <a:cubicBezTo>
                    <a:pt x="2654" y="14445"/>
                    <a:pt x="2654" y="14445"/>
                    <a:pt x="2654" y="14445"/>
                  </a:cubicBezTo>
                  <a:cubicBezTo>
                    <a:pt x="2736" y="14309"/>
                    <a:pt x="2736" y="14309"/>
                    <a:pt x="2736" y="14309"/>
                  </a:cubicBezTo>
                  <a:cubicBezTo>
                    <a:pt x="2604" y="14228"/>
                    <a:pt x="2604" y="14228"/>
                    <a:pt x="2604" y="14228"/>
                  </a:cubicBezTo>
                  <a:cubicBezTo>
                    <a:pt x="2982" y="13856"/>
                    <a:pt x="2982" y="13856"/>
                    <a:pt x="2982" y="13856"/>
                  </a:cubicBezTo>
                  <a:cubicBezTo>
                    <a:pt x="3093" y="13896"/>
                    <a:pt x="3093" y="13896"/>
                    <a:pt x="3093" y="13896"/>
                  </a:cubicBezTo>
                  <a:cubicBezTo>
                    <a:pt x="3087" y="13941"/>
                    <a:pt x="3087" y="13941"/>
                    <a:pt x="3087" y="13941"/>
                  </a:cubicBezTo>
                  <a:cubicBezTo>
                    <a:pt x="3027" y="13933"/>
                    <a:pt x="3027" y="13933"/>
                    <a:pt x="3027" y="13933"/>
                  </a:cubicBezTo>
                  <a:cubicBezTo>
                    <a:pt x="3021" y="13976"/>
                    <a:pt x="3021" y="13976"/>
                    <a:pt x="3021" y="13976"/>
                  </a:cubicBezTo>
                  <a:cubicBezTo>
                    <a:pt x="2974" y="13969"/>
                    <a:pt x="2974" y="13969"/>
                    <a:pt x="2974" y="13969"/>
                  </a:cubicBezTo>
                  <a:cubicBezTo>
                    <a:pt x="2963" y="14048"/>
                    <a:pt x="2963" y="14048"/>
                    <a:pt x="2963" y="14048"/>
                  </a:cubicBezTo>
                  <a:cubicBezTo>
                    <a:pt x="2963" y="14055"/>
                    <a:pt x="2963" y="14055"/>
                    <a:pt x="2963" y="14055"/>
                  </a:cubicBezTo>
                  <a:cubicBezTo>
                    <a:pt x="3069" y="14070"/>
                    <a:pt x="3069" y="14070"/>
                    <a:pt x="3069" y="14070"/>
                  </a:cubicBezTo>
                  <a:cubicBezTo>
                    <a:pt x="2989" y="14663"/>
                    <a:pt x="2989" y="14663"/>
                    <a:pt x="2989" y="14663"/>
                  </a:cubicBezTo>
                  <a:cubicBezTo>
                    <a:pt x="2942" y="14659"/>
                    <a:pt x="2903" y="14656"/>
                    <a:pt x="2878" y="14654"/>
                  </a:cubicBezTo>
                  <a:cubicBezTo>
                    <a:pt x="2942" y="14126"/>
                    <a:pt x="2942" y="14126"/>
                    <a:pt x="2942" y="14126"/>
                  </a:cubicBezTo>
                  <a:cubicBezTo>
                    <a:pt x="2798" y="14038"/>
                    <a:pt x="2798" y="14038"/>
                    <a:pt x="2798" y="14038"/>
                  </a:cubicBezTo>
                  <a:cubicBezTo>
                    <a:pt x="2791" y="14050"/>
                    <a:pt x="2791" y="14050"/>
                    <a:pt x="2791" y="14050"/>
                  </a:cubicBezTo>
                  <a:lnTo>
                    <a:pt x="2927" y="14133"/>
                  </a:lnTo>
                  <a:close/>
                  <a:moveTo>
                    <a:pt x="1968" y="14132"/>
                  </a:moveTo>
                  <a:cubicBezTo>
                    <a:pt x="1747" y="13997"/>
                    <a:pt x="1747" y="13997"/>
                    <a:pt x="1747" y="13997"/>
                  </a:cubicBezTo>
                  <a:cubicBezTo>
                    <a:pt x="1747" y="13997"/>
                    <a:pt x="1747" y="13997"/>
                    <a:pt x="1747" y="13997"/>
                  </a:cubicBezTo>
                  <a:cubicBezTo>
                    <a:pt x="1751" y="13993"/>
                    <a:pt x="1755" y="13988"/>
                    <a:pt x="1762" y="13982"/>
                  </a:cubicBezTo>
                  <a:cubicBezTo>
                    <a:pt x="1774" y="13969"/>
                    <a:pt x="1791" y="13952"/>
                    <a:pt x="1813" y="13931"/>
                  </a:cubicBezTo>
                  <a:cubicBezTo>
                    <a:pt x="1813" y="13930"/>
                    <a:pt x="1814" y="13930"/>
                    <a:pt x="1814" y="13930"/>
                  </a:cubicBezTo>
                  <a:cubicBezTo>
                    <a:pt x="2033" y="14064"/>
                    <a:pt x="2033" y="14064"/>
                    <a:pt x="2033" y="14064"/>
                  </a:cubicBezTo>
                  <a:cubicBezTo>
                    <a:pt x="1966" y="14129"/>
                    <a:pt x="1966" y="14129"/>
                    <a:pt x="1966" y="14129"/>
                  </a:cubicBezTo>
                  <a:lnTo>
                    <a:pt x="1968" y="14132"/>
                  </a:lnTo>
                  <a:close/>
                  <a:moveTo>
                    <a:pt x="2167" y="10558"/>
                  </a:moveTo>
                  <a:cubicBezTo>
                    <a:pt x="2167" y="10562"/>
                    <a:pt x="2166" y="10565"/>
                    <a:pt x="2165" y="10568"/>
                  </a:cubicBezTo>
                  <a:cubicBezTo>
                    <a:pt x="2163" y="10574"/>
                    <a:pt x="2158" y="10576"/>
                    <a:pt x="2147" y="10576"/>
                  </a:cubicBezTo>
                  <a:cubicBezTo>
                    <a:pt x="2130" y="10576"/>
                    <a:pt x="2103" y="10569"/>
                    <a:pt x="2072" y="10569"/>
                  </a:cubicBezTo>
                  <a:cubicBezTo>
                    <a:pt x="2020" y="10570"/>
                    <a:pt x="2004" y="10612"/>
                    <a:pt x="1981" y="10652"/>
                  </a:cubicBezTo>
                  <a:cubicBezTo>
                    <a:pt x="1959" y="10691"/>
                    <a:pt x="1929" y="10692"/>
                    <a:pt x="1891" y="10706"/>
                  </a:cubicBezTo>
                  <a:cubicBezTo>
                    <a:pt x="1854" y="10720"/>
                    <a:pt x="1796" y="10743"/>
                    <a:pt x="1754" y="10770"/>
                  </a:cubicBezTo>
                  <a:cubicBezTo>
                    <a:pt x="1726" y="10788"/>
                    <a:pt x="1690" y="10796"/>
                    <a:pt x="1672" y="10796"/>
                  </a:cubicBezTo>
                  <a:cubicBezTo>
                    <a:pt x="1668" y="10796"/>
                    <a:pt x="1666" y="10796"/>
                    <a:pt x="1664" y="10795"/>
                  </a:cubicBezTo>
                  <a:cubicBezTo>
                    <a:pt x="1665" y="10795"/>
                    <a:pt x="1665" y="10794"/>
                    <a:pt x="1666" y="10793"/>
                  </a:cubicBezTo>
                  <a:cubicBezTo>
                    <a:pt x="1669" y="10791"/>
                    <a:pt x="1672" y="10788"/>
                    <a:pt x="1677" y="10784"/>
                  </a:cubicBezTo>
                  <a:cubicBezTo>
                    <a:pt x="1687" y="10777"/>
                    <a:pt x="1700" y="10769"/>
                    <a:pt x="1715" y="10760"/>
                  </a:cubicBezTo>
                  <a:cubicBezTo>
                    <a:pt x="1745" y="10742"/>
                    <a:pt x="1781" y="10723"/>
                    <a:pt x="1806" y="10713"/>
                  </a:cubicBezTo>
                  <a:cubicBezTo>
                    <a:pt x="1857" y="10692"/>
                    <a:pt x="1917" y="10650"/>
                    <a:pt x="1978" y="10582"/>
                  </a:cubicBezTo>
                  <a:cubicBezTo>
                    <a:pt x="2028" y="10525"/>
                    <a:pt x="2079" y="10501"/>
                    <a:pt x="2108" y="10501"/>
                  </a:cubicBezTo>
                  <a:cubicBezTo>
                    <a:pt x="2114" y="10501"/>
                    <a:pt x="2118" y="10502"/>
                    <a:pt x="2122" y="10504"/>
                  </a:cubicBezTo>
                  <a:cubicBezTo>
                    <a:pt x="2124" y="10500"/>
                    <a:pt x="2124" y="10500"/>
                    <a:pt x="2124" y="10500"/>
                  </a:cubicBezTo>
                  <a:cubicBezTo>
                    <a:pt x="2122" y="10504"/>
                    <a:pt x="2122" y="10504"/>
                    <a:pt x="2122" y="10504"/>
                  </a:cubicBezTo>
                  <a:cubicBezTo>
                    <a:pt x="2151" y="10516"/>
                    <a:pt x="2167" y="10540"/>
                    <a:pt x="2167" y="10558"/>
                  </a:cubicBezTo>
                  <a:close/>
                  <a:moveTo>
                    <a:pt x="1972" y="10576"/>
                  </a:moveTo>
                  <a:cubicBezTo>
                    <a:pt x="1912" y="10644"/>
                    <a:pt x="1852" y="10685"/>
                    <a:pt x="1802" y="10705"/>
                  </a:cubicBezTo>
                  <a:cubicBezTo>
                    <a:pt x="1764" y="10721"/>
                    <a:pt x="1702" y="10756"/>
                    <a:pt x="1672" y="10778"/>
                  </a:cubicBezTo>
                  <a:cubicBezTo>
                    <a:pt x="1663" y="10785"/>
                    <a:pt x="1657" y="10789"/>
                    <a:pt x="1655" y="10796"/>
                  </a:cubicBezTo>
                  <a:cubicBezTo>
                    <a:pt x="1655" y="10796"/>
                    <a:pt x="1655" y="10796"/>
                    <a:pt x="1655" y="10796"/>
                  </a:cubicBezTo>
                  <a:cubicBezTo>
                    <a:pt x="1655" y="10796"/>
                    <a:pt x="1655" y="10796"/>
                    <a:pt x="1655" y="10796"/>
                  </a:cubicBezTo>
                  <a:cubicBezTo>
                    <a:pt x="1655" y="10796"/>
                    <a:pt x="1655" y="10796"/>
                    <a:pt x="1655" y="10796"/>
                  </a:cubicBezTo>
                  <a:cubicBezTo>
                    <a:pt x="1655" y="10797"/>
                    <a:pt x="1655" y="10797"/>
                    <a:pt x="1655" y="10797"/>
                  </a:cubicBezTo>
                  <a:cubicBezTo>
                    <a:pt x="1658" y="10804"/>
                    <a:pt x="1664" y="10804"/>
                    <a:pt x="1672" y="10804"/>
                  </a:cubicBezTo>
                  <a:cubicBezTo>
                    <a:pt x="1692" y="10804"/>
                    <a:pt x="1728" y="10796"/>
                    <a:pt x="1758" y="10777"/>
                  </a:cubicBezTo>
                  <a:cubicBezTo>
                    <a:pt x="1799" y="10751"/>
                    <a:pt x="1858" y="10728"/>
                    <a:pt x="1894" y="10714"/>
                  </a:cubicBezTo>
                  <a:cubicBezTo>
                    <a:pt x="1930" y="10701"/>
                    <a:pt x="1964" y="10699"/>
                    <a:pt x="1988" y="10656"/>
                  </a:cubicBezTo>
                  <a:cubicBezTo>
                    <a:pt x="2012" y="10614"/>
                    <a:pt x="2026" y="10578"/>
                    <a:pt x="2072" y="10578"/>
                  </a:cubicBezTo>
                  <a:cubicBezTo>
                    <a:pt x="2102" y="10578"/>
                    <a:pt x="2128" y="10584"/>
                    <a:pt x="2147" y="10584"/>
                  </a:cubicBezTo>
                  <a:cubicBezTo>
                    <a:pt x="2158" y="10585"/>
                    <a:pt x="2169" y="10581"/>
                    <a:pt x="2173" y="10571"/>
                  </a:cubicBezTo>
                  <a:cubicBezTo>
                    <a:pt x="2174" y="10567"/>
                    <a:pt x="2175" y="10563"/>
                    <a:pt x="2175" y="10558"/>
                  </a:cubicBezTo>
                  <a:cubicBezTo>
                    <a:pt x="2175" y="10535"/>
                    <a:pt x="2156" y="10509"/>
                    <a:pt x="2125" y="10496"/>
                  </a:cubicBezTo>
                  <a:cubicBezTo>
                    <a:pt x="2125" y="10496"/>
                    <a:pt x="2123" y="10496"/>
                    <a:pt x="2122" y="10495"/>
                  </a:cubicBezTo>
                  <a:cubicBezTo>
                    <a:pt x="2142" y="10497"/>
                    <a:pt x="2163" y="10503"/>
                    <a:pt x="2184" y="10516"/>
                  </a:cubicBezTo>
                  <a:cubicBezTo>
                    <a:pt x="2189" y="10547"/>
                    <a:pt x="2199" y="10572"/>
                    <a:pt x="2213" y="10590"/>
                  </a:cubicBezTo>
                  <a:cubicBezTo>
                    <a:pt x="2186" y="10725"/>
                    <a:pt x="2186" y="10725"/>
                    <a:pt x="2186" y="10725"/>
                  </a:cubicBezTo>
                  <a:cubicBezTo>
                    <a:pt x="2187" y="10725"/>
                    <a:pt x="2187" y="10725"/>
                    <a:pt x="2187" y="10725"/>
                  </a:cubicBezTo>
                  <a:cubicBezTo>
                    <a:pt x="2094" y="10726"/>
                    <a:pt x="2020" y="10732"/>
                    <a:pt x="1960" y="10745"/>
                  </a:cubicBezTo>
                  <a:cubicBezTo>
                    <a:pt x="1851" y="10770"/>
                    <a:pt x="1617" y="10865"/>
                    <a:pt x="1533" y="10901"/>
                  </a:cubicBezTo>
                  <a:cubicBezTo>
                    <a:pt x="1521" y="10907"/>
                    <a:pt x="1507" y="10913"/>
                    <a:pt x="1494" y="10920"/>
                  </a:cubicBezTo>
                  <a:cubicBezTo>
                    <a:pt x="1476" y="10901"/>
                    <a:pt x="1441" y="10862"/>
                    <a:pt x="1403" y="10821"/>
                  </a:cubicBezTo>
                  <a:cubicBezTo>
                    <a:pt x="1436" y="10806"/>
                    <a:pt x="1464" y="10792"/>
                    <a:pt x="1480" y="10783"/>
                  </a:cubicBezTo>
                  <a:cubicBezTo>
                    <a:pt x="1504" y="10769"/>
                    <a:pt x="1562" y="10758"/>
                    <a:pt x="1620" y="10750"/>
                  </a:cubicBezTo>
                  <a:cubicBezTo>
                    <a:pt x="1677" y="10740"/>
                    <a:pt x="1733" y="10733"/>
                    <a:pt x="1761" y="10721"/>
                  </a:cubicBezTo>
                  <a:cubicBezTo>
                    <a:pt x="1812" y="10697"/>
                    <a:pt x="1893" y="10635"/>
                    <a:pt x="1937" y="10590"/>
                  </a:cubicBezTo>
                  <a:cubicBezTo>
                    <a:pt x="1963" y="10563"/>
                    <a:pt x="2016" y="10514"/>
                    <a:pt x="2076" y="10499"/>
                  </a:cubicBezTo>
                  <a:cubicBezTo>
                    <a:pt x="2046" y="10510"/>
                    <a:pt x="2008" y="10535"/>
                    <a:pt x="1972" y="10576"/>
                  </a:cubicBezTo>
                  <a:close/>
                  <a:moveTo>
                    <a:pt x="2717" y="10670"/>
                  </a:moveTo>
                  <a:cubicBezTo>
                    <a:pt x="2750" y="10732"/>
                    <a:pt x="2750" y="10732"/>
                    <a:pt x="2750" y="10732"/>
                  </a:cubicBezTo>
                  <a:cubicBezTo>
                    <a:pt x="2828" y="10745"/>
                    <a:pt x="2828" y="10745"/>
                    <a:pt x="2828" y="10745"/>
                  </a:cubicBezTo>
                  <a:cubicBezTo>
                    <a:pt x="2785" y="10565"/>
                    <a:pt x="2785" y="10565"/>
                    <a:pt x="2785" y="10565"/>
                  </a:cubicBezTo>
                  <a:cubicBezTo>
                    <a:pt x="2783" y="10559"/>
                    <a:pt x="2783" y="10559"/>
                    <a:pt x="2783" y="10559"/>
                  </a:cubicBezTo>
                  <a:cubicBezTo>
                    <a:pt x="2622" y="10560"/>
                    <a:pt x="2622" y="10560"/>
                    <a:pt x="2622" y="10560"/>
                  </a:cubicBezTo>
                  <a:cubicBezTo>
                    <a:pt x="2812" y="10510"/>
                    <a:pt x="2812" y="10510"/>
                    <a:pt x="2812" y="10510"/>
                  </a:cubicBezTo>
                  <a:cubicBezTo>
                    <a:pt x="2871" y="10791"/>
                    <a:pt x="2871" y="10791"/>
                    <a:pt x="2871" y="10791"/>
                  </a:cubicBezTo>
                  <a:cubicBezTo>
                    <a:pt x="2840" y="10784"/>
                    <a:pt x="2736" y="10760"/>
                    <a:pt x="2593" y="10744"/>
                  </a:cubicBezTo>
                  <a:cubicBezTo>
                    <a:pt x="2591" y="10726"/>
                    <a:pt x="2584" y="10686"/>
                    <a:pt x="2542" y="10663"/>
                  </a:cubicBezTo>
                  <a:cubicBezTo>
                    <a:pt x="2489" y="10635"/>
                    <a:pt x="2371" y="10628"/>
                    <a:pt x="2339" y="10624"/>
                  </a:cubicBezTo>
                  <a:cubicBezTo>
                    <a:pt x="2321" y="10622"/>
                    <a:pt x="2286" y="10621"/>
                    <a:pt x="2257" y="10600"/>
                  </a:cubicBezTo>
                  <a:cubicBezTo>
                    <a:pt x="2266" y="10552"/>
                    <a:pt x="2266" y="10552"/>
                    <a:pt x="2266" y="10552"/>
                  </a:cubicBezTo>
                  <a:cubicBezTo>
                    <a:pt x="2495" y="10593"/>
                    <a:pt x="2495" y="10593"/>
                    <a:pt x="2495" y="10593"/>
                  </a:cubicBezTo>
                  <a:cubicBezTo>
                    <a:pt x="2561" y="10576"/>
                    <a:pt x="2561" y="10576"/>
                    <a:pt x="2561" y="10576"/>
                  </a:cubicBezTo>
                  <a:lnTo>
                    <a:pt x="2717" y="10670"/>
                  </a:lnTo>
                  <a:close/>
                  <a:moveTo>
                    <a:pt x="2588" y="10575"/>
                  </a:moveTo>
                  <a:cubicBezTo>
                    <a:pt x="2772" y="10574"/>
                    <a:pt x="2772" y="10574"/>
                    <a:pt x="2772" y="10574"/>
                  </a:cubicBezTo>
                  <a:cubicBezTo>
                    <a:pt x="2809" y="10727"/>
                    <a:pt x="2809" y="10727"/>
                    <a:pt x="2809" y="10727"/>
                  </a:cubicBezTo>
                  <a:cubicBezTo>
                    <a:pt x="2759" y="10719"/>
                    <a:pt x="2759" y="10719"/>
                    <a:pt x="2759" y="10719"/>
                  </a:cubicBezTo>
                  <a:cubicBezTo>
                    <a:pt x="2728" y="10659"/>
                    <a:pt x="2728" y="10659"/>
                    <a:pt x="2728" y="10659"/>
                  </a:cubicBezTo>
                  <a:lnTo>
                    <a:pt x="2588" y="10575"/>
                  </a:lnTo>
                  <a:close/>
                  <a:moveTo>
                    <a:pt x="3559" y="10128"/>
                  </a:moveTo>
                  <a:cubicBezTo>
                    <a:pt x="3555" y="10133"/>
                    <a:pt x="3555" y="10133"/>
                    <a:pt x="3555" y="10133"/>
                  </a:cubicBezTo>
                  <a:cubicBezTo>
                    <a:pt x="3555" y="10131"/>
                    <a:pt x="3555" y="10131"/>
                    <a:pt x="3555" y="10131"/>
                  </a:cubicBezTo>
                  <a:cubicBezTo>
                    <a:pt x="3559" y="10127"/>
                    <a:pt x="3559" y="10127"/>
                    <a:pt x="3559" y="10127"/>
                  </a:cubicBezTo>
                  <a:cubicBezTo>
                    <a:pt x="3559" y="10127"/>
                    <a:pt x="3559" y="10127"/>
                    <a:pt x="3559" y="10127"/>
                  </a:cubicBezTo>
                  <a:cubicBezTo>
                    <a:pt x="3557" y="10129"/>
                    <a:pt x="3557" y="10129"/>
                    <a:pt x="3557" y="10129"/>
                  </a:cubicBezTo>
                  <a:lnTo>
                    <a:pt x="3559" y="10128"/>
                  </a:lnTo>
                  <a:close/>
                  <a:moveTo>
                    <a:pt x="3560" y="10150"/>
                  </a:moveTo>
                  <a:cubicBezTo>
                    <a:pt x="3562" y="10149"/>
                    <a:pt x="3562" y="10149"/>
                    <a:pt x="3562" y="10149"/>
                  </a:cubicBezTo>
                  <a:cubicBezTo>
                    <a:pt x="3706" y="9914"/>
                    <a:pt x="3706" y="9914"/>
                    <a:pt x="3706" y="9914"/>
                  </a:cubicBezTo>
                  <a:cubicBezTo>
                    <a:pt x="3706" y="9914"/>
                    <a:pt x="3707" y="9914"/>
                    <a:pt x="3708" y="9913"/>
                  </a:cubicBezTo>
                  <a:cubicBezTo>
                    <a:pt x="3808" y="10195"/>
                    <a:pt x="3808" y="10195"/>
                    <a:pt x="3808" y="10195"/>
                  </a:cubicBezTo>
                  <a:cubicBezTo>
                    <a:pt x="4047" y="10350"/>
                    <a:pt x="4047" y="10350"/>
                    <a:pt x="4047" y="10350"/>
                  </a:cubicBezTo>
                  <a:cubicBezTo>
                    <a:pt x="3838" y="10412"/>
                    <a:pt x="3641" y="10473"/>
                    <a:pt x="3487" y="10523"/>
                  </a:cubicBezTo>
                  <a:cubicBezTo>
                    <a:pt x="3288" y="10260"/>
                    <a:pt x="3288" y="10260"/>
                    <a:pt x="3288" y="10260"/>
                  </a:cubicBezTo>
                  <a:cubicBezTo>
                    <a:pt x="3277" y="10268"/>
                    <a:pt x="3277" y="10268"/>
                    <a:pt x="3277" y="10268"/>
                  </a:cubicBezTo>
                  <a:cubicBezTo>
                    <a:pt x="3473" y="10528"/>
                    <a:pt x="3473" y="10528"/>
                    <a:pt x="3473" y="10528"/>
                  </a:cubicBezTo>
                  <a:cubicBezTo>
                    <a:pt x="3334" y="10572"/>
                    <a:pt x="3232" y="10607"/>
                    <a:pt x="3191" y="10622"/>
                  </a:cubicBezTo>
                  <a:cubicBezTo>
                    <a:pt x="3181" y="10626"/>
                    <a:pt x="3175" y="10627"/>
                    <a:pt x="3169" y="10630"/>
                  </a:cubicBezTo>
                  <a:cubicBezTo>
                    <a:pt x="3168" y="10632"/>
                    <a:pt x="3167" y="10631"/>
                    <a:pt x="3162" y="10635"/>
                  </a:cubicBezTo>
                  <a:cubicBezTo>
                    <a:pt x="3158" y="10637"/>
                    <a:pt x="3149" y="10640"/>
                    <a:pt x="3139" y="10644"/>
                  </a:cubicBezTo>
                  <a:cubicBezTo>
                    <a:pt x="3119" y="10651"/>
                    <a:pt x="3090" y="10663"/>
                    <a:pt x="3057" y="10677"/>
                  </a:cubicBezTo>
                  <a:cubicBezTo>
                    <a:pt x="3000" y="10702"/>
                    <a:pt x="2943" y="10738"/>
                    <a:pt x="2887" y="10786"/>
                  </a:cubicBezTo>
                  <a:cubicBezTo>
                    <a:pt x="2827" y="10500"/>
                    <a:pt x="2827" y="10500"/>
                    <a:pt x="2827" y="10500"/>
                  </a:cubicBezTo>
                  <a:cubicBezTo>
                    <a:pt x="2851" y="10486"/>
                    <a:pt x="2915" y="10449"/>
                    <a:pt x="2981" y="10411"/>
                  </a:cubicBezTo>
                  <a:cubicBezTo>
                    <a:pt x="3063" y="10363"/>
                    <a:pt x="3149" y="10314"/>
                    <a:pt x="3155" y="10312"/>
                  </a:cubicBezTo>
                  <a:cubicBezTo>
                    <a:pt x="3158" y="10311"/>
                    <a:pt x="3158" y="10311"/>
                    <a:pt x="3161" y="10310"/>
                  </a:cubicBezTo>
                  <a:cubicBezTo>
                    <a:pt x="3165" y="10309"/>
                    <a:pt x="3169" y="10307"/>
                    <a:pt x="3175" y="10305"/>
                  </a:cubicBezTo>
                  <a:cubicBezTo>
                    <a:pt x="3187" y="10300"/>
                    <a:pt x="3203" y="10294"/>
                    <a:pt x="3222" y="10286"/>
                  </a:cubicBezTo>
                  <a:cubicBezTo>
                    <a:pt x="3260" y="10271"/>
                    <a:pt x="3310" y="10251"/>
                    <a:pt x="3360" y="10231"/>
                  </a:cubicBezTo>
                  <a:cubicBezTo>
                    <a:pt x="3460" y="10190"/>
                    <a:pt x="3560" y="10150"/>
                    <a:pt x="3560" y="10150"/>
                  </a:cubicBezTo>
                  <a:close/>
                  <a:moveTo>
                    <a:pt x="4618" y="9257"/>
                  </a:moveTo>
                  <a:cubicBezTo>
                    <a:pt x="4640" y="9684"/>
                    <a:pt x="4640" y="9684"/>
                    <a:pt x="4640" y="9684"/>
                  </a:cubicBezTo>
                  <a:cubicBezTo>
                    <a:pt x="4541" y="9686"/>
                    <a:pt x="4455" y="9688"/>
                    <a:pt x="4399" y="9689"/>
                  </a:cubicBezTo>
                  <a:cubicBezTo>
                    <a:pt x="4214" y="9285"/>
                    <a:pt x="4214" y="9285"/>
                    <a:pt x="4214" y="9285"/>
                  </a:cubicBezTo>
                  <a:cubicBezTo>
                    <a:pt x="4296" y="9281"/>
                    <a:pt x="4456" y="9271"/>
                    <a:pt x="4618" y="9257"/>
                  </a:cubicBezTo>
                  <a:close/>
                  <a:moveTo>
                    <a:pt x="4194" y="9241"/>
                  </a:moveTo>
                  <a:cubicBezTo>
                    <a:pt x="4083" y="8973"/>
                    <a:pt x="4083" y="8973"/>
                    <a:pt x="4083" y="8973"/>
                  </a:cubicBezTo>
                  <a:cubicBezTo>
                    <a:pt x="4481" y="8702"/>
                    <a:pt x="4481" y="8702"/>
                    <a:pt x="4481" y="8702"/>
                  </a:cubicBezTo>
                  <a:cubicBezTo>
                    <a:pt x="4472" y="9223"/>
                    <a:pt x="4472" y="9223"/>
                    <a:pt x="4472" y="9223"/>
                  </a:cubicBezTo>
                  <a:cubicBezTo>
                    <a:pt x="4352" y="9232"/>
                    <a:pt x="4247" y="9238"/>
                    <a:pt x="4194" y="9241"/>
                  </a:cubicBezTo>
                  <a:close/>
                  <a:moveTo>
                    <a:pt x="4658" y="8296"/>
                  </a:moveTo>
                  <a:cubicBezTo>
                    <a:pt x="4656" y="8444"/>
                    <a:pt x="4656" y="8444"/>
                    <a:pt x="4656" y="8444"/>
                  </a:cubicBezTo>
                  <a:cubicBezTo>
                    <a:pt x="4754" y="8445"/>
                    <a:pt x="4754" y="8445"/>
                    <a:pt x="4754" y="8445"/>
                  </a:cubicBezTo>
                  <a:cubicBezTo>
                    <a:pt x="4761" y="8445"/>
                    <a:pt x="4761" y="8445"/>
                    <a:pt x="4761" y="8445"/>
                  </a:cubicBezTo>
                  <a:cubicBezTo>
                    <a:pt x="4762" y="8328"/>
                    <a:pt x="4762" y="8328"/>
                    <a:pt x="4762" y="8328"/>
                  </a:cubicBezTo>
                  <a:cubicBezTo>
                    <a:pt x="4822" y="8669"/>
                    <a:pt x="4822" y="8669"/>
                    <a:pt x="4822" y="8669"/>
                  </a:cubicBezTo>
                  <a:cubicBezTo>
                    <a:pt x="4817" y="8668"/>
                    <a:pt x="4812" y="8668"/>
                    <a:pt x="4807" y="8667"/>
                  </a:cubicBezTo>
                  <a:cubicBezTo>
                    <a:pt x="4706" y="8647"/>
                    <a:pt x="4607" y="8628"/>
                    <a:pt x="4583" y="8623"/>
                  </a:cubicBezTo>
                  <a:cubicBezTo>
                    <a:pt x="4583" y="8585"/>
                    <a:pt x="4587" y="8360"/>
                    <a:pt x="4588" y="8292"/>
                  </a:cubicBezTo>
                  <a:cubicBezTo>
                    <a:pt x="4644" y="8289"/>
                    <a:pt x="4700" y="8287"/>
                    <a:pt x="4754" y="8285"/>
                  </a:cubicBezTo>
                  <a:cubicBezTo>
                    <a:pt x="4756" y="8297"/>
                    <a:pt x="4756" y="8297"/>
                    <a:pt x="4756" y="8297"/>
                  </a:cubicBezTo>
                  <a:lnTo>
                    <a:pt x="4658" y="8296"/>
                  </a:lnTo>
                  <a:close/>
                  <a:moveTo>
                    <a:pt x="4749" y="8310"/>
                  </a:moveTo>
                  <a:cubicBezTo>
                    <a:pt x="4748" y="8432"/>
                    <a:pt x="4748" y="8432"/>
                    <a:pt x="4748" y="8432"/>
                  </a:cubicBezTo>
                  <a:cubicBezTo>
                    <a:pt x="4669" y="8431"/>
                    <a:pt x="4669" y="8431"/>
                    <a:pt x="4669" y="8431"/>
                  </a:cubicBezTo>
                  <a:cubicBezTo>
                    <a:pt x="4670" y="8309"/>
                    <a:pt x="4670" y="8309"/>
                    <a:pt x="4670" y="8309"/>
                  </a:cubicBezTo>
                  <a:lnTo>
                    <a:pt x="4749" y="8310"/>
                  </a:lnTo>
                  <a:close/>
                  <a:moveTo>
                    <a:pt x="4453" y="7943"/>
                  </a:moveTo>
                  <a:cubicBezTo>
                    <a:pt x="4689" y="7910"/>
                    <a:pt x="4689" y="7910"/>
                    <a:pt x="4689" y="7910"/>
                  </a:cubicBezTo>
                  <a:cubicBezTo>
                    <a:pt x="4703" y="7992"/>
                    <a:pt x="4703" y="7992"/>
                    <a:pt x="4703" y="7992"/>
                  </a:cubicBezTo>
                  <a:cubicBezTo>
                    <a:pt x="4612" y="8008"/>
                    <a:pt x="4524" y="8021"/>
                    <a:pt x="4457" y="8028"/>
                  </a:cubicBezTo>
                  <a:cubicBezTo>
                    <a:pt x="4471" y="8025"/>
                    <a:pt x="4471" y="8025"/>
                    <a:pt x="4471" y="8025"/>
                  </a:cubicBezTo>
                  <a:lnTo>
                    <a:pt x="4453" y="7943"/>
                  </a:lnTo>
                  <a:close/>
                  <a:moveTo>
                    <a:pt x="3906" y="7233"/>
                  </a:moveTo>
                  <a:cubicBezTo>
                    <a:pt x="3906" y="7233"/>
                    <a:pt x="3905" y="7232"/>
                    <a:pt x="3905" y="7232"/>
                  </a:cubicBezTo>
                  <a:cubicBezTo>
                    <a:pt x="3904" y="7232"/>
                    <a:pt x="3903" y="7232"/>
                    <a:pt x="3903" y="7231"/>
                  </a:cubicBezTo>
                  <a:cubicBezTo>
                    <a:pt x="3890" y="7077"/>
                    <a:pt x="3890" y="7077"/>
                    <a:pt x="3890" y="7077"/>
                  </a:cubicBezTo>
                  <a:cubicBezTo>
                    <a:pt x="3917" y="6913"/>
                    <a:pt x="3917" y="6913"/>
                    <a:pt x="3917" y="6913"/>
                  </a:cubicBezTo>
                  <a:cubicBezTo>
                    <a:pt x="4223" y="6513"/>
                    <a:pt x="4223" y="6513"/>
                    <a:pt x="4223" y="6513"/>
                  </a:cubicBezTo>
                  <a:cubicBezTo>
                    <a:pt x="4320" y="6556"/>
                    <a:pt x="4320" y="6556"/>
                    <a:pt x="4320" y="6556"/>
                  </a:cubicBezTo>
                  <a:cubicBezTo>
                    <a:pt x="4358" y="6630"/>
                    <a:pt x="4358" y="6630"/>
                    <a:pt x="4358" y="6630"/>
                  </a:cubicBezTo>
                  <a:cubicBezTo>
                    <a:pt x="4182" y="6998"/>
                    <a:pt x="4182" y="6998"/>
                    <a:pt x="4182" y="6998"/>
                  </a:cubicBezTo>
                  <a:cubicBezTo>
                    <a:pt x="4247" y="7099"/>
                    <a:pt x="4247" y="7099"/>
                    <a:pt x="4247" y="7099"/>
                  </a:cubicBezTo>
                  <a:cubicBezTo>
                    <a:pt x="4246" y="7107"/>
                    <a:pt x="4246" y="7107"/>
                    <a:pt x="4246" y="7107"/>
                  </a:cubicBezTo>
                  <a:cubicBezTo>
                    <a:pt x="4251" y="7107"/>
                    <a:pt x="4251" y="7107"/>
                    <a:pt x="4251" y="7107"/>
                  </a:cubicBezTo>
                  <a:cubicBezTo>
                    <a:pt x="4170" y="7347"/>
                    <a:pt x="4170" y="7347"/>
                    <a:pt x="4170" y="7347"/>
                  </a:cubicBezTo>
                  <a:cubicBezTo>
                    <a:pt x="4159" y="7355"/>
                    <a:pt x="4105" y="7391"/>
                    <a:pt x="4087" y="7403"/>
                  </a:cubicBezTo>
                  <a:cubicBezTo>
                    <a:pt x="4009" y="7330"/>
                    <a:pt x="3917" y="7244"/>
                    <a:pt x="3906" y="7233"/>
                  </a:cubicBezTo>
                  <a:close/>
                  <a:moveTo>
                    <a:pt x="3907" y="7239"/>
                  </a:moveTo>
                  <a:cubicBezTo>
                    <a:pt x="3907" y="7239"/>
                    <a:pt x="3907" y="7239"/>
                    <a:pt x="3907" y="7239"/>
                  </a:cubicBezTo>
                  <a:cubicBezTo>
                    <a:pt x="3907" y="7239"/>
                    <a:pt x="3907" y="7239"/>
                    <a:pt x="3907" y="7239"/>
                  </a:cubicBezTo>
                  <a:cubicBezTo>
                    <a:pt x="3907" y="7239"/>
                    <a:pt x="3907" y="7239"/>
                    <a:pt x="3907" y="7239"/>
                  </a:cubicBezTo>
                  <a:close/>
                  <a:moveTo>
                    <a:pt x="3904" y="7245"/>
                  </a:moveTo>
                  <a:cubicBezTo>
                    <a:pt x="3904" y="7245"/>
                    <a:pt x="3904" y="7245"/>
                    <a:pt x="3904" y="7245"/>
                  </a:cubicBezTo>
                  <a:cubicBezTo>
                    <a:pt x="3903" y="7245"/>
                    <a:pt x="3903" y="7245"/>
                    <a:pt x="3903" y="7245"/>
                  </a:cubicBezTo>
                  <a:cubicBezTo>
                    <a:pt x="3903" y="7245"/>
                    <a:pt x="3903" y="7245"/>
                    <a:pt x="3903" y="7245"/>
                  </a:cubicBezTo>
                  <a:cubicBezTo>
                    <a:pt x="3903" y="7245"/>
                    <a:pt x="3904" y="7245"/>
                    <a:pt x="3904" y="7245"/>
                  </a:cubicBezTo>
                  <a:close/>
                  <a:moveTo>
                    <a:pt x="3886" y="7229"/>
                  </a:moveTo>
                  <a:cubicBezTo>
                    <a:pt x="3874" y="7227"/>
                    <a:pt x="3858" y="7224"/>
                    <a:pt x="3858" y="7224"/>
                  </a:cubicBezTo>
                  <a:cubicBezTo>
                    <a:pt x="3855" y="7224"/>
                    <a:pt x="3855" y="7224"/>
                    <a:pt x="3855" y="7224"/>
                  </a:cubicBezTo>
                  <a:cubicBezTo>
                    <a:pt x="3700" y="7349"/>
                    <a:pt x="3700" y="7349"/>
                    <a:pt x="3700" y="7349"/>
                  </a:cubicBezTo>
                  <a:cubicBezTo>
                    <a:pt x="3692" y="7340"/>
                    <a:pt x="3560" y="7185"/>
                    <a:pt x="3442" y="7096"/>
                  </a:cubicBezTo>
                  <a:cubicBezTo>
                    <a:pt x="3536" y="6810"/>
                    <a:pt x="3536" y="6810"/>
                    <a:pt x="3536" y="6810"/>
                  </a:cubicBezTo>
                  <a:cubicBezTo>
                    <a:pt x="3536" y="6810"/>
                    <a:pt x="3536" y="6810"/>
                    <a:pt x="3537" y="6810"/>
                  </a:cubicBezTo>
                  <a:cubicBezTo>
                    <a:pt x="3541" y="6811"/>
                    <a:pt x="3548" y="6813"/>
                    <a:pt x="3555" y="6814"/>
                  </a:cubicBezTo>
                  <a:cubicBezTo>
                    <a:pt x="3571" y="6817"/>
                    <a:pt x="3592" y="6821"/>
                    <a:pt x="3613" y="6825"/>
                  </a:cubicBezTo>
                  <a:cubicBezTo>
                    <a:pt x="3648" y="6832"/>
                    <a:pt x="3682" y="6839"/>
                    <a:pt x="3696" y="6841"/>
                  </a:cubicBezTo>
                  <a:cubicBezTo>
                    <a:pt x="3696" y="6841"/>
                    <a:pt x="3696" y="6841"/>
                    <a:pt x="3696" y="6842"/>
                  </a:cubicBezTo>
                  <a:cubicBezTo>
                    <a:pt x="3697" y="6845"/>
                    <a:pt x="3698" y="6851"/>
                    <a:pt x="3699" y="6856"/>
                  </a:cubicBezTo>
                  <a:cubicBezTo>
                    <a:pt x="3700" y="6867"/>
                    <a:pt x="3701" y="6878"/>
                    <a:pt x="3701" y="6878"/>
                  </a:cubicBezTo>
                  <a:cubicBezTo>
                    <a:pt x="3702" y="6884"/>
                    <a:pt x="3702" y="6884"/>
                    <a:pt x="3702" y="6884"/>
                  </a:cubicBezTo>
                  <a:cubicBezTo>
                    <a:pt x="3899" y="6921"/>
                    <a:pt x="3899" y="6921"/>
                    <a:pt x="3899" y="6921"/>
                  </a:cubicBezTo>
                  <a:cubicBezTo>
                    <a:pt x="3874" y="7076"/>
                    <a:pt x="3874" y="7076"/>
                    <a:pt x="3874" y="7076"/>
                  </a:cubicBezTo>
                  <a:lnTo>
                    <a:pt x="3886" y="7229"/>
                  </a:lnTo>
                  <a:close/>
                  <a:moveTo>
                    <a:pt x="2511" y="7954"/>
                  </a:moveTo>
                  <a:cubicBezTo>
                    <a:pt x="2714" y="7495"/>
                    <a:pt x="2714" y="7495"/>
                    <a:pt x="2714" y="7495"/>
                  </a:cubicBezTo>
                  <a:cubicBezTo>
                    <a:pt x="2743" y="7504"/>
                    <a:pt x="2773" y="7511"/>
                    <a:pt x="2807" y="7516"/>
                  </a:cubicBezTo>
                  <a:cubicBezTo>
                    <a:pt x="2821" y="7517"/>
                    <a:pt x="2835" y="7518"/>
                    <a:pt x="2849" y="7518"/>
                  </a:cubicBezTo>
                  <a:cubicBezTo>
                    <a:pt x="2858" y="7518"/>
                    <a:pt x="2867" y="7518"/>
                    <a:pt x="2876" y="7517"/>
                  </a:cubicBezTo>
                  <a:cubicBezTo>
                    <a:pt x="2962" y="7773"/>
                    <a:pt x="2962" y="7773"/>
                    <a:pt x="2962" y="7773"/>
                  </a:cubicBezTo>
                  <a:cubicBezTo>
                    <a:pt x="2664" y="7995"/>
                    <a:pt x="2664" y="7995"/>
                    <a:pt x="2664" y="7995"/>
                  </a:cubicBezTo>
                  <a:cubicBezTo>
                    <a:pt x="2646" y="7989"/>
                    <a:pt x="2562" y="7968"/>
                    <a:pt x="2512" y="7955"/>
                  </a:cubicBezTo>
                  <a:cubicBezTo>
                    <a:pt x="2513" y="7954"/>
                    <a:pt x="2513" y="7954"/>
                    <a:pt x="2513" y="7954"/>
                  </a:cubicBezTo>
                  <a:lnTo>
                    <a:pt x="2511" y="7954"/>
                  </a:lnTo>
                  <a:close/>
                  <a:moveTo>
                    <a:pt x="1190" y="9306"/>
                  </a:moveTo>
                  <a:cubicBezTo>
                    <a:pt x="1103" y="9349"/>
                    <a:pt x="1103" y="9349"/>
                    <a:pt x="1103" y="9349"/>
                  </a:cubicBezTo>
                  <a:cubicBezTo>
                    <a:pt x="1086" y="9311"/>
                    <a:pt x="1072" y="9279"/>
                    <a:pt x="1066" y="9266"/>
                  </a:cubicBezTo>
                  <a:cubicBezTo>
                    <a:pt x="1147" y="9215"/>
                    <a:pt x="1147" y="9215"/>
                    <a:pt x="1147" y="9215"/>
                  </a:cubicBezTo>
                  <a:cubicBezTo>
                    <a:pt x="1191" y="9306"/>
                    <a:pt x="1191" y="9306"/>
                    <a:pt x="1191" y="9306"/>
                  </a:cubicBezTo>
                  <a:cubicBezTo>
                    <a:pt x="1190" y="9306"/>
                    <a:pt x="1190" y="9306"/>
                    <a:pt x="1190" y="9306"/>
                  </a:cubicBezTo>
                  <a:close/>
                  <a:moveTo>
                    <a:pt x="1161" y="9207"/>
                  </a:moveTo>
                  <a:cubicBezTo>
                    <a:pt x="1260" y="9145"/>
                    <a:pt x="1260" y="9145"/>
                    <a:pt x="1260" y="9145"/>
                  </a:cubicBezTo>
                  <a:cubicBezTo>
                    <a:pt x="1295" y="9222"/>
                    <a:pt x="1295" y="9222"/>
                    <a:pt x="1295" y="9222"/>
                  </a:cubicBezTo>
                  <a:cubicBezTo>
                    <a:pt x="1293" y="9223"/>
                    <a:pt x="1293" y="9223"/>
                    <a:pt x="1293" y="9223"/>
                  </a:cubicBezTo>
                  <a:cubicBezTo>
                    <a:pt x="1299" y="9236"/>
                    <a:pt x="1299" y="9236"/>
                    <a:pt x="1299" y="9236"/>
                  </a:cubicBezTo>
                  <a:cubicBezTo>
                    <a:pt x="1294" y="9238"/>
                    <a:pt x="1294" y="9238"/>
                    <a:pt x="1294" y="9238"/>
                  </a:cubicBezTo>
                  <a:cubicBezTo>
                    <a:pt x="1294" y="9239"/>
                    <a:pt x="1294" y="9239"/>
                    <a:pt x="1294" y="9239"/>
                  </a:cubicBezTo>
                  <a:cubicBezTo>
                    <a:pt x="1199" y="9287"/>
                    <a:pt x="1199" y="9287"/>
                    <a:pt x="1199" y="9287"/>
                  </a:cubicBezTo>
                  <a:lnTo>
                    <a:pt x="1161" y="9207"/>
                  </a:lnTo>
                  <a:close/>
                  <a:moveTo>
                    <a:pt x="2445" y="5224"/>
                  </a:moveTo>
                  <a:cubicBezTo>
                    <a:pt x="2694" y="5342"/>
                    <a:pt x="2694" y="5342"/>
                    <a:pt x="2694" y="5342"/>
                  </a:cubicBezTo>
                  <a:cubicBezTo>
                    <a:pt x="2682" y="5371"/>
                    <a:pt x="2669" y="5400"/>
                    <a:pt x="2656" y="5429"/>
                  </a:cubicBezTo>
                  <a:cubicBezTo>
                    <a:pt x="2653" y="5437"/>
                    <a:pt x="2649" y="5445"/>
                    <a:pt x="2646" y="5453"/>
                  </a:cubicBezTo>
                  <a:cubicBezTo>
                    <a:pt x="2643" y="5451"/>
                    <a:pt x="2639" y="5450"/>
                    <a:pt x="2634" y="5447"/>
                  </a:cubicBezTo>
                  <a:cubicBezTo>
                    <a:pt x="2623" y="5441"/>
                    <a:pt x="2606" y="5432"/>
                    <a:pt x="2587" y="5422"/>
                  </a:cubicBezTo>
                  <a:cubicBezTo>
                    <a:pt x="2548" y="5401"/>
                    <a:pt x="2498" y="5373"/>
                    <a:pt x="2448" y="5345"/>
                  </a:cubicBezTo>
                  <a:cubicBezTo>
                    <a:pt x="2431" y="5335"/>
                    <a:pt x="2414" y="5326"/>
                    <a:pt x="2398" y="5317"/>
                  </a:cubicBezTo>
                  <a:lnTo>
                    <a:pt x="2445" y="5224"/>
                  </a:lnTo>
                  <a:close/>
                  <a:moveTo>
                    <a:pt x="2440" y="5206"/>
                  </a:moveTo>
                  <a:cubicBezTo>
                    <a:pt x="2344" y="5160"/>
                    <a:pt x="2344" y="5160"/>
                    <a:pt x="2344" y="5160"/>
                  </a:cubicBezTo>
                  <a:cubicBezTo>
                    <a:pt x="2355" y="5138"/>
                    <a:pt x="2355" y="5138"/>
                    <a:pt x="2355" y="5138"/>
                  </a:cubicBezTo>
                  <a:cubicBezTo>
                    <a:pt x="2451" y="5185"/>
                    <a:pt x="2451" y="5185"/>
                    <a:pt x="2451" y="5185"/>
                  </a:cubicBezTo>
                  <a:lnTo>
                    <a:pt x="2440" y="5206"/>
                  </a:lnTo>
                  <a:close/>
                  <a:moveTo>
                    <a:pt x="2443" y="5024"/>
                  </a:moveTo>
                  <a:cubicBezTo>
                    <a:pt x="2468" y="4978"/>
                    <a:pt x="2468" y="4978"/>
                    <a:pt x="2468" y="4978"/>
                  </a:cubicBezTo>
                  <a:cubicBezTo>
                    <a:pt x="2564" y="5025"/>
                    <a:pt x="2564" y="5025"/>
                    <a:pt x="2564" y="5025"/>
                  </a:cubicBezTo>
                  <a:cubicBezTo>
                    <a:pt x="2541" y="5066"/>
                    <a:pt x="2541" y="5066"/>
                    <a:pt x="2541" y="5066"/>
                  </a:cubicBezTo>
                  <a:lnTo>
                    <a:pt x="2443" y="5024"/>
                  </a:lnTo>
                  <a:close/>
                  <a:moveTo>
                    <a:pt x="2534" y="5079"/>
                  </a:moveTo>
                  <a:cubicBezTo>
                    <a:pt x="2509" y="5124"/>
                    <a:pt x="2509" y="5124"/>
                    <a:pt x="2509" y="5124"/>
                  </a:cubicBezTo>
                  <a:cubicBezTo>
                    <a:pt x="2415" y="5078"/>
                    <a:pt x="2415" y="5078"/>
                    <a:pt x="2415" y="5078"/>
                  </a:cubicBezTo>
                  <a:cubicBezTo>
                    <a:pt x="2437" y="5037"/>
                    <a:pt x="2437" y="5037"/>
                    <a:pt x="2437" y="5037"/>
                  </a:cubicBezTo>
                  <a:lnTo>
                    <a:pt x="2534" y="5079"/>
                  </a:lnTo>
                  <a:close/>
                  <a:moveTo>
                    <a:pt x="2579" y="5025"/>
                  </a:moveTo>
                  <a:cubicBezTo>
                    <a:pt x="2582" y="5019"/>
                    <a:pt x="2582" y="5019"/>
                    <a:pt x="2582" y="5019"/>
                  </a:cubicBezTo>
                  <a:cubicBezTo>
                    <a:pt x="2462" y="4961"/>
                    <a:pt x="2462" y="4961"/>
                    <a:pt x="2462" y="4961"/>
                  </a:cubicBezTo>
                  <a:cubicBezTo>
                    <a:pt x="2431" y="5019"/>
                    <a:pt x="2431" y="5019"/>
                    <a:pt x="2431" y="5019"/>
                  </a:cubicBezTo>
                  <a:cubicBezTo>
                    <a:pt x="2408" y="5009"/>
                    <a:pt x="2408" y="5009"/>
                    <a:pt x="2408" y="5009"/>
                  </a:cubicBezTo>
                  <a:cubicBezTo>
                    <a:pt x="2458" y="4919"/>
                    <a:pt x="2458" y="4919"/>
                    <a:pt x="2458" y="4919"/>
                  </a:cubicBezTo>
                  <a:cubicBezTo>
                    <a:pt x="2832" y="5037"/>
                    <a:pt x="2832" y="5037"/>
                    <a:pt x="2832" y="5037"/>
                  </a:cubicBezTo>
                  <a:cubicBezTo>
                    <a:pt x="2829" y="5042"/>
                    <a:pt x="2827" y="5047"/>
                    <a:pt x="2824" y="5053"/>
                  </a:cubicBezTo>
                  <a:cubicBezTo>
                    <a:pt x="2814" y="5075"/>
                    <a:pt x="2799" y="5107"/>
                    <a:pt x="2782" y="5146"/>
                  </a:cubicBezTo>
                  <a:cubicBezTo>
                    <a:pt x="2779" y="5153"/>
                    <a:pt x="2776" y="5159"/>
                    <a:pt x="2772" y="5166"/>
                  </a:cubicBezTo>
                  <a:cubicBezTo>
                    <a:pt x="2553" y="5072"/>
                    <a:pt x="2553" y="5072"/>
                    <a:pt x="2553" y="5072"/>
                  </a:cubicBezTo>
                  <a:lnTo>
                    <a:pt x="2579" y="5025"/>
                  </a:lnTo>
                  <a:close/>
                  <a:moveTo>
                    <a:pt x="3040" y="4704"/>
                  </a:moveTo>
                  <a:cubicBezTo>
                    <a:pt x="2961" y="4759"/>
                    <a:pt x="2961" y="4759"/>
                    <a:pt x="2961" y="4759"/>
                  </a:cubicBezTo>
                  <a:cubicBezTo>
                    <a:pt x="2927" y="4710"/>
                    <a:pt x="2927" y="4710"/>
                    <a:pt x="2927" y="4710"/>
                  </a:cubicBezTo>
                  <a:cubicBezTo>
                    <a:pt x="2965" y="4683"/>
                    <a:pt x="2965" y="4683"/>
                    <a:pt x="2965" y="4683"/>
                  </a:cubicBezTo>
                  <a:cubicBezTo>
                    <a:pt x="2941" y="4648"/>
                    <a:pt x="2941" y="4648"/>
                    <a:pt x="2941" y="4648"/>
                  </a:cubicBezTo>
                  <a:cubicBezTo>
                    <a:pt x="2977" y="4623"/>
                    <a:pt x="2977" y="4623"/>
                    <a:pt x="2977" y="4623"/>
                  </a:cubicBezTo>
                  <a:lnTo>
                    <a:pt x="3040" y="4704"/>
                  </a:lnTo>
                  <a:close/>
                  <a:moveTo>
                    <a:pt x="2988" y="4615"/>
                  </a:moveTo>
                  <a:cubicBezTo>
                    <a:pt x="3015" y="4596"/>
                    <a:pt x="3015" y="4596"/>
                    <a:pt x="3015" y="4596"/>
                  </a:cubicBezTo>
                  <a:cubicBezTo>
                    <a:pt x="3040" y="4632"/>
                    <a:pt x="3040" y="4632"/>
                    <a:pt x="3040" y="4632"/>
                  </a:cubicBezTo>
                  <a:cubicBezTo>
                    <a:pt x="3078" y="4605"/>
                    <a:pt x="3078" y="4605"/>
                    <a:pt x="3078" y="4605"/>
                  </a:cubicBezTo>
                  <a:cubicBezTo>
                    <a:pt x="3113" y="4655"/>
                    <a:pt x="3113" y="4655"/>
                    <a:pt x="3113" y="4655"/>
                  </a:cubicBezTo>
                  <a:cubicBezTo>
                    <a:pt x="3052" y="4697"/>
                    <a:pt x="3052" y="4697"/>
                    <a:pt x="3052" y="4697"/>
                  </a:cubicBezTo>
                  <a:lnTo>
                    <a:pt x="2988" y="4615"/>
                  </a:lnTo>
                  <a:close/>
                  <a:moveTo>
                    <a:pt x="2923" y="4645"/>
                  </a:moveTo>
                  <a:cubicBezTo>
                    <a:pt x="2947" y="4680"/>
                    <a:pt x="2947" y="4680"/>
                    <a:pt x="2947" y="4680"/>
                  </a:cubicBezTo>
                  <a:cubicBezTo>
                    <a:pt x="2909" y="4707"/>
                    <a:pt x="2909" y="4707"/>
                    <a:pt x="2909" y="4707"/>
                  </a:cubicBezTo>
                  <a:cubicBezTo>
                    <a:pt x="2954" y="4772"/>
                    <a:pt x="2954" y="4772"/>
                    <a:pt x="2954" y="4772"/>
                  </a:cubicBezTo>
                  <a:cubicBezTo>
                    <a:pt x="2958" y="4778"/>
                    <a:pt x="2958" y="4778"/>
                    <a:pt x="2958" y="4778"/>
                  </a:cubicBezTo>
                  <a:cubicBezTo>
                    <a:pt x="3048" y="4715"/>
                    <a:pt x="3048" y="4715"/>
                    <a:pt x="3048" y="4715"/>
                  </a:cubicBezTo>
                  <a:cubicBezTo>
                    <a:pt x="3060" y="4730"/>
                    <a:pt x="3060" y="4730"/>
                    <a:pt x="3060" y="4730"/>
                  </a:cubicBezTo>
                  <a:cubicBezTo>
                    <a:pt x="2997" y="4782"/>
                    <a:pt x="2968" y="4840"/>
                    <a:pt x="2951" y="4880"/>
                  </a:cubicBezTo>
                  <a:cubicBezTo>
                    <a:pt x="2935" y="4918"/>
                    <a:pt x="2915" y="4967"/>
                    <a:pt x="2905" y="4992"/>
                  </a:cubicBezTo>
                  <a:cubicBezTo>
                    <a:pt x="2515" y="4868"/>
                    <a:pt x="2515" y="4868"/>
                    <a:pt x="2515" y="4868"/>
                  </a:cubicBezTo>
                  <a:cubicBezTo>
                    <a:pt x="2516" y="4867"/>
                    <a:pt x="2517" y="4867"/>
                    <a:pt x="2518" y="4865"/>
                  </a:cubicBezTo>
                  <a:cubicBezTo>
                    <a:pt x="2529" y="4854"/>
                    <a:pt x="2543" y="4838"/>
                    <a:pt x="2560" y="4818"/>
                  </a:cubicBezTo>
                  <a:cubicBezTo>
                    <a:pt x="2595" y="4779"/>
                    <a:pt x="2640" y="4727"/>
                    <a:pt x="2685" y="4675"/>
                  </a:cubicBezTo>
                  <a:cubicBezTo>
                    <a:pt x="2764" y="4584"/>
                    <a:pt x="2841" y="4492"/>
                    <a:pt x="2859" y="4472"/>
                  </a:cubicBezTo>
                  <a:cubicBezTo>
                    <a:pt x="2969" y="4613"/>
                    <a:pt x="2969" y="4613"/>
                    <a:pt x="2969" y="4613"/>
                  </a:cubicBezTo>
                  <a:lnTo>
                    <a:pt x="2923" y="4645"/>
                  </a:lnTo>
                  <a:close/>
                  <a:moveTo>
                    <a:pt x="3432" y="4876"/>
                  </a:moveTo>
                  <a:cubicBezTo>
                    <a:pt x="3430" y="4882"/>
                    <a:pt x="3430" y="4882"/>
                    <a:pt x="3430" y="4882"/>
                  </a:cubicBezTo>
                  <a:cubicBezTo>
                    <a:pt x="3503" y="4902"/>
                    <a:pt x="3503" y="4902"/>
                    <a:pt x="3503" y="4902"/>
                  </a:cubicBezTo>
                  <a:cubicBezTo>
                    <a:pt x="3543" y="4756"/>
                    <a:pt x="3543" y="4756"/>
                    <a:pt x="3543" y="4756"/>
                  </a:cubicBezTo>
                  <a:cubicBezTo>
                    <a:pt x="3471" y="4737"/>
                    <a:pt x="3471" y="4737"/>
                    <a:pt x="3471" y="4737"/>
                  </a:cubicBezTo>
                  <a:cubicBezTo>
                    <a:pt x="3498" y="4742"/>
                    <a:pt x="3527" y="4748"/>
                    <a:pt x="3559" y="4755"/>
                  </a:cubicBezTo>
                  <a:cubicBezTo>
                    <a:pt x="3463" y="5011"/>
                    <a:pt x="3463" y="5011"/>
                    <a:pt x="3463" y="5011"/>
                  </a:cubicBezTo>
                  <a:cubicBezTo>
                    <a:pt x="3263" y="5237"/>
                    <a:pt x="3263" y="5237"/>
                    <a:pt x="3263" y="5237"/>
                  </a:cubicBezTo>
                  <a:cubicBezTo>
                    <a:pt x="2971" y="5012"/>
                    <a:pt x="2971" y="5012"/>
                    <a:pt x="2971" y="5012"/>
                  </a:cubicBezTo>
                  <a:cubicBezTo>
                    <a:pt x="2968" y="5011"/>
                    <a:pt x="2968" y="5011"/>
                    <a:pt x="2968" y="5011"/>
                  </a:cubicBezTo>
                  <a:cubicBezTo>
                    <a:pt x="2979" y="4986"/>
                    <a:pt x="2997" y="4941"/>
                    <a:pt x="3012" y="4905"/>
                  </a:cubicBezTo>
                  <a:cubicBezTo>
                    <a:pt x="3013" y="4903"/>
                    <a:pt x="3014" y="4900"/>
                    <a:pt x="3015" y="4897"/>
                  </a:cubicBezTo>
                  <a:cubicBezTo>
                    <a:pt x="3259" y="4979"/>
                    <a:pt x="3259" y="4979"/>
                    <a:pt x="3259" y="4979"/>
                  </a:cubicBezTo>
                  <a:cubicBezTo>
                    <a:pt x="3412" y="5065"/>
                    <a:pt x="3412" y="5065"/>
                    <a:pt x="3412" y="5065"/>
                  </a:cubicBezTo>
                  <a:cubicBezTo>
                    <a:pt x="3419" y="5053"/>
                    <a:pt x="3419" y="5053"/>
                    <a:pt x="3419" y="5053"/>
                  </a:cubicBezTo>
                  <a:cubicBezTo>
                    <a:pt x="3265" y="4967"/>
                    <a:pt x="3265" y="4967"/>
                    <a:pt x="3265" y="4967"/>
                  </a:cubicBezTo>
                  <a:cubicBezTo>
                    <a:pt x="3021" y="4885"/>
                    <a:pt x="3021" y="4885"/>
                    <a:pt x="3021" y="4885"/>
                  </a:cubicBezTo>
                  <a:cubicBezTo>
                    <a:pt x="3043" y="4838"/>
                    <a:pt x="3080" y="4780"/>
                    <a:pt x="3175" y="4734"/>
                  </a:cubicBezTo>
                  <a:cubicBezTo>
                    <a:pt x="3211" y="4717"/>
                    <a:pt x="3245" y="4710"/>
                    <a:pt x="3286" y="4710"/>
                  </a:cubicBezTo>
                  <a:cubicBezTo>
                    <a:pt x="3335" y="4710"/>
                    <a:pt x="3394" y="4721"/>
                    <a:pt x="3469" y="4736"/>
                  </a:cubicBezTo>
                  <a:lnTo>
                    <a:pt x="3432" y="4876"/>
                  </a:lnTo>
                  <a:close/>
                  <a:moveTo>
                    <a:pt x="3479" y="4752"/>
                  </a:moveTo>
                  <a:cubicBezTo>
                    <a:pt x="3526" y="4765"/>
                    <a:pt x="3526" y="4765"/>
                    <a:pt x="3526" y="4765"/>
                  </a:cubicBezTo>
                  <a:cubicBezTo>
                    <a:pt x="3494" y="4886"/>
                    <a:pt x="3494" y="4886"/>
                    <a:pt x="3494" y="4886"/>
                  </a:cubicBezTo>
                  <a:cubicBezTo>
                    <a:pt x="3446" y="4873"/>
                    <a:pt x="3446" y="4873"/>
                    <a:pt x="3446" y="4873"/>
                  </a:cubicBezTo>
                  <a:lnTo>
                    <a:pt x="3479" y="4752"/>
                  </a:lnTo>
                  <a:close/>
                  <a:moveTo>
                    <a:pt x="3624" y="4595"/>
                  </a:moveTo>
                  <a:cubicBezTo>
                    <a:pt x="3612" y="4654"/>
                    <a:pt x="3612" y="4654"/>
                    <a:pt x="3612" y="4654"/>
                  </a:cubicBezTo>
                  <a:cubicBezTo>
                    <a:pt x="3534" y="4639"/>
                    <a:pt x="3534" y="4639"/>
                    <a:pt x="3534" y="4639"/>
                  </a:cubicBezTo>
                  <a:cubicBezTo>
                    <a:pt x="3524" y="4532"/>
                    <a:pt x="3524" y="4532"/>
                    <a:pt x="3524" y="4532"/>
                  </a:cubicBezTo>
                  <a:cubicBezTo>
                    <a:pt x="3586" y="4544"/>
                    <a:pt x="3586" y="4544"/>
                    <a:pt x="3586" y="4544"/>
                  </a:cubicBezTo>
                  <a:cubicBezTo>
                    <a:pt x="3577" y="4586"/>
                    <a:pt x="3577" y="4586"/>
                    <a:pt x="3577" y="4586"/>
                  </a:cubicBezTo>
                  <a:lnTo>
                    <a:pt x="3624" y="4595"/>
                  </a:lnTo>
                  <a:close/>
                  <a:moveTo>
                    <a:pt x="4845" y="5330"/>
                  </a:moveTo>
                  <a:cubicBezTo>
                    <a:pt x="5424" y="5230"/>
                    <a:pt x="5424" y="5230"/>
                    <a:pt x="5424" y="5230"/>
                  </a:cubicBezTo>
                  <a:cubicBezTo>
                    <a:pt x="5373" y="5661"/>
                    <a:pt x="5373" y="5661"/>
                    <a:pt x="5373" y="5661"/>
                  </a:cubicBezTo>
                  <a:cubicBezTo>
                    <a:pt x="4820" y="5643"/>
                    <a:pt x="4820" y="5643"/>
                    <a:pt x="4820" y="5643"/>
                  </a:cubicBezTo>
                  <a:cubicBezTo>
                    <a:pt x="4836" y="5568"/>
                    <a:pt x="4846" y="5522"/>
                    <a:pt x="4846" y="5522"/>
                  </a:cubicBezTo>
                  <a:cubicBezTo>
                    <a:pt x="4846" y="5521"/>
                    <a:pt x="4846" y="5521"/>
                    <a:pt x="4846" y="5521"/>
                  </a:cubicBezTo>
                  <a:cubicBezTo>
                    <a:pt x="4846" y="5519"/>
                    <a:pt x="4846" y="5519"/>
                    <a:pt x="4846" y="5519"/>
                  </a:cubicBezTo>
                  <a:cubicBezTo>
                    <a:pt x="4846" y="5518"/>
                    <a:pt x="4851" y="5484"/>
                    <a:pt x="4851" y="5431"/>
                  </a:cubicBezTo>
                  <a:cubicBezTo>
                    <a:pt x="4851" y="5402"/>
                    <a:pt x="4849" y="5367"/>
                    <a:pt x="4845" y="5330"/>
                  </a:cubicBezTo>
                  <a:close/>
                  <a:moveTo>
                    <a:pt x="5739" y="5720"/>
                  </a:moveTo>
                  <a:cubicBezTo>
                    <a:pt x="5810" y="5729"/>
                    <a:pt x="5810" y="5729"/>
                    <a:pt x="5810" y="5729"/>
                  </a:cubicBezTo>
                  <a:cubicBezTo>
                    <a:pt x="5868" y="5794"/>
                    <a:pt x="5868" y="5794"/>
                    <a:pt x="5868" y="5794"/>
                  </a:cubicBezTo>
                  <a:cubicBezTo>
                    <a:pt x="5763" y="5888"/>
                    <a:pt x="5763" y="5888"/>
                    <a:pt x="5763" y="5888"/>
                  </a:cubicBezTo>
                  <a:cubicBezTo>
                    <a:pt x="5669" y="5783"/>
                    <a:pt x="5669" y="5783"/>
                    <a:pt x="5669" y="5783"/>
                  </a:cubicBezTo>
                  <a:cubicBezTo>
                    <a:pt x="5739" y="5720"/>
                    <a:pt x="5739" y="5720"/>
                    <a:pt x="5739" y="5720"/>
                  </a:cubicBezTo>
                  <a:close/>
                  <a:moveTo>
                    <a:pt x="5808" y="5714"/>
                  </a:moveTo>
                  <a:cubicBezTo>
                    <a:pt x="5726" y="5704"/>
                    <a:pt x="5726" y="5704"/>
                    <a:pt x="5726" y="5704"/>
                  </a:cubicBezTo>
                  <a:cubicBezTo>
                    <a:pt x="5676" y="5641"/>
                    <a:pt x="5676" y="5641"/>
                    <a:pt x="5676" y="5641"/>
                  </a:cubicBezTo>
                  <a:cubicBezTo>
                    <a:pt x="5790" y="5541"/>
                    <a:pt x="5790" y="5541"/>
                    <a:pt x="5790" y="5541"/>
                  </a:cubicBezTo>
                  <a:cubicBezTo>
                    <a:pt x="5881" y="5651"/>
                    <a:pt x="5881" y="5651"/>
                    <a:pt x="5881" y="5651"/>
                  </a:cubicBezTo>
                  <a:lnTo>
                    <a:pt x="5808" y="5714"/>
                  </a:lnTo>
                  <a:close/>
                  <a:moveTo>
                    <a:pt x="5721" y="5719"/>
                  </a:moveTo>
                  <a:cubicBezTo>
                    <a:pt x="5651" y="5782"/>
                    <a:pt x="5651" y="5782"/>
                    <a:pt x="5651" y="5782"/>
                  </a:cubicBezTo>
                  <a:cubicBezTo>
                    <a:pt x="5762" y="5906"/>
                    <a:pt x="5762" y="5906"/>
                    <a:pt x="5762" y="5906"/>
                  </a:cubicBezTo>
                  <a:cubicBezTo>
                    <a:pt x="5887" y="5795"/>
                    <a:pt x="5887" y="5795"/>
                    <a:pt x="5887" y="5795"/>
                  </a:cubicBezTo>
                  <a:cubicBezTo>
                    <a:pt x="5830" y="5731"/>
                    <a:pt x="5830" y="5731"/>
                    <a:pt x="5830" y="5731"/>
                  </a:cubicBezTo>
                  <a:cubicBezTo>
                    <a:pt x="5956" y="5747"/>
                    <a:pt x="5956" y="5747"/>
                    <a:pt x="5956" y="5747"/>
                  </a:cubicBezTo>
                  <a:cubicBezTo>
                    <a:pt x="5891" y="6134"/>
                    <a:pt x="5891" y="6134"/>
                    <a:pt x="5891" y="6134"/>
                  </a:cubicBezTo>
                  <a:cubicBezTo>
                    <a:pt x="5344" y="6032"/>
                    <a:pt x="5344" y="6032"/>
                    <a:pt x="5344" y="6032"/>
                  </a:cubicBezTo>
                  <a:cubicBezTo>
                    <a:pt x="5386" y="5676"/>
                    <a:pt x="5386" y="5676"/>
                    <a:pt x="5386" y="5676"/>
                  </a:cubicBezTo>
                  <a:cubicBezTo>
                    <a:pt x="5720" y="5717"/>
                    <a:pt x="5720" y="5717"/>
                    <a:pt x="5720" y="5717"/>
                  </a:cubicBezTo>
                  <a:lnTo>
                    <a:pt x="5721" y="5719"/>
                  </a:lnTo>
                  <a:close/>
                  <a:moveTo>
                    <a:pt x="7813" y="6601"/>
                  </a:moveTo>
                  <a:cubicBezTo>
                    <a:pt x="7813" y="6601"/>
                    <a:pt x="7870" y="6476"/>
                    <a:pt x="7889" y="6435"/>
                  </a:cubicBezTo>
                  <a:cubicBezTo>
                    <a:pt x="7993" y="6447"/>
                    <a:pt x="8095" y="6459"/>
                    <a:pt x="8188" y="6469"/>
                  </a:cubicBezTo>
                  <a:cubicBezTo>
                    <a:pt x="8172" y="6658"/>
                    <a:pt x="8172" y="6658"/>
                    <a:pt x="8172" y="6658"/>
                  </a:cubicBezTo>
                  <a:cubicBezTo>
                    <a:pt x="8136" y="6818"/>
                    <a:pt x="8136" y="6818"/>
                    <a:pt x="8136" y="6818"/>
                  </a:cubicBezTo>
                  <a:cubicBezTo>
                    <a:pt x="7781" y="6741"/>
                    <a:pt x="7781" y="6741"/>
                    <a:pt x="7781" y="6741"/>
                  </a:cubicBezTo>
                  <a:cubicBezTo>
                    <a:pt x="7703" y="6859"/>
                    <a:pt x="7703" y="6859"/>
                    <a:pt x="7703" y="6859"/>
                  </a:cubicBezTo>
                  <a:cubicBezTo>
                    <a:pt x="8012" y="6995"/>
                    <a:pt x="8012" y="6995"/>
                    <a:pt x="8012" y="6995"/>
                  </a:cubicBezTo>
                  <a:cubicBezTo>
                    <a:pt x="7887" y="7079"/>
                    <a:pt x="7887" y="7079"/>
                    <a:pt x="7887" y="7079"/>
                  </a:cubicBezTo>
                  <a:cubicBezTo>
                    <a:pt x="7929" y="7019"/>
                    <a:pt x="7929" y="7019"/>
                    <a:pt x="7929" y="7019"/>
                  </a:cubicBezTo>
                  <a:cubicBezTo>
                    <a:pt x="7805" y="6932"/>
                    <a:pt x="7805" y="6932"/>
                    <a:pt x="7805" y="6932"/>
                  </a:cubicBezTo>
                  <a:cubicBezTo>
                    <a:pt x="7761" y="6994"/>
                    <a:pt x="7761" y="6994"/>
                    <a:pt x="7761" y="6994"/>
                  </a:cubicBezTo>
                  <a:cubicBezTo>
                    <a:pt x="7880" y="7078"/>
                    <a:pt x="7880" y="7078"/>
                    <a:pt x="7880" y="7078"/>
                  </a:cubicBezTo>
                  <a:cubicBezTo>
                    <a:pt x="7885" y="7081"/>
                    <a:pt x="7885" y="7081"/>
                    <a:pt x="7885" y="7081"/>
                  </a:cubicBezTo>
                  <a:cubicBezTo>
                    <a:pt x="7820" y="7124"/>
                    <a:pt x="7820" y="7124"/>
                    <a:pt x="7820" y="7124"/>
                  </a:cubicBezTo>
                  <a:cubicBezTo>
                    <a:pt x="7781" y="7094"/>
                    <a:pt x="7516" y="6897"/>
                    <a:pt x="7458" y="6858"/>
                  </a:cubicBezTo>
                  <a:cubicBezTo>
                    <a:pt x="7489" y="6706"/>
                    <a:pt x="7489" y="6706"/>
                    <a:pt x="7489" y="6706"/>
                  </a:cubicBezTo>
                  <a:cubicBezTo>
                    <a:pt x="7512" y="6704"/>
                    <a:pt x="7606" y="6697"/>
                    <a:pt x="7615" y="6697"/>
                  </a:cubicBezTo>
                  <a:cubicBezTo>
                    <a:pt x="7744" y="6791"/>
                    <a:pt x="7744" y="6791"/>
                    <a:pt x="7744" y="6791"/>
                  </a:cubicBezTo>
                  <a:cubicBezTo>
                    <a:pt x="7752" y="6780"/>
                    <a:pt x="7752" y="6780"/>
                    <a:pt x="7752" y="6780"/>
                  </a:cubicBezTo>
                  <a:cubicBezTo>
                    <a:pt x="7622" y="6686"/>
                    <a:pt x="7622" y="6686"/>
                    <a:pt x="7622" y="6686"/>
                  </a:cubicBezTo>
                  <a:cubicBezTo>
                    <a:pt x="7621" y="6673"/>
                    <a:pt x="7614" y="6636"/>
                    <a:pt x="7604" y="6591"/>
                  </a:cubicBezTo>
                  <a:cubicBezTo>
                    <a:pt x="7605" y="6595"/>
                    <a:pt x="7605" y="6595"/>
                    <a:pt x="7605" y="6595"/>
                  </a:cubicBezTo>
                  <a:cubicBezTo>
                    <a:pt x="7605" y="6595"/>
                    <a:pt x="7605" y="6595"/>
                    <a:pt x="7605" y="6595"/>
                  </a:cubicBezTo>
                  <a:cubicBezTo>
                    <a:pt x="7606" y="6595"/>
                    <a:pt x="7607" y="6595"/>
                    <a:pt x="7608" y="6595"/>
                  </a:cubicBezTo>
                  <a:cubicBezTo>
                    <a:pt x="7637" y="6595"/>
                    <a:pt x="7781" y="6610"/>
                    <a:pt x="7790" y="6611"/>
                  </a:cubicBezTo>
                  <a:cubicBezTo>
                    <a:pt x="7996" y="6663"/>
                    <a:pt x="7996" y="6663"/>
                    <a:pt x="7996" y="6663"/>
                  </a:cubicBezTo>
                  <a:cubicBezTo>
                    <a:pt x="8163" y="6669"/>
                    <a:pt x="8163" y="6669"/>
                    <a:pt x="8163" y="6669"/>
                  </a:cubicBezTo>
                  <a:cubicBezTo>
                    <a:pt x="8164" y="6655"/>
                    <a:pt x="8164" y="6655"/>
                    <a:pt x="8164" y="6655"/>
                  </a:cubicBezTo>
                  <a:cubicBezTo>
                    <a:pt x="8006" y="6650"/>
                    <a:pt x="8006" y="6650"/>
                    <a:pt x="8006" y="6650"/>
                  </a:cubicBezTo>
                  <a:cubicBezTo>
                    <a:pt x="8018" y="6590"/>
                    <a:pt x="8018" y="6590"/>
                    <a:pt x="8018" y="6590"/>
                  </a:cubicBezTo>
                  <a:cubicBezTo>
                    <a:pt x="8122" y="6598"/>
                    <a:pt x="8122" y="6598"/>
                    <a:pt x="8122" y="6598"/>
                  </a:cubicBezTo>
                  <a:cubicBezTo>
                    <a:pt x="8128" y="6512"/>
                    <a:pt x="8128" y="6512"/>
                    <a:pt x="8128" y="6512"/>
                  </a:cubicBezTo>
                  <a:cubicBezTo>
                    <a:pt x="8081" y="6508"/>
                    <a:pt x="8081" y="6508"/>
                    <a:pt x="8081" y="6508"/>
                  </a:cubicBezTo>
                  <a:cubicBezTo>
                    <a:pt x="8084" y="6466"/>
                    <a:pt x="8084" y="6466"/>
                    <a:pt x="8084" y="6466"/>
                  </a:cubicBezTo>
                  <a:cubicBezTo>
                    <a:pt x="8046" y="6463"/>
                    <a:pt x="8046" y="6463"/>
                    <a:pt x="8046" y="6463"/>
                  </a:cubicBezTo>
                  <a:cubicBezTo>
                    <a:pt x="8047" y="6458"/>
                    <a:pt x="8047" y="6458"/>
                    <a:pt x="8047" y="6458"/>
                  </a:cubicBezTo>
                  <a:cubicBezTo>
                    <a:pt x="8033" y="6455"/>
                    <a:pt x="8033" y="6455"/>
                    <a:pt x="8033" y="6455"/>
                  </a:cubicBezTo>
                  <a:cubicBezTo>
                    <a:pt x="8032" y="6462"/>
                    <a:pt x="8032" y="6462"/>
                    <a:pt x="8032" y="6462"/>
                  </a:cubicBezTo>
                  <a:cubicBezTo>
                    <a:pt x="7968" y="6457"/>
                    <a:pt x="7968" y="6457"/>
                    <a:pt x="7968" y="6457"/>
                  </a:cubicBezTo>
                  <a:cubicBezTo>
                    <a:pt x="7965" y="6500"/>
                    <a:pt x="7965" y="6500"/>
                    <a:pt x="7965" y="6500"/>
                  </a:cubicBezTo>
                  <a:cubicBezTo>
                    <a:pt x="7918" y="6497"/>
                    <a:pt x="7918" y="6497"/>
                    <a:pt x="7918" y="6497"/>
                  </a:cubicBezTo>
                  <a:cubicBezTo>
                    <a:pt x="7912" y="6576"/>
                    <a:pt x="7912" y="6576"/>
                    <a:pt x="7912" y="6576"/>
                  </a:cubicBezTo>
                  <a:cubicBezTo>
                    <a:pt x="7912" y="6583"/>
                    <a:pt x="7912" y="6583"/>
                    <a:pt x="7912" y="6583"/>
                  </a:cubicBezTo>
                  <a:cubicBezTo>
                    <a:pt x="8004" y="6589"/>
                    <a:pt x="8004" y="6589"/>
                    <a:pt x="8004" y="6589"/>
                  </a:cubicBezTo>
                  <a:cubicBezTo>
                    <a:pt x="7992" y="6648"/>
                    <a:pt x="7992" y="6648"/>
                    <a:pt x="7992" y="6648"/>
                  </a:cubicBezTo>
                  <a:cubicBezTo>
                    <a:pt x="7792" y="6597"/>
                    <a:pt x="7792" y="6597"/>
                    <a:pt x="7792" y="6597"/>
                  </a:cubicBezTo>
                  <a:cubicBezTo>
                    <a:pt x="7792" y="6597"/>
                    <a:pt x="7792" y="6597"/>
                    <a:pt x="7792" y="6597"/>
                  </a:cubicBezTo>
                  <a:cubicBezTo>
                    <a:pt x="7791" y="6597"/>
                    <a:pt x="7640" y="6581"/>
                    <a:pt x="7608" y="6581"/>
                  </a:cubicBezTo>
                  <a:cubicBezTo>
                    <a:pt x="7606" y="6581"/>
                    <a:pt x="7604" y="6581"/>
                    <a:pt x="7602" y="6582"/>
                  </a:cubicBezTo>
                  <a:cubicBezTo>
                    <a:pt x="7599" y="6569"/>
                    <a:pt x="7596" y="6556"/>
                    <a:pt x="7593" y="6543"/>
                  </a:cubicBezTo>
                  <a:cubicBezTo>
                    <a:pt x="7667" y="6548"/>
                    <a:pt x="7667" y="6548"/>
                    <a:pt x="7667" y="6548"/>
                  </a:cubicBezTo>
                  <a:cubicBezTo>
                    <a:pt x="7673" y="6462"/>
                    <a:pt x="7673" y="6462"/>
                    <a:pt x="7673" y="6462"/>
                  </a:cubicBezTo>
                  <a:cubicBezTo>
                    <a:pt x="7626" y="6459"/>
                    <a:pt x="7626" y="6459"/>
                    <a:pt x="7626" y="6459"/>
                  </a:cubicBezTo>
                  <a:cubicBezTo>
                    <a:pt x="7629" y="6416"/>
                    <a:pt x="7629" y="6416"/>
                    <a:pt x="7629" y="6416"/>
                  </a:cubicBezTo>
                  <a:cubicBezTo>
                    <a:pt x="7563" y="6411"/>
                    <a:pt x="7563" y="6411"/>
                    <a:pt x="7563" y="6411"/>
                  </a:cubicBezTo>
                  <a:cubicBezTo>
                    <a:pt x="7562" y="6406"/>
                    <a:pt x="7561" y="6402"/>
                    <a:pt x="7560" y="6399"/>
                  </a:cubicBezTo>
                  <a:cubicBezTo>
                    <a:pt x="7610" y="6404"/>
                    <a:pt x="7662" y="6410"/>
                    <a:pt x="7715" y="6416"/>
                  </a:cubicBezTo>
                  <a:cubicBezTo>
                    <a:pt x="7767" y="6422"/>
                    <a:pt x="7821" y="6428"/>
                    <a:pt x="7875" y="6434"/>
                  </a:cubicBezTo>
                  <a:cubicBezTo>
                    <a:pt x="7854" y="6479"/>
                    <a:pt x="7800" y="6595"/>
                    <a:pt x="7800" y="6595"/>
                  </a:cubicBezTo>
                  <a:lnTo>
                    <a:pt x="7813" y="6601"/>
                  </a:lnTo>
                  <a:close/>
                  <a:moveTo>
                    <a:pt x="8252" y="6534"/>
                  </a:moveTo>
                  <a:cubicBezTo>
                    <a:pt x="8252" y="6537"/>
                    <a:pt x="8252" y="6537"/>
                    <a:pt x="8252" y="6537"/>
                  </a:cubicBezTo>
                  <a:cubicBezTo>
                    <a:pt x="8252" y="6540"/>
                    <a:pt x="8252" y="6543"/>
                    <a:pt x="8252" y="6547"/>
                  </a:cubicBezTo>
                  <a:cubicBezTo>
                    <a:pt x="8253" y="6689"/>
                    <a:pt x="8230" y="6800"/>
                    <a:pt x="8206" y="6840"/>
                  </a:cubicBezTo>
                  <a:cubicBezTo>
                    <a:pt x="8091" y="7037"/>
                    <a:pt x="7806" y="7300"/>
                    <a:pt x="7259" y="7406"/>
                  </a:cubicBezTo>
                  <a:cubicBezTo>
                    <a:pt x="7046" y="7447"/>
                    <a:pt x="6910" y="7474"/>
                    <a:pt x="6812" y="7503"/>
                  </a:cubicBezTo>
                  <a:cubicBezTo>
                    <a:pt x="6746" y="7522"/>
                    <a:pt x="6694" y="7544"/>
                    <a:pt x="6652" y="7571"/>
                  </a:cubicBezTo>
                  <a:cubicBezTo>
                    <a:pt x="6651" y="7568"/>
                    <a:pt x="6650" y="7569"/>
                    <a:pt x="6650" y="7568"/>
                  </a:cubicBezTo>
                  <a:cubicBezTo>
                    <a:pt x="6649" y="7568"/>
                    <a:pt x="6648" y="7567"/>
                    <a:pt x="6648" y="7567"/>
                  </a:cubicBezTo>
                  <a:cubicBezTo>
                    <a:pt x="6646" y="7565"/>
                    <a:pt x="6644" y="7564"/>
                    <a:pt x="6642" y="7562"/>
                  </a:cubicBezTo>
                  <a:cubicBezTo>
                    <a:pt x="6637" y="7559"/>
                    <a:pt x="6630" y="7555"/>
                    <a:pt x="6622" y="7550"/>
                  </a:cubicBezTo>
                  <a:cubicBezTo>
                    <a:pt x="6606" y="7539"/>
                    <a:pt x="6584" y="7525"/>
                    <a:pt x="6562" y="7511"/>
                  </a:cubicBezTo>
                  <a:cubicBezTo>
                    <a:pt x="6522" y="7486"/>
                    <a:pt x="6479" y="7458"/>
                    <a:pt x="6470" y="7451"/>
                  </a:cubicBezTo>
                  <a:cubicBezTo>
                    <a:pt x="6469" y="7447"/>
                    <a:pt x="6467" y="7448"/>
                    <a:pt x="6467" y="7447"/>
                  </a:cubicBezTo>
                  <a:cubicBezTo>
                    <a:pt x="6467" y="7447"/>
                    <a:pt x="6466" y="7447"/>
                    <a:pt x="6466" y="7447"/>
                  </a:cubicBezTo>
                  <a:cubicBezTo>
                    <a:pt x="6465" y="7447"/>
                    <a:pt x="6465" y="7446"/>
                    <a:pt x="6464" y="7446"/>
                  </a:cubicBezTo>
                  <a:cubicBezTo>
                    <a:pt x="6462" y="7446"/>
                    <a:pt x="6460" y="7445"/>
                    <a:pt x="6458" y="7445"/>
                  </a:cubicBezTo>
                  <a:cubicBezTo>
                    <a:pt x="6452" y="7443"/>
                    <a:pt x="6445" y="7442"/>
                    <a:pt x="6436" y="7439"/>
                  </a:cubicBezTo>
                  <a:cubicBezTo>
                    <a:pt x="6418" y="7435"/>
                    <a:pt x="6395" y="7430"/>
                    <a:pt x="6371" y="7425"/>
                  </a:cubicBezTo>
                  <a:cubicBezTo>
                    <a:pt x="6324" y="7414"/>
                    <a:pt x="6277" y="7404"/>
                    <a:pt x="6277" y="7404"/>
                  </a:cubicBezTo>
                  <a:cubicBezTo>
                    <a:pt x="6274" y="7418"/>
                    <a:pt x="6274" y="7418"/>
                    <a:pt x="6274" y="7418"/>
                  </a:cubicBezTo>
                  <a:cubicBezTo>
                    <a:pt x="6274" y="7418"/>
                    <a:pt x="6433" y="7452"/>
                    <a:pt x="6458" y="7459"/>
                  </a:cubicBezTo>
                  <a:cubicBezTo>
                    <a:pt x="6459" y="7460"/>
                    <a:pt x="6460" y="7460"/>
                    <a:pt x="6461" y="7461"/>
                  </a:cubicBezTo>
                  <a:cubicBezTo>
                    <a:pt x="6462" y="7463"/>
                    <a:pt x="6464" y="7464"/>
                    <a:pt x="6466" y="7466"/>
                  </a:cubicBezTo>
                  <a:cubicBezTo>
                    <a:pt x="6471" y="7469"/>
                    <a:pt x="6478" y="7473"/>
                    <a:pt x="6486" y="7479"/>
                  </a:cubicBezTo>
                  <a:cubicBezTo>
                    <a:pt x="6501" y="7489"/>
                    <a:pt x="6523" y="7503"/>
                    <a:pt x="6544" y="7516"/>
                  </a:cubicBezTo>
                  <a:cubicBezTo>
                    <a:pt x="6588" y="7544"/>
                    <a:pt x="6633" y="7573"/>
                    <a:pt x="6640" y="7578"/>
                  </a:cubicBezTo>
                  <a:cubicBezTo>
                    <a:pt x="6640" y="7578"/>
                    <a:pt x="6640" y="7578"/>
                    <a:pt x="6640" y="7578"/>
                  </a:cubicBezTo>
                  <a:cubicBezTo>
                    <a:pt x="6645" y="7574"/>
                    <a:pt x="6645" y="7574"/>
                    <a:pt x="6645" y="7574"/>
                  </a:cubicBezTo>
                  <a:cubicBezTo>
                    <a:pt x="6645" y="7574"/>
                    <a:pt x="6645" y="7574"/>
                    <a:pt x="6645" y="7574"/>
                  </a:cubicBezTo>
                  <a:cubicBezTo>
                    <a:pt x="6645" y="7575"/>
                    <a:pt x="6645" y="7575"/>
                    <a:pt x="6645" y="7575"/>
                  </a:cubicBezTo>
                  <a:cubicBezTo>
                    <a:pt x="6628" y="7587"/>
                    <a:pt x="6613" y="7599"/>
                    <a:pt x="6599" y="7612"/>
                  </a:cubicBezTo>
                  <a:cubicBezTo>
                    <a:pt x="6565" y="7645"/>
                    <a:pt x="6539" y="7679"/>
                    <a:pt x="6510" y="7719"/>
                  </a:cubicBezTo>
                  <a:cubicBezTo>
                    <a:pt x="6507" y="7723"/>
                    <a:pt x="6505" y="7727"/>
                    <a:pt x="6503" y="7730"/>
                  </a:cubicBezTo>
                  <a:cubicBezTo>
                    <a:pt x="6263" y="7555"/>
                    <a:pt x="6263" y="7555"/>
                    <a:pt x="6263" y="7555"/>
                  </a:cubicBezTo>
                  <a:cubicBezTo>
                    <a:pt x="6256" y="7548"/>
                    <a:pt x="6256" y="7548"/>
                    <a:pt x="6256" y="7548"/>
                  </a:cubicBezTo>
                  <a:cubicBezTo>
                    <a:pt x="6257" y="7533"/>
                    <a:pt x="6263" y="7487"/>
                    <a:pt x="6269" y="7440"/>
                  </a:cubicBezTo>
                  <a:cubicBezTo>
                    <a:pt x="6275" y="7388"/>
                    <a:pt x="6282" y="7334"/>
                    <a:pt x="6285" y="7321"/>
                  </a:cubicBezTo>
                  <a:cubicBezTo>
                    <a:pt x="6362" y="7298"/>
                    <a:pt x="6362" y="7298"/>
                    <a:pt x="6362" y="7298"/>
                  </a:cubicBezTo>
                  <a:cubicBezTo>
                    <a:pt x="6372" y="7300"/>
                    <a:pt x="6416" y="7312"/>
                    <a:pt x="6462" y="7324"/>
                  </a:cubicBezTo>
                  <a:cubicBezTo>
                    <a:pt x="6513" y="7337"/>
                    <a:pt x="6562" y="7350"/>
                    <a:pt x="6568" y="7350"/>
                  </a:cubicBezTo>
                  <a:cubicBezTo>
                    <a:pt x="6568" y="7350"/>
                    <a:pt x="6568" y="7350"/>
                    <a:pt x="6569" y="7350"/>
                  </a:cubicBezTo>
                  <a:cubicBezTo>
                    <a:pt x="6569" y="7350"/>
                    <a:pt x="6569" y="7350"/>
                    <a:pt x="6573" y="7349"/>
                  </a:cubicBezTo>
                  <a:cubicBezTo>
                    <a:pt x="6574" y="7348"/>
                    <a:pt x="6576" y="7345"/>
                    <a:pt x="6575" y="7343"/>
                  </a:cubicBezTo>
                  <a:cubicBezTo>
                    <a:pt x="6575" y="7343"/>
                    <a:pt x="6575" y="7342"/>
                    <a:pt x="6575" y="7342"/>
                  </a:cubicBezTo>
                  <a:cubicBezTo>
                    <a:pt x="6576" y="7341"/>
                    <a:pt x="6577" y="7340"/>
                    <a:pt x="6579" y="7338"/>
                  </a:cubicBezTo>
                  <a:cubicBezTo>
                    <a:pt x="6582" y="7335"/>
                    <a:pt x="6586" y="7331"/>
                    <a:pt x="6591" y="7327"/>
                  </a:cubicBezTo>
                  <a:cubicBezTo>
                    <a:pt x="6597" y="7321"/>
                    <a:pt x="6604" y="7316"/>
                    <a:pt x="6607" y="7314"/>
                  </a:cubicBezTo>
                  <a:cubicBezTo>
                    <a:pt x="6736" y="7340"/>
                    <a:pt x="6736" y="7340"/>
                    <a:pt x="6736" y="7340"/>
                  </a:cubicBezTo>
                  <a:cubicBezTo>
                    <a:pt x="6724" y="7407"/>
                    <a:pt x="6724" y="7407"/>
                    <a:pt x="6724" y="7407"/>
                  </a:cubicBezTo>
                  <a:cubicBezTo>
                    <a:pt x="6878" y="7432"/>
                    <a:pt x="6878" y="7432"/>
                    <a:pt x="6878" y="7432"/>
                  </a:cubicBezTo>
                  <a:cubicBezTo>
                    <a:pt x="6889" y="7372"/>
                    <a:pt x="6889" y="7372"/>
                    <a:pt x="6889" y="7372"/>
                  </a:cubicBezTo>
                  <a:cubicBezTo>
                    <a:pt x="6974" y="7389"/>
                    <a:pt x="6974" y="7389"/>
                    <a:pt x="6974" y="7389"/>
                  </a:cubicBezTo>
                  <a:cubicBezTo>
                    <a:pt x="6966" y="7440"/>
                    <a:pt x="6966" y="7440"/>
                    <a:pt x="6966" y="7440"/>
                  </a:cubicBezTo>
                  <a:cubicBezTo>
                    <a:pt x="7031" y="7450"/>
                    <a:pt x="7031" y="7450"/>
                    <a:pt x="7031" y="7450"/>
                  </a:cubicBezTo>
                  <a:cubicBezTo>
                    <a:pt x="7039" y="7396"/>
                    <a:pt x="7039" y="7396"/>
                    <a:pt x="7039" y="7396"/>
                  </a:cubicBezTo>
                  <a:cubicBezTo>
                    <a:pt x="7550" y="7279"/>
                    <a:pt x="7550" y="7279"/>
                    <a:pt x="7550" y="7279"/>
                  </a:cubicBezTo>
                  <a:cubicBezTo>
                    <a:pt x="7813" y="7145"/>
                    <a:pt x="7813" y="7145"/>
                    <a:pt x="7813" y="7145"/>
                  </a:cubicBezTo>
                  <a:cubicBezTo>
                    <a:pt x="8067" y="6975"/>
                    <a:pt x="8067" y="6975"/>
                    <a:pt x="8067" y="6975"/>
                  </a:cubicBezTo>
                  <a:cubicBezTo>
                    <a:pt x="8145" y="6840"/>
                    <a:pt x="8145" y="6840"/>
                    <a:pt x="8145" y="6840"/>
                  </a:cubicBezTo>
                  <a:cubicBezTo>
                    <a:pt x="8186" y="6660"/>
                    <a:pt x="8186" y="6660"/>
                    <a:pt x="8186" y="6660"/>
                  </a:cubicBezTo>
                  <a:cubicBezTo>
                    <a:pt x="8202" y="6471"/>
                    <a:pt x="8202" y="6471"/>
                    <a:pt x="8202" y="6471"/>
                  </a:cubicBezTo>
                  <a:cubicBezTo>
                    <a:pt x="8219" y="6473"/>
                    <a:pt x="8235" y="6475"/>
                    <a:pt x="8251" y="6477"/>
                  </a:cubicBezTo>
                  <a:cubicBezTo>
                    <a:pt x="8252" y="6496"/>
                    <a:pt x="8252" y="6515"/>
                    <a:pt x="8252" y="6534"/>
                  </a:cubicBezTo>
                  <a:close/>
                  <a:moveTo>
                    <a:pt x="7982" y="5236"/>
                  </a:moveTo>
                  <a:cubicBezTo>
                    <a:pt x="7941" y="5143"/>
                    <a:pt x="7887" y="5053"/>
                    <a:pt x="7827" y="4965"/>
                  </a:cubicBezTo>
                  <a:cubicBezTo>
                    <a:pt x="7978" y="4972"/>
                    <a:pt x="7978" y="4972"/>
                    <a:pt x="7978" y="4972"/>
                  </a:cubicBezTo>
                  <a:cubicBezTo>
                    <a:pt x="8022" y="5041"/>
                    <a:pt x="8062" y="5112"/>
                    <a:pt x="8094" y="5186"/>
                  </a:cubicBezTo>
                  <a:cubicBezTo>
                    <a:pt x="8271" y="5587"/>
                    <a:pt x="8371" y="6066"/>
                    <a:pt x="8388" y="6426"/>
                  </a:cubicBezTo>
                  <a:cubicBezTo>
                    <a:pt x="8376" y="6425"/>
                    <a:pt x="8364" y="6424"/>
                    <a:pt x="8352" y="6422"/>
                  </a:cubicBezTo>
                  <a:cubicBezTo>
                    <a:pt x="8324" y="6419"/>
                    <a:pt x="8295" y="6416"/>
                    <a:pt x="8265" y="6412"/>
                  </a:cubicBezTo>
                  <a:cubicBezTo>
                    <a:pt x="8245" y="6070"/>
                    <a:pt x="8148" y="5611"/>
                    <a:pt x="7982" y="5236"/>
                  </a:cubicBezTo>
                  <a:close/>
                  <a:moveTo>
                    <a:pt x="6297" y="7993"/>
                  </a:moveTo>
                  <a:cubicBezTo>
                    <a:pt x="6301" y="7997"/>
                    <a:pt x="6301" y="7997"/>
                    <a:pt x="6301" y="7997"/>
                  </a:cubicBezTo>
                  <a:cubicBezTo>
                    <a:pt x="6301" y="7998"/>
                    <a:pt x="6301" y="7998"/>
                    <a:pt x="6301" y="7998"/>
                  </a:cubicBezTo>
                  <a:cubicBezTo>
                    <a:pt x="6302" y="7992"/>
                    <a:pt x="6302" y="7992"/>
                    <a:pt x="6302" y="7992"/>
                  </a:cubicBezTo>
                  <a:cubicBezTo>
                    <a:pt x="6300" y="7999"/>
                    <a:pt x="6300" y="7999"/>
                    <a:pt x="6300" y="7999"/>
                  </a:cubicBezTo>
                  <a:cubicBezTo>
                    <a:pt x="6259" y="7996"/>
                    <a:pt x="6215" y="7993"/>
                    <a:pt x="6169" y="7990"/>
                  </a:cubicBezTo>
                  <a:cubicBezTo>
                    <a:pt x="6172" y="7953"/>
                    <a:pt x="6172" y="7953"/>
                    <a:pt x="6172" y="7953"/>
                  </a:cubicBezTo>
                  <a:cubicBezTo>
                    <a:pt x="6240" y="7959"/>
                    <a:pt x="6240" y="7959"/>
                    <a:pt x="6240" y="7959"/>
                  </a:cubicBezTo>
                  <a:cubicBezTo>
                    <a:pt x="6247" y="7959"/>
                    <a:pt x="6247" y="7959"/>
                    <a:pt x="6247" y="7959"/>
                  </a:cubicBezTo>
                  <a:cubicBezTo>
                    <a:pt x="6257" y="7802"/>
                    <a:pt x="6257" y="7802"/>
                    <a:pt x="6257" y="7802"/>
                  </a:cubicBezTo>
                  <a:cubicBezTo>
                    <a:pt x="6187" y="7796"/>
                    <a:pt x="6187" y="7796"/>
                    <a:pt x="6187" y="7796"/>
                  </a:cubicBezTo>
                  <a:cubicBezTo>
                    <a:pt x="6192" y="7742"/>
                    <a:pt x="6192" y="7742"/>
                    <a:pt x="6192" y="7742"/>
                  </a:cubicBezTo>
                  <a:cubicBezTo>
                    <a:pt x="6321" y="7812"/>
                    <a:pt x="6321" y="7812"/>
                    <a:pt x="6321" y="7812"/>
                  </a:cubicBezTo>
                  <a:cubicBezTo>
                    <a:pt x="6320" y="7824"/>
                    <a:pt x="6317" y="7858"/>
                    <a:pt x="6313" y="7894"/>
                  </a:cubicBezTo>
                  <a:cubicBezTo>
                    <a:pt x="6309" y="7938"/>
                    <a:pt x="6301" y="7987"/>
                    <a:pt x="6297" y="7993"/>
                  </a:cubicBezTo>
                  <a:cubicBezTo>
                    <a:pt x="6298" y="7994"/>
                    <a:pt x="6298" y="7994"/>
                    <a:pt x="6298" y="7994"/>
                  </a:cubicBezTo>
                  <a:lnTo>
                    <a:pt x="6297" y="7993"/>
                  </a:lnTo>
                  <a:close/>
                  <a:moveTo>
                    <a:pt x="5966" y="7922"/>
                  </a:moveTo>
                  <a:cubicBezTo>
                    <a:pt x="5957" y="7882"/>
                    <a:pt x="5944" y="7830"/>
                    <a:pt x="5934" y="7788"/>
                  </a:cubicBezTo>
                  <a:cubicBezTo>
                    <a:pt x="6172" y="7808"/>
                    <a:pt x="6172" y="7808"/>
                    <a:pt x="6172" y="7808"/>
                  </a:cubicBezTo>
                  <a:cubicBezTo>
                    <a:pt x="6159" y="7939"/>
                    <a:pt x="6159" y="7939"/>
                    <a:pt x="6159" y="7939"/>
                  </a:cubicBezTo>
                  <a:lnTo>
                    <a:pt x="5966" y="7922"/>
                  </a:lnTo>
                  <a:close/>
                  <a:moveTo>
                    <a:pt x="6158" y="7952"/>
                  </a:moveTo>
                  <a:cubicBezTo>
                    <a:pt x="6155" y="7989"/>
                    <a:pt x="6155" y="7989"/>
                    <a:pt x="6155" y="7989"/>
                  </a:cubicBezTo>
                  <a:cubicBezTo>
                    <a:pt x="6097" y="7985"/>
                    <a:pt x="6037" y="7981"/>
                    <a:pt x="5975" y="7976"/>
                  </a:cubicBezTo>
                  <a:cubicBezTo>
                    <a:pt x="5974" y="7967"/>
                    <a:pt x="5972" y="7953"/>
                    <a:pt x="5968" y="7936"/>
                  </a:cubicBezTo>
                  <a:lnTo>
                    <a:pt x="6158" y="7952"/>
                  </a:lnTo>
                  <a:close/>
                  <a:moveTo>
                    <a:pt x="5300" y="7722"/>
                  </a:moveTo>
                  <a:cubicBezTo>
                    <a:pt x="5289" y="7878"/>
                    <a:pt x="5289" y="7878"/>
                    <a:pt x="5289" y="7878"/>
                  </a:cubicBezTo>
                  <a:cubicBezTo>
                    <a:pt x="5386" y="7886"/>
                    <a:pt x="5386" y="7886"/>
                    <a:pt x="5386" y="7886"/>
                  </a:cubicBezTo>
                  <a:cubicBezTo>
                    <a:pt x="5385" y="7934"/>
                    <a:pt x="5385" y="7934"/>
                    <a:pt x="5385" y="7934"/>
                  </a:cubicBezTo>
                  <a:cubicBezTo>
                    <a:pt x="5331" y="7930"/>
                    <a:pt x="5283" y="7927"/>
                    <a:pt x="5243" y="7924"/>
                  </a:cubicBezTo>
                  <a:cubicBezTo>
                    <a:pt x="5183" y="7412"/>
                    <a:pt x="5183" y="7412"/>
                    <a:pt x="5183" y="7412"/>
                  </a:cubicBezTo>
                  <a:cubicBezTo>
                    <a:pt x="5181" y="7407"/>
                    <a:pt x="5181" y="7407"/>
                    <a:pt x="5181" y="7407"/>
                  </a:cubicBezTo>
                  <a:cubicBezTo>
                    <a:pt x="5258" y="7359"/>
                    <a:pt x="5258" y="7359"/>
                    <a:pt x="5258" y="7359"/>
                  </a:cubicBezTo>
                  <a:cubicBezTo>
                    <a:pt x="5585" y="7364"/>
                    <a:pt x="5585" y="7364"/>
                    <a:pt x="5585" y="7364"/>
                  </a:cubicBezTo>
                  <a:cubicBezTo>
                    <a:pt x="5589" y="7746"/>
                    <a:pt x="5589" y="7746"/>
                    <a:pt x="5589" y="7746"/>
                  </a:cubicBezTo>
                  <a:cubicBezTo>
                    <a:pt x="5401" y="7730"/>
                    <a:pt x="5401" y="7730"/>
                    <a:pt x="5401" y="7730"/>
                  </a:cubicBezTo>
                  <a:cubicBezTo>
                    <a:pt x="5405" y="7368"/>
                    <a:pt x="5405" y="7368"/>
                    <a:pt x="5405" y="7368"/>
                  </a:cubicBezTo>
                  <a:cubicBezTo>
                    <a:pt x="5391" y="7368"/>
                    <a:pt x="5391" y="7368"/>
                    <a:pt x="5391" y="7368"/>
                  </a:cubicBezTo>
                  <a:cubicBezTo>
                    <a:pt x="5387" y="7729"/>
                    <a:pt x="5387" y="7729"/>
                    <a:pt x="5387" y="7729"/>
                  </a:cubicBezTo>
                  <a:lnTo>
                    <a:pt x="5300" y="7722"/>
                  </a:lnTo>
                  <a:close/>
                  <a:moveTo>
                    <a:pt x="5387" y="7742"/>
                  </a:moveTo>
                  <a:cubicBezTo>
                    <a:pt x="5386" y="7873"/>
                    <a:pt x="5386" y="7873"/>
                    <a:pt x="5386" y="7873"/>
                  </a:cubicBezTo>
                  <a:cubicBezTo>
                    <a:pt x="5303" y="7866"/>
                    <a:pt x="5303" y="7866"/>
                    <a:pt x="5303" y="7866"/>
                  </a:cubicBezTo>
                  <a:cubicBezTo>
                    <a:pt x="5312" y="7736"/>
                    <a:pt x="5312" y="7736"/>
                    <a:pt x="5312" y="7736"/>
                  </a:cubicBezTo>
                  <a:lnTo>
                    <a:pt x="5387" y="7742"/>
                  </a:lnTo>
                  <a:close/>
                  <a:moveTo>
                    <a:pt x="4355" y="7492"/>
                  </a:moveTo>
                  <a:cubicBezTo>
                    <a:pt x="4366" y="7484"/>
                    <a:pt x="4376" y="7476"/>
                    <a:pt x="4384" y="7468"/>
                  </a:cubicBezTo>
                  <a:cubicBezTo>
                    <a:pt x="4425" y="7429"/>
                    <a:pt x="4459" y="7364"/>
                    <a:pt x="4489" y="7278"/>
                  </a:cubicBezTo>
                  <a:cubicBezTo>
                    <a:pt x="4505" y="7233"/>
                    <a:pt x="4519" y="7184"/>
                    <a:pt x="4532" y="7130"/>
                  </a:cubicBezTo>
                  <a:cubicBezTo>
                    <a:pt x="4566" y="7137"/>
                    <a:pt x="4566" y="7137"/>
                    <a:pt x="4566" y="7137"/>
                  </a:cubicBezTo>
                  <a:cubicBezTo>
                    <a:pt x="4547" y="7240"/>
                    <a:pt x="4547" y="7240"/>
                    <a:pt x="4547" y="7240"/>
                  </a:cubicBezTo>
                  <a:cubicBezTo>
                    <a:pt x="4701" y="7266"/>
                    <a:pt x="4701" y="7266"/>
                    <a:pt x="4701" y="7266"/>
                  </a:cubicBezTo>
                  <a:cubicBezTo>
                    <a:pt x="4719" y="7168"/>
                    <a:pt x="4719" y="7168"/>
                    <a:pt x="4719" y="7168"/>
                  </a:cubicBezTo>
                  <a:cubicBezTo>
                    <a:pt x="5092" y="7242"/>
                    <a:pt x="5092" y="7242"/>
                    <a:pt x="5092" y="7242"/>
                  </a:cubicBezTo>
                  <a:cubicBezTo>
                    <a:pt x="5092" y="7240"/>
                    <a:pt x="5092" y="7240"/>
                    <a:pt x="5092" y="7240"/>
                  </a:cubicBezTo>
                  <a:cubicBezTo>
                    <a:pt x="5092" y="7249"/>
                    <a:pt x="5092" y="7254"/>
                    <a:pt x="5092" y="7254"/>
                  </a:cubicBezTo>
                  <a:cubicBezTo>
                    <a:pt x="5093" y="7255"/>
                    <a:pt x="5093" y="7255"/>
                    <a:pt x="5093" y="7255"/>
                  </a:cubicBezTo>
                  <a:cubicBezTo>
                    <a:pt x="5163" y="7402"/>
                    <a:pt x="5163" y="7402"/>
                    <a:pt x="5163" y="7402"/>
                  </a:cubicBezTo>
                  <a:cubicBezTo>
                    <a:pt x="4895" y="7569"/>
                    <a:pt x="4895" y="7569"/>
                    <a:pt x="4895" y="7569"/>
                  </a:cubicBezTo>
                  <a:cubicBezTo>
                    <a:pt x="4754" y="7517"/>
                    <a:pt x="4754" y="7517"/>
                    <a:pt x="4754" y="7517"/>
                  </a:cubicBezTo>
                  <a:cubicBezTo>
                    <a:pt x="4408" y="7735"/>
                    <a:pt x="4408" y="7735"/>
                    <a:pt x="4408" y="7735"/>
                  </a:cubicBezTo>
                  <a:lnTo>
                    <a:pt x="4355" y="7492"/>
                  </a:lnTo>
                  <a:close/>
                  <a:moveTo>
                    <a:pt x="4404" y="7792"/>
                  </a:moveTo>
                  <a:cubicBezTo>
                    <a:pt x="4308" y="7805"/>
                    <a:pt x="4308" y="7805"/>
                    <a:pt x="4308" y="7805"/>
                  </a:cubicBezTo>
                  <a:cubicBezTo>
                    <a:pt x="4256" y="7554"/>
                    <a:pt x="4256" y="7554"/>
                    <a:pt x="4256" y="7554"/>
                  </a:cubicBezTo>
                  <a:cubicBezTo>
                    <a:pt x="4283" y="7539"/>
                    <a:pt x="4313" y="7522"/>
                    <a:pt x="4341" y="7502"/>
                  </a:cubicBezTo>
                  <a:lnTo>
                    <a:pt x="4404" y="7792"/>
                  </a:lnTo>
                  <a:close/>
                  <a:moveTo>
                    <a:pt x="3702" y="6825"/>
                  </a:moveTo>
                  <a:cubicBezTo>
                    <a:pt x="3702" y="6825"/>
                    <a:pt x="3702" y="6825"/>
                    <a:pt x="3702" y="6825"/>
                  </a:cubicBezTo>
                  <a:cubicBezTo>
                    <a:pt x="3696" y="6825"/>
                    <a:pt x="3604" y="6807"/>
                    <a:pt x="3559" y="6798"/>
                  </a:cubicBezTo>
                  <a:cubicBezTo>
                    <a:pt x="3551" y="6797"/>
                    <a:pt x="3545" y="6795"/>
                    <a:pt x="3541" y="6795"/>
                  </a:cubicBezTo>
                  <a:cubicBezTo>
                    <a:pt x="3553" y="6756"/>
                    <a:pt x="3553" y="6756"/>
                    <a:pt x="3553" y="6756"/>
                  </a:cubicBezTo>
                  <a:cubicBezTo>
                    <a:pt x="3798" y="6542"/>
                    <a:pt x="3798" y="6542"/>
                    <a:pt x="3798" y="6542"/>
                  </a:cubicBezTo>
                  <a:cubicBezTo>
                    <a:pt x="4063" y="6695"/>
                    <a:pt x="4063" y="6695"/>
                    <a:pt x="4063" y="6695"/>
                  </a:cubicBezTo>
                  <a:cubicBezTo>
                    <a:pt x="3902" y="6904"/>
                    <a:pt x="3902" y="6904"/>
                    <a:pt x="3902" y="6904"/>
                  </a:cubicBezTo>
                  <a:cubicBezTo>
                    <a:pt x="3717" y="6870"/>
                    <a:pt x="3717" y="6870"/>
                    <a:pt x="3717" y="6870"/>
                  </a:cubicBezTo>
                  <a:cubicBezTo>
                    <a:pt x="3716" y="6866"/>
                    <a:pt x="3716" y="6861"/>
                    <a:pt x="3715" y="6856"/>
                  </a:cubicBezTo>
                  <a:cubicBezTo>
                    <a:pt x="3713" y="6845"/>
                    <a:pt x="3713" y="6836"/>
                    <a:pt x="3710" y="6830"/>
                  </a:cubicBezTo>
                  <a:cubicBezTo>
                    <a:pt x="3709" y="6829"/>
                    <a:pt x="3709" y="6826"/>
                    <a:pt x="3703" y="6825"/>
                  </a:cubicBezTo>
                  <a:cubicBezTo>
                    <a:pt x="3703" y="6825"/>
                    <a:pt x="3703" y="6825"/>
                    <a:pt x="3703" y="6825"/>
                  </a:cubicBezTo>
                  <a:cubicBezTo>
                    <a:pt x="3703" y="6825"/>
                    <a:pt x="3702" y="6825"/>
                    <a:pt x="3702" y="6825"/>
                  </a:cubicBezTo>
                  <a:close/>
                  <a:moveTo>
                    <a:pt x="2579" y="6728"/>
                  </a:moveTo>
                  <a:cubicBezTo>
                    <a:pt x="2457" y="7276"/>
                    <a:pt x="2457" y="7276"/>
                    <a:pt x="2457" y="7276"/>
                  </a:cubicBezTo>
                  <a:cubicBezTo>
                    <a:pt x="2413" y="7246"/>
                    <a:pt x="2330" y="7185"/>
                    <a:pt x="2248" y="7126"/>
                  </a:cubicBezTo>
                  <a:cubicBezTo>
                    <a:pt x="2166" y="7067"/>
                    <a:pt x="2087" y="7012"/>
                    <a:pt x="2046" y="6989"/>
                  </a:cubicBezTo>
                  <a:cubicBezTo>
                    <a:pt x="2038" y="6985"/>
                    <a:pt x="2025" y="6978"/>
                    <a:pt x="2008" y="6969"/>
                  </a:cubicBezTo>
                  <a:cubicBezTo>
                    <a:pt x="2021" y="6950"/>
                    <a:pt x="2038" y="6925"/>
                    <a:pt x="2058" y="6894"/>
                  </a:cubicBezTo>
                  <a:cubicBezTo>
                    <a:pt x="2099" y="6832"/>
                    <a:pt x="2152" y="6749"/>
                    <a:pt x="2206" y="6667"/>
                  </a:cubicBezTo>
                  <a:cubicBezTo>
                    <a:pt x="2230" y="6629"/>
                    <a:pt x="2255" y="6591"/>
                    <a:pt x="2278" y="6555"/>
                  </a:cubicBezTo>
                  <a:cubicBezTo>
                    <a:pt x="2569" y="6721"/>
                    <a:pt x="2569" y="6721"/>
                    <a:pt x="2569" y="6721"/>
                  </a:cubicBezTo>
                  <a:cubicBezTo>
                    <a:pt x="2802" y="6806"/>
                    <a:pt x="2802" y="6806"/>
                    <a:pt x="2802" y="6806"/>
                  </a:cubicBezTo>
                  <a:cubicBezTo>
                    <a:pt x="2803" y="6806"/>
                    <a:pt x="2803" y="6806"/>
                    <a:pt x="2803" y="6807"/>
                  </a:cubicBezTo>
                  <a:cubicBezTo>
                    <a:pt x="2804" y="6809"/>
                    <a:pt x="2806" y="6813"/>
                    <a:pt x="2808" y="6818"/>
                  </a:cubicBezTo>
                  <a:cubicBezTo>
                    <a:pt x="2812" y="6827"/>
                    <a:pt x="2818" y="6841"/>
                    <a:pt x="2825" y="6858"/>
                  </a:cubicBezTo>
                  <a:cubicBezTo>
                    <a:pt x="2840" y="6891"/>
                    <a:pt x="2860" y="6937"/>
                    <a:pt x="2882" y="6989"/>
                  </a:cubicBezTo>
                  <a:cubicBezTo>
                    <a:pt x="2926" y="7092"/>
                    <a:pt x="2980" y="7216"/>
                    <a:pt x="3018" y="7301"/>
                  </a:cubicBezTo>
                  <a:cubicBezTo>
                    <a:pt x="3036" y="7341"/>
                    <a:pt x="3050" y="7371"/>
                    <a:pt x="3059" y="7388"/>
                  </a:cubicBezTo>
                  <a:cubicBezTo>
                    <a:pt x="2995" y="7424"/>
                    <a:pt x="2922" y="7453"/>
                    <a:pt x="2849" y="7453"/>
                  </a:cubicBezTo>
                  <a:cubicBezTo>
                    <a:pt x="2838" y="7453"/>
                    <a:pt x="2826" y="7452"/>
                    <a:pt x="2815" y="7450"/>
                  </a:cubicBezTo>
                  <a:cubicBezTo>
                    <a:pt x="2661" y="7431"/>
                    <a:pt x="2556" y="7347"/>
                    <a:pt x="2469" y="7285"/>
                  </a:cubicBezTo>
                  <a:cubicBezTo>
                    <a:pt x="2593" y="6731"/>
                    <a:pt x="2593" y="6731"/>
                    <a:pt x="2593" y="6731"/>
                  </a:cubicBezTo>
                  <a:lnTo>
                    <a:pt x="2579" y="6728"/>
                  </a:lnTo>
                  <a:close/>
                  <a:moveTo>
                    <a:pt x="2185" y="5689"/>
                  </a:moveTo>
                  <a:cubicBezTo>
                    <a:pt x="2185" y="5689"/>
                    <a:pt x="2185" y="5689"/>
                    <a:pt x="2185" y="5689"/>
                  </a:cubicBezTo>
                  <a:cubicBezTo>
                    <a:pt x="2185" y="5689"/>
                    <a:pt x="2185" y="5689"/>
                    <a:pt x="2184" y="5689"/>
                  </a:cubicBezTo>
                  <a:cubicBezTo>
                    <a:pt x="2183" y="5688"/>
                    <a:pt x="2181" y="5688"/>
                    <a:pt x="2179" y="5687"/>
                  </a:cubicBezTo>
                  <a:cubicBezTo>
                    <a:pt x="2174" y="5685"/>
                    <a:pt x="2168" y="5682"/>
                    <a:pt x="2162" y="5678"/>
                  </a:cubicBezTo>
                  <a:cubicBezTo>
                    <a:pt x="2148" y="5671"/>
                    <a:pt x="2130" y="5662"/>
                    <a:pt x="2112" y="5653"/>
                  </a:cubicBezTo>
                  <a:cubicBezTo>
                    <a:pt x="2107" y="5650"/>
                    <a:pt x="2101" y="5647"/>
                    <a:pt x="2096" y="5644"/>
                  </a:cubicBezTo>
                  <a:cubicBezTo>
                    <a:pt x="2152" y="5531"/>
                    <a:pt x="2152" y="5531"/>
                    <a:pt x="2152" y="5531"/>
                  </a:cubicBezTo>
                  <a:cubicBezTo>
                    <a:pt x="2248" y="5578"/>
                    <a:pt x="2248" y="5578"/>
                    <a:pt x="2248" y="5578"/>
                  </a:cubicBezTo>
                  <a:cubicBezTo>
                    <a:pt x="2190" y="5691"/>
                    <a:pt x="2190" y="5691"/>
                    <a:pt x="2190" y="5691"/>
                  </a:cubicBezTo>
                  <a:cubicBezTo>
                    <a:pt x="2189" y="5690"/>
                    <a:pt x="2188" y="5690"/>
                    <a:pt x="2185" y="5689"/>
                  </a:cubicBezTo>
                  <a:cubicBezTo>
                    <a:pt x="2185" y="5689"/>
                    <a:pt x="2185" y="5689"/>
                    <a:pt x="2185" y="5689"/>
                  </a:cubicBezTo>
                  <a:cubicBezTo>
                    <a:pt x="2185" y="5689"/>
                    <a:pt x="2185" y="5689"/>
                    <a:pt x="2185" y="5689"/>
                  </a:cubicBezTo>
                  <a:close/>
                  <a:moveTo>
                    <a:pt x="2155" y="5691"/>
                  </a:moveTo>
                  <a:cubicBezTo>
                    <a:pt x="2169" y="5697"/>
                    <a:pt x="2176" y="5701"/>
                    <a:pt x="2183" y="5703"/>
                  </a:cubicBezTo>
                  <a:cubicBezTo>
                    <a:pt x="2183" y="5703"/>
                    <a:pt x="2183" y="5704"/>
                    <a:pt x="2184" y="5704"/>
                  </a:cubicBezTo>
                  <a:cubicBezTo>
                    <a:pt x="2104" y="5861"/>
                    <a:pt x="2104" y="5861"/>
                    <a:pt x="2104" y="5861"/>
                  </a:cubicBezTo>
                  <a:cubicBezTo>
                    <a:pt x="2010" y="5815"/>
                    <a:pt x="2010" y="5815"/>
                    <a:pt x="2010" y="5815"/>
                  </a:cubicBezTo>
                  <a:cubicBezTo>
                    <a:pt x="2089" y="5657"/>
                    <a:pt x="2089" y="5657"/>
                    <a:pt x="2089" y="5657"/>
                  </a:cubicBezTo>
                  <a:cubicBezTo>
                    <a:pt x="2112" y="5669"/>
                    <a:pt x="2137" y="5682"/>
                    <a:pt x="2155" y="5691"/>
                  </a:cubicBezTo>
                  <a:close/>
                  <a:moveTo>
                    <a:pt x="1993" y="5821"/>
                  </a:moveTo>
                  <a:cubicBezTo>
                    <a:pt x="2110" y="5878"/>
                    <a:pt x="2110" y="5878"/>
                    <a:pt x="2110" y="5878"/>
                  </a:cubicBezTo>
                  <a:cubicBezTo>
                    <a:pt x="2193" y="5716"/>
                    <a:pt x="2193" y="5716"/>
                    <a:pt x="2193" y="5716"/>
                  </a:cubicBezTo>
                  <a:cubicBezTo>
                    <a:pt x="2193" y="5716"/>
                    <a:pt x="2193" y="5716"/>
                    <a:pt x="2194" y="5717"/>
                  </a:cubicBezTo>
                  <a:cubicBezTo>
                    <a:pt x="2201" y="5727"/>
                    <a:pt x="2209" y="5741"/>
                    <a:pt x="2218" y="5754"/>
                  </a:cubicBezTo>
                  <a:cubicBezTo>
                    <a:pt x="2234" y="5782"/>
                    <a:pt x="2249" y="5809"/>
                    <a:pt x="2250" y="5809"/>
                  </a:cubicBezTo>
                  <a:cubicBezTo>
                    <a:pt x="2251" y="5812"/>
                    <a:pt x="2251" y="5812"/>
                    <a:pt x="2251" y="5812"/>
                  </a:cubicBezTo>
                  <a:cubicBezTo>
                    <a:pt x="2255" y="5812"/>
                    <a:pt x="2255" y="5812"/>
                    <a:pt x="2255" y="5812"/>
                  </a:cubicBezTo>
                  <a:cubicBezTo>
                    <a:pt x="2255" y="5812"/>
                    <a:pt x="2307" y="5820"/>
                    <a:pt x="2362" y="5828"/>
                  </a:cubicBezTo>
                  <a:cubicBezTo>
                    <a:pt x="2413" y="5836"/>
                    <a:pt x="2468" y="5846"/>
                    <a:pt x="2478" y="5849"/>
                  </a:cubicBezTo>
                  <a:cubicBezTo>
                    <a:pt x="2529" y="5938"/>
                    <a:pt x="2529" y="5938"/>
                    <a:pt x="2529" y="5938"/>
                  </a:cubicBezTo>
                  <a:cubicBezTo>
                    <a:pt x="2527" y="5941"/>
                    <a:pt x="2525" y="5943"/>
                    <a:pt x="2521" y="5947"/>
                  </a:cubicBezTo>
                  <a:cubicBezTo>
                    <a:pt x="2515" y="5953"/>
                    <a:pt x="2508" y="5963"/>
                    <a:pt x="2499" y="5974"/>
                  </a:cubicBezTo>
                  <a:cubicBezTo>
                    <a:pt x="2486" y="5991"/>
                    <a:pt x="2471" y="6012"/>
                    <a:pt x="2455" y="6034"/>
                  </a:cubicBezTo>
                  <a:cubicBezTo>
                    <a:pt x="2427" y="6030"/>
                    <a:pt x="2152" y="6001"/>
                    <a:pt x="2130" y="5999"/>
                  </a:cubicBezTo>
                  <a:cubicBezTo>
                    <a:pt x="2129" y="5999"/>
                    <a:pt x="2129" y="5999"/>
                    <a:pt x="2128" y="5998"/>
                  </a:cubicBezTo>
                  <a:cubicBezTo>
                    <a:pt x="2126" y="5997"/>
                    <a:pt x="2124" y="5996"/>
                    <a:pt x="2120" y="5994"/>
                  </a:cubicBezTo>
                  <a:cubicBezTo>
                    <a:pt x="2114" y="5990"/>
                    <a:pt x="2105" y="5984"/>
                    <a:pt x="2094" y="5977"/>
                  </a:cubicBezTo>
                  <a:cubicBezTo>
                    <a:pt x="2073" y="5963"/>
                    <a:pt x="2046" y="5944"/>
                    <a:pt x="2019" y="5925"/>
                  </a:cubicBezTo>
                  <a:cubicBezTo>
                    <a:pt x="1984" y="5901"/>
                    <a:pt x="1950" y="5877"/>
                    <a:pt x="1930" y="5863"/>
                  </a:cubicBezTo>
                  <a:cubicBezTo>
                    <a:pt x="2055" y="5638"/>
                    <a:pt x="2055" y="5638"/>
                    <a:pt x="2055" y="5638"/>
                  </a:cubicBezTo>
                  <a:cubicBezTo>
                    <a:pt x="2062" y="5642"/>
                    <a:pt x="2069" y="5646"/>
                    <a:pt x="2078" y="5650"/>
                  </a:cubicBezTo>
                  <a:lnTo>
                    <a:pt x="1993" y="5821"/>
                  </a:lnTo>
                  <a:close/>
                  <a:moveTo>
                    <a:pt x="6160" y="6304"/>
                  </a:moveTo>
                  <a:cubicBezTo>
                    <a:pt x="6156" y="6364"/>
                    <a:pt x="6156" y="6364"/>
                    <a:pt x="6156" y="6364"/>
                  </a:cubicBezTo>
                  <a:cubicBezTo>
                    <a:pt x="6045" y="6355"/>
                    <a:pt x="6045" y="6355"/>
                    <a:pt x="6045" y="6355"/>
                  </a:cubicBezTo>
                  <a:cubicBezTo>
                    <a:pt x="6066" y="6253"/>
                    <a:pt x="6066" y="6253"/>
                    <a:pt x="6066" y="6253"/>
                  </a:cubicBezTo>
                  <a:cubicBezTo>
                    <a:pt x="6117" y="6257"/>
                    <a:pt x="6117" y="6257"/>
                    <a:pt x="6117" y="6257"/>
                  </a:cubicBezTo>
                  <a:cubicBezTo>
                    <a:pt x="6114" y="6300"/>
                    <a:pt x="6114" y="6300"/>
                    <a:pt x="6114" y="6300"/>
                  </a:cubicBezTo>
                  <a:lnTo>
                    <a:pt x="6160" y="6304"/>
                  </a:lnTo>
                  <a:close/>
                  <a:moveTo>
                    <a:pt x="6031" y="6354"/>
                  </a:moveTo>
                  <a:cubicBezTo>
                    <a:pt x="5972" y="6349"/>
                    <a:pt x="5972" y="6349"/>
                    <a:pt x="5972" y="6349"/>
                  </a:cubicBezTo>
                  <a:cubicBezTo>
                    <a:pt x="5977" y="6289"/>
                    <a:pt x="5977" y="6289"/>
                    <a:pt x="5977" y="6289"/>
                  </a:cubicBezTo>
                  <a:cubicBezTo>
                    <a:pt x="6023" y="6293"/>
                    <a:pt x="6023" y="6293"/>
                    <a:pt x="6023" y="6293"/>
                  </a:cubicBezTo>
                  <a:cubicBezTo>
                    <a:pt x="6027" y="6250"/>
                    <a:pt x="6027" y="6250"/>
                    <a:pt x="6027" y="6250"/>
                  </a:cubicBezTo>
                  <a:cubicBezTo>
                    <a:pt x="6052" y="6252"/>
                    <a:pt x="6052" y="6252"/>
                    <a:pt x="6052" y="6252"/>
                  </a:cubicBezTo>
                  <a:lnTo>
                    <a:pt x="6031" y="6354"/>
                  </a:lnTo>
                  <a:close/>
                  <a:moveTo>
                    <a:pt x="6043" y="6368"/>
                  </a:moveTo>
                  <a:cubicBezTo>
                    <a:pt x="6168" y="6378"/>
                    <a:pt x="6168" y="6378"/>
                    <a:pt x="6168" y="6378"/>
                  </a:cubicBezTo>
                  <a:cubicBezTo>
                    <a:pt x="6175" y="6292"/>
                    <a:pt x="6175" y="6292"/>
                    <a:pt x="6175" y="6292"/>
                  </a:cubicBezTo>
                  <a:cubicBezTo>
                    <a:pt x="6128" y="6288"/>
                    <a:pt x="6128" y="6288"/>
                    <a:pt x="6128" y="6288"/>
                  </a:cubicBezTo>
                  <a:cubicBezTo>
                    <a:pt x="6131" y="6245"/>
                    <a:pt x="6131" y="6245"/>
                    <a:pt x="6131" y="6245"/>
                  </a:cubicBezTo>
                  <a:cubicBezTo>
                    <a:pt x="6068" y="6240"/>
                    <a:pt x="6068" y="6240"/>
                    <a:pt x="6068" y="6240"/>
                  </a:cubicBezTo>
                  <a:cubicBezTo>
                    <a:pt x="6072" y="6224"/>
                    <a:pt x="6072" y="6224"/>
                    <a:pt x="6072" y="6224"/>
                  </a:cubicBezTo>
                  <a:cubicBezTo>
                    <a:pt x="6207" y="6240"/>
                    <a:pt x="6207" y="6240"/>
                    <a:pt x="6207" y="6240"/>
                  </a:cubicBezTo>
                  <a:cubicBezTo>
                    <a:pt x="6206" y="6286"/>
                    <a:pt x="6205" y="6394"/>
                    <a:pt x="6201" y="6460"/>
                  </a:cubicBezTo>
                  <a:cubicBezTo>
                    <a:pt x="6200" y="6488"/>
                    <a:pt x="6197" y="6510"/>
                    <a:pt x="6197" y="6511"/>
                  </a:cubicBezTo>
                  <a:cubicBezTo>
                    <a:pt x="6202" y="6513"/>
                    <a:pt x="6202" y="6513"/>
                    <a:pt x="6202" y="6513"/>
                  </a:cubicBezTo>
                  <a:cubicBezTo>
                    <a:pt x="6152" y="6508"/>
                    <a:pt x="6152" y="6508"/>
                    <a:pt x="6152" y="6508"/>
                  </a:cubicBezTo>
                  <a:cubicBezTo>
                    <a:pt x="6146" y="6471"/>
                    <a:pt x="6146" y="6471"/>
                    <a:pt x="6146" y="6471"/>
                  </a:cubicBezTo>
                  <a:cubicBezTo>
                    <a:pt x="6025" y="6457"/>
                    <a:pt x="6025" y="6457"/>
                    <a:pt x="6025" y="6457"/>
                  </a:cubicBezTo>
                  <a:lnTo>
                    <a:pt x="6043" y="6368"/>
                  </a:lnTo>
                  <a:close/>
                  <a:moveTo>
                    <a:pt x="7088" y="6405"/>
                  </a:moveTo>
                  <a:cubicBezTo>
                    <a:pt x="7083" y="6464"/>
                    <a:pt x="7083" y="6464"/>
                    <a:pt x="7083" y="6464"/>
                  </a:cubicBezTo>
                  <a:cubicBezTo>
                    <a:pt x="6998" y="6458"/>
                    <a:pt x="6998" y="6458"/>
                    <a:pt x="6998" y="6458"/>
                  </a:cubicBezTo>
                  <a:cubicBezTo>
                    <a:pt x="7015" y="6356"/>
                    <a:pt x="7015" y="6356"/>
                    <a:pt x="7015" y="6356"/>
                  </a:cubicBezTo>
                  <a:cubicBezTo>
                    <a:pt x="7045" y="6358"/>
                    <a:pt x="7045" y="6358"/>
                    <a:pt x="7045" y="6358"/>
                  </a:cubicBezTo>
                  <a:cubicBezTo>
                    <a:pt x="7041" y="6401"/>
                    <a:pt x="7041" y="6401"/>
                    <a:pt x="7041" y="6401"/>
                  </a:cubicBezTo>
                  <a:lnTo>
                    <a:pt x="7088" y="6405"/>
                  </a:lnTo>
                  <a:close/>
                  <a:moveTo>
                    <a:pt x="6984" y="6457"/>
                  </a:moveTo>
                  <a:cubicBezTo>
                    <a:pt x="6900" y="6450"/>
                    <a:pt x="6900" y="6450"/>
                    <a:pt x="6900" y="6450"/>
                  </a:cubicBezTo>
                  <a:cubicBezTo>
                    <a:pt x="6904" y="6390"/>
                    <a:pt x="6904" y="6390"/>
                    <a:pt x="6904" y="6390"/>
                  </a:cubicBezTo>
                  <a:cubicBezTo>
                    <a:pt x="6951" y="6394"/>
                    <a:pt x="6951" y="6394"/>
                    <a:pt x="6951" y="6394"/>
                  </a:cubicBezTo>
                  <a:cubicBezTo>
                    <a:pt x="6954" y="6351"/>
                    <a:pt x="6954" y="6351"/>
                    <a:pt x="6954" y="6351"/>
                  </a:cubicBezTo>
                  <a:cubicBezTo>
                    <a:pt x="7001" y="6355"/>
                    <a:pt x="7001" y="6355"/>
                    <a:pt x="7001" y="6355"/>
                  </a:cubicBezTo>
                  <a:lnTo>
                    <a:pt x="6984" y="6457"/>
                  </a:lnTo>
                  <a:close/>
                  <a:moveTo>
                    <a:pt x="7004" y="6342"/>
                  </a:moveTo>
                  <a:cubicBezTo>
                    <a:pt x="6942" y="6337"/>
                    <a:pt x="6942" y="6337"/>
                    <a:pt x="6942" y="6337"/>
                  </a:cubicBezTo>
                  <a:cubicBezTo>
                    <a:pt x="6939" y="6380"/>
                    <a:pt x="6939" y="6380"/>
                    <a:pt x="6939" y="6380"/>
                  </a:cubicBezTo>
                  <a:cubicBezTo>
                    <a:pt x="6892" y="6376"/>
                    <a:pt x="6892" y="6376"/>
                    <a:pt x="6892" y="6376"/>
                  </a:cubicBezTo>
                  <a:cubicBezTo>
                    <a:pt x="6886" y="6456"/>
                    <a:pt x="6886" y="6456"/>
                    <a:pt x="6886" y="6456"/>
                  </a:cubicBezTo>
                  <a:cubicBezTo>
                    <a:pt x="6885" y="6462"/>
                    <a:pt x="6885" y="6462"/>
                    <a:pt x="6885" y="6462"/>
                  </a:cubicBezTo>
                  <a:cubicBezTo>
                    <a:pt x="6981" y="6470"/>
                    <a:pt x="6981" y="6470"/>
                    <a:pt x="6981" y="6470"/>
                  </a:cubicBezTo>
                  <a:cubicBezTo>
                    <a:pt x="6971" y="6529"/>
                    <a:pt x="6971" y="6529"/>
                    <a:pt x="6971" y="6529"/>
                  </a:cubicBezTo>
                  <a:cubicBezTo>
                    <a:pt x="6985" y="6531"/>
                    <a:pt x="6985" y="6531"/>
                    <a:pt x="6985" y="6531"/>
                  </a:cubicBezTo>
                  <a:cubicBezTo>
                    <a:pt x="6995" y="6471"/>
                    <a:pt x="6995" y="6471"/>
                    <a:pt x="6995" y="6471"/>
                  </a:cubicBezTo>
                  <a:cubicBezTo>
                    <a:pt x="7095" y="6479"/>
                    <a:pt x="7095" y="6479"/>
                    <a:pt x="7095" y="6479"/>
                  </a:cubicBezTo>
                  <a:cubicBezTo>
                    <a:pt x="7102" y="6393"/>
                    <a:pt x="7102" y="6393"/>
                    <a:pt x="7102" y="6393"/>
                  </a:cubicBezTo>
                  <a:cubicBezTo>
                    <a:pt x="7055" y="6389"/>
                    <a:pt x="7055" y="6389"/>
                    <a:pt x="7055" y="6389"/>
                  </a:cubicBezTo>
                  <a:cubicBezTo>
                    <a:pt x="7059" y="6346"/>
                    <a:pt x="7059" y="6346"/>
                    <a:pt x="7059" y="6346"/>
                  </a:cubicBezTo>
                  <a:cubicBezTo>
                    <a:pt x="7018" y="6343"/>
                    <a:pt x="7018" y="6343"/>
                    <a:pt x="7018" y="6343"/>
                  </a:cubicBezTo>
                  <a:cubicBezTo>
                    <a:pt x="7018" y="6337"/>
                    <a:pt x="7018" y="6337"/>
                    <a:pt x="7018" y="6337"/>
                  </a:cubicBezTo>
                  <a:cubicBezTo>
                    <a:pt x="7125" y="6350"/>
                    <a:pt x="7125" y="6350"/>
                    <a:pt x="7125" y="6350"/>
                  </a:cubicBezTo>
                  <a:cubicBezTo>
                    <a:pt x="7096" y="6554"/>
                    <a:pt x="7096" y="6554"/>
                    <a:pt x="7096" y="6554"/>
                  </a:cubicBezTo>
                  <a:cubicBezTo>
                    <a:pt x="7093" y="6553"/>
                    <a:pt x="7089" y="6553"/>
                    <a:pt x="7086" y="6552"/>
                  </a:cubicBezTo>
                  <a:cubicBezTo>
                    <a:pt x="7069" y="6550"/>
                    <a:pt x="7046" y="6546"/>
                    <a:pt x="7018" y="6541"/>
                  </a:cubicBezTo>
                  <a:cubicBezTo>
                    <a:pt x="6965" y="6533"/>
                    <a:pt x="6896" y="6522"/>
                    <a:pt x="6826" y="6511"/>
                  </a:cubicBezTo>
                  <a:cubicBezTo>
                    <a:pt x="6828" y="6509"/>
                    <a:pt x="6829" y="6508"/>
                    <a:pt x="6830" y="6506"/>
                  </a:cubicBezTo>
                  <a:cubicBezTo>
                    <a:pt x="6831" y="6504"/>
                    <a:pt x="6832" y="6502"/>
                    <a:pt x="6833" y="6499"/>
                  </a:cubicBezTo>
                  <a:cubicBezTo>
                    <a:pt x="6835" y="6493"/>
                    <a:pt x="6837" y="6485"/>
                    <a:pt x="6839" y="6475"/>
                  </a:cubicBezTo>
                  <a:cubicBezTo>
                    <a:pt x="6844" y="6455"/>
                    <a:pt x="6850" y="6429"/>
                    <a:pt x="6855" y="6404"/>
                  </a:cubicBezTo>
                  <a:cubicBezTo>
                    <a:pt x="6861" y="6371"/>
                    <a:pt x="6867" y="6339"/>
                    <a:pt x="6870" y="6320"/>
                  </a:cubicBezTo>
                  <a:cubicBezTo>
                    <a:pt x="7005" y="6336"/>
                    <a:pt x="7005" y="6336"/>
                    <a:pt x="7005" y="6336"/>
                  </a:cubicBezTo>
                  <a:lnTo>
                    <a:pt x="7004" y="6342"/>
                  </a:lnTo>
                  <a:close/>
                  <a:moveTo>
                    <a:pt x="7202" y="6797"/>
                  </a:moveTo>
                  <a:cubicBezTo>
                    <a:pt x="7192" y="6843"/>
                    <a:pt x="7192" y="6843"/>
                    <a:pt x="7192" y="6843"/>
                  </a:cubicBezTo>
                  <a:cubicBezTo>
                    <a:pt x="7271" y="6859"/>
                    <a:pt x="7271" y="6859"/>
                    <a:pt x="7271" y="6859"/>
                  </a:cubicBezTo>
                  <a:cubicBezTo>
                    <a:pt x="7277" y="6860"/>
                    <a:pt x="7277" y="6860"/>
                    <a:pt x="7277" y="6860"/>
                  </a:cubicBezTo>
                  <a:cubicBezTo>
                    <a:pt x="7295" y="6769"/>
                    <a:pt x="7295" y="6769"/>
                    <a:pt x="7295" y="6769"/>
                  </a:cubicBezTo>
                  <a:cubicBezTo>
                    <a:pt x="7298" y="6770"/>
                    <a:pt x="7298" y="6770"/>
                    <a:pt x="7298" y="6770"/>
                  </a:cubicBezTo>
                  <a:cubicBezTo>
                    <a:pt x="7308" y="6777"/>
                    <a:pt x="7401" y="6841"/>
                    <a:pt x="7431" y="6859"/>
                  </a:cubicBezTo>
                  <a:cubicBezTo>
                    <a:pt x="7436" y="6861"/>
                    <a:pt x="7437" y="6862"/>
                    <a:pt x="7441" y="6863"/>
                  </a:cubicBezTo>
                  <a:cubicBezTo>
                    <a:pt x="7442" y="6863"/>
                    <a:pt x="7442" y="6864"/>
                    <a:pt x="7443" y="6864"/>
                  </a:cubicBezTo>
                  <a:cubicBezTo>
                    <a:pt x="7419" y="6984"/>
                    <a:pt x="7419" y="6984"/>
                    <a:pt x="7419" y="6984"/>
                  </a:cubicBezTo>
                  <a:cubicBezTo>
                    <a:pt x="7381" y="6977"/>
                    <a:pt x="7183" y="6941"/>
                    <a:pt x="7108" y="6926"/>
                  </a:cubicBezTo>
                  <a:cubicBezTo>
                    <a:pt x="7138" y="6719"/>
                    <a:pt x="7138" y="6719"/>
                    <a:pt x="7138" y="6719"/>
                  </a:cubicBezTo>
                  <a:cubicBezTo>
                    <a:pt x="7171" y="6729"/>
                    <a:pt x="7171" y="6729"/>
                    <a:pt x="7171" y="6729"/>
                  </a:cubicBezTo>
                  <a:cubicBezTo>
                    <a:pt x="7159" y="6789"/>
                    <a:pt x="7159" y="6789"/>
                    <a:pt x="7159" y="6789"/>
                  </a:cubicBezTo>
                  <a:lnTo>
                    <a:pt x="7202" y="6797"/>
                  </a:lnTo>
                  <a:close/>
                  <a:moveTo>
                    <a:pt x="7282" y="6765"/>
                  </a:moveTo>
                  <a:cubicBezTo>
                    <a:pt x="7267" y="6845"/>
                    <a:pt x="7267" y="6845"/>
                    <a:pt x="7267" y="6845"/>
                  </a:cubicBezTo>
                  <a:cubicBezTo>
                    <a:pt x="7208" y="6833"/>
                    <a:pt x="7208" y="6833"/>
                    <a:pt x="7208" y="6833"/>
                  </a:cubicBezTo>
                  <a:cubicBezTo>
                    <a:pt x="7217" y="6787"/>
                    <a:pt x="7217" y="6787"/>
                    <a:pt x="7217" y="6787"/>
                  </a:cubicBezTo>
                  <a:cubicBezTo>
                    <a:pt x="7175" y="6779"/>
                    <a:pt x="7175" y="6779"/>
                    <a:pt x="7175" y="6779"/>
                  </a:cubicBezTo>
                  <a:cubicBezTo>
                    <a:pt x="7184" y="6733"/>
                    <a:pt x="7184" y="6733"/>
                    <a:pt x="7184" y="6733"/>
                  </a:cubicBezTo>
                  <a:lnTo>
                    <a:pt x="7282" y="6765"/>
                  </a:lnTo>
                  <a:close/>
                  <a:moveTo>
                    <a:pt x="7186" y="6720"/>
                  </a:moveTo>
                  <a:cubicBezTo>
                    <a:pt x="7192" y="6690"/>
                    <a:pt x="7192" y="6690"/>
                    <a:pt x="7192" y="6690"/>
                  </a:cubicBezTo>
                  <a:cubicBezTo>
                    <a:pt x="7235" y="6698"/>
                    <a:pt x="7235" y="6698"/>
                    <a:pt x="7235" y="6698"/>
                  </a:cubicBezTo>
                  <a:cubicBezTo>
                    <a:pt x="7244" y="6652"/>
                    <a:pt x="7244" y="6652"/>
                    <a:pt x="7244" y="6652"/>
                  </a:cubicBezTo>
                  <a:cubicBezTo>
                    <a:pt x="7303" y="6664"/>
                    <a:pt x="7303" y="6664"/>
                    <a:pt x="7303" y="6664"/>
                  </a:cubicBezTo>
                  <a:cubicBezTo>
                    <a:pt x="7285" y="6752"/>
                    <a:pt x="7285" y="6752"/>
                    <a:pt x="7285" y="6752"/>
                  </a:cubicBezTo>
                  <a:lnTo>
                    <a:pt x="7186" y="6720"/>
                  </a:lnTo>
                  <a:close/>
                  <a:moveTo>
                    <a:pt x="6245" y="7559"/>
                  </a:moveTo>
                  <a:cubicBezTo>
                    <a:pt x="6201" y="7609"/>
                    <a:pt x="6201" y="7609"/>
                    <a:pt x="6201" y="7609"/>
                  </a:cubicBezTo>
                  <a:cubicBezTo>
                    <a:pt x="6201" y="7609"/>
                    <a:pt x="6201" y="7609"/>
                    <a:pt x="6201" y="7609"/>
                  </a:cubicBezTo>
                  <a:cubicBezTo>
                    <a:pt x="6201" y="7609"/>
                    <a:pt x="6200" y="7609"/>
                    <a:pt x="6200" y="7608"/>
                  </a:cubicBezTo>
                  <a:cubicBezTo>
                    <a:pt x="6200" y="7608"/>
                    <a:pt x="6199" y="7607"/>
                    <a:pt x="6198" y="7607"/>
                  </a:cubicBezTo>
                  <a:cubicBezTo>
                    <a:pt x="6197" y="7605"/>
                    <a:pt x="6195" y="7603"/>
                    <a:pt x="6192" y="7601"/>
                  </a:cubicBezTo>
                  <a:cubicBezTo>
                    <a:pt x="6187" y="7596"/>
                    <a:pt x="6179" y="7590"/>
                    <a:pt x="6170" y="7582"/>
                  </a:cubicBezTo>
                  <a:cubicBezTo>
                    <a:pt x="6152" y="7567"/>
                    <a:pt x="6128" y="7547"/>
                    <a:pt x="6103" y="7526"/>
                  </a:cubicBezTo>
                  <a:cubicBezTo>
                    <a:pt x="6055" y="7486"/>
                    <a:pt x="6006" y="7445"/>
                    <a:pt x="6006" y="7445"/>
                  </a:cubicBezTo>
                  <a:cubicBezTo>
                    <a:pt x="6001" y="7441"/>
                    <a:pt x="6001" y="7441"/>
                    <a:pt x="6001" y="7441"/>
                  </a:cubicBezTo>
                  <a:cubicBezTo>
                    <a:pt x="5954" y="7488"/>
                    <a:pt x="5954" y="7488"/>
                    <a:pt x="5954" y="7488"/>
                  </a:cubicBezTo>
                  <a:cubicBezTo>
                    <a:pt x="5743" y="7366"/>
                    <a:pt x="5743" y="7366"/>
                    <a:pt x="5743" y="7366"/>
                  </a:cubicBezTo>
                  <a:cubicBezTo>
                    <a:pt x="5778" y="7165"/>
                    <a:pt x="5778" y="7165"/>
                    <a:pt x="5778" y="7165"/>
                  </a:cubicBezTo>
                  <a:cubicBezTo>
                    <a:pt x="5782" y="7167"/>
                    <a:pt x="5786" y="7168"/>
                    <a:pt x="5790" y="7169"/>
                  </a:cubicBezTo>
                  <a:cubicBezTo>
                    <a:pt x="5804" y="7174"/>
                    <a:pt x="5824" y="7180"/>
                    <a:pt x="5848" y="7188"/>
                  </a:cubicBezTo>
                  <a:cubicBezTo>
                    <a:pt x="5896" y="7203"/>
                    <a:pt x="5959" y="7223"/>
                    <a:pt x="6023" y="7243"/>
                  </a:cubicBezTo>
                  <a:cubicBezTo>
                    <a:pt x="6133" y="7278"/>
                    <a:pt x="6244" y="7312"/>
                    <a:pt x="6271" y="7320"/>
                  </a:cubicBezTo>
                  <a:cubicBezTo>
                    <a:pt x="6270" y="7322"/>
                    <a:pt x="6270" y="7323"/>
                    <a:pt x="6270" y="7326"/>
                  </a:cubicBezTo>
                  <a:cubicBezTo>
                    <a:pt x="6269" y="7333"/>
                    <a:pt x="6267" y="7343"/>
                    <a:pt x="6266" y="7354"/>
                  </a:cubicBezTo>
                  <a:cubicBezTo>
                    <a:pt x="6263" y="7377"/>
                    <a:pt x="6259" y="7406"/>
                    <a:pt x="6255" y="7435"/>
                  </a:cubicBezTo>
                  <a:cubicBezTo>
                    <a:pt x="6248" y="7494"/>
                    <a:pt x="6241" y="7552"/>
                    <a:pt x="6241" y="7552"/>
                  </a:cubicBezTo>
                  <a:cubicBezTo>
                    <a:pt x="6241" y="7556"/>
                    <a:pt x="6241" y="7556"/>
                    <a:pt x="6241" y="7556"/>
                  </a:cubicBezTo>
                  <a:lnTo>
                    <a:pt x="6245" y="7559"/>
                  </a:lnTo>
                  <a:close/>
                  <a:moveTo>
                    <a:pt x="6173" y="7795"/>
                  </a:moveTo>
                  <a:cubicBezTo>
                    <a:pt x="5931" y="7775"/>
                    <a:pt x="5931" y="7775"/>
                    <a:pt x="5931" y="7775"/>
                  </a:cubicBezTo>
                  <a:cubicBezTo>
                    <a:pt x="5924" y="7746"/>
                    <a:pt x="5918" y="7724"/>
                    <a:pt x="5916" y="7718"/>
                  </a:cubicBezTo>
                  <a:cubicBezTo>
                    <a:pt x="5962" y="7500"/>
                    <a:pt x="5962" y="7500"/>
                    <a:pt x="5962" y="7500"/>
                  </a:cubicBezTo>
                  <a:cubicBezTo>
                    <a:pt x="6002" y="7460"/>
                    <a:pt x="6002" y="7460"/>
                    <a:pt x="6002" y="7460"/>
                  </a:cubicBezTo>
                  <a:cubicBezTo>
                    <a:pt x="6015" y="7471"/>
                    <a:pt x="6053" y="7503"/>
                    <a:pt x="6092" y="7535"/>
                  </a:cubicBezTo>
                  <a:cubicBezTo>
                    <a:pt x="6137" y="7573"/>
                    <a:pt x="6185" y="7613"/>
                    <a:pt x="6190" y="7618"/>
                  </a:cubicBezTo>
                  <a:cubicBezTo>
                    <a:pt x="6190" y="7618"/>
                    <a:pt x="6190" y="7618"/>
                    <a:pt x="6190" y="7618"/>
                  </a:cubicBezTo>
                  <a:cubicBezTo>
                    <a:pt x="6190" y="7618"/>
                    <a:pt x="6190" y="7618"/>
                    <a:pt x="6191" y="7618"/>
                  </a:cubicBezTo>
                  <a:cubicBezTo>
                    <a:pt x="6196" y="7614"/>
                    <a:pt x="6196" y="7614"/>
                    <a:pt x="6196" y="7614"/>
                  </a:cubicBezTo>
                  <a:cubicBezTo>
                    <a:pt x="6196" y="7614"/>
                    <a:pt x="6196" y="7614"/>
                    <a:pt x="6196" y="7614"/>
                  </a:cubicBezTo>
                  <a:cubicBezTo>
                    <a:pt x="6195" y="7617"/>
                    <a:pt x="6195" y="7617"/>
                    <a:pt x="6195" y="7617"/>
                  </a:cubicBezTo>
                  <a:cubicBezTo>
                    <a:pt x="6189" y="7623"/>
                    <a:pt x="6189" y="7623"/>
                    <a:pt x="6189" y="7623"/>
                  </a:cubicBezTo>
                  <a:lnTo>
                    <a:pt x="6173" y="7795"/>
                  </a:lnTo>
                  <a:close/>
                  <a:moveTo>
                    <a:pt x="6186" y="7809"/>
                  </a:moveTo>
                  <a:cubicBezTo>
                    <a:pt x="6244" y="7814"/>
                    <a:pt x="6244" y="7814"/>
                    <a:pt x="6244" y="7814"/>
                  </a:cubicBezTo>
                  <a:cubicBezTo>
                    <a:pt x="6235" y="7945"/>
                    <a:pt x="6235" y="7945"/>
                    <a:pt x="6235" y="7945"/>
                  </a:cubicBezTo>
                  <a:cubicBezTo>
                    <a:pt x="6173" y="7940"/>
                    <a:pt x="6173" y="7940"/>
                    <a:pt x="6173" y="7940"/>
                  </a:cubicBezTo>
                  <a:lnTo>
                    <a:pt x="6186" y="7809"/>
                  </a:lnTo>
                  <a:close/>
                  <a:moveTo>
                    <a:pt x="5903" y="7720"/>
                  </a:moveTo>
                  <a:cubicBezTo>
                    <a:pt x="5903" y="7720"/>
                    <a:pt x="5908" y="7742"/>
                    <a:pt x="5916" y="7773"/>
                  </a:cubicBezTo>
                  <a:cubicBezTo>
                    <a:pt x="5807" y="7764"/>
                    <a:pt x="5807" y="7764"/>
                    <a:pt x="5807" y="7764"/>
                  </a:cubicBezTo>
                  <a:cubicBezTo>
                    <a:pt x="5793" y="7645"/>
                    <a:pt x="5793" y="7645"/>
                    <a:pt x="5793" y="7645"/>
                  </a:cubicBezTo>
                  <a:cubicBezTo>
                    <a:pt x="5829" y="7432"/>
                    <a:pt x="5829" y="7432"/>
                    <a:pt x="5829" y="7432"/>
                  </a:cubicBezTo>
                  <a:cubicBezTo>
                    <a:pt x="5948" y="7500"/>
                    <a:pt x="5948" y="7500"/>
                    <a:pt x="5948" y="7500"/>
                  </a:cubicBezTo>
                  <a:cubicBezTo>
                    <a:pt x="5902" y="7719"/>
                    <a:pt x="5902" y="7719"/>
                    <a:pt x="5902" y="7719"/>
                  </a:cubicBezTo>
                  <a:lnTo>
                    <a:pt x="5903" y="7720"/>
                  </a:lnTo>
                  <a:close/>
                  <a:moveTo>
                    <a:pt x="5741" y="7001"/>
                  </a:moveTo>
                  <a:cubicBezTo>
                    <a:pt x="5717" y="7142"/>
                    <a:pt x="5717" y="7142"/>
                    <a:pt x="5717" y="7142"/>
                  </a:cubicBezTo>
                  <a:cubicBezTo>
                    <a:pt x="5703" y="7140"/>
                    <a:pt x="5687" y="7139"/>
                    <a:pt x="5670" y="7137"/>
                  </a:cubicBezTo>
                  <a:cubicBezTo>
                    <a:pt x="5609" y="7130"/>
                    <a:pt x="5527" y="7121"/>
                    <a:pt x="5444" y="7112"/>
                  </a:cubicBezTo>
                  <a:cubicBezTo>
                    <a:pt x="5279" y="7095"/>
                    <a:pt x="5113" y="7077"/>
                    <a:pt x="5103" y="7077"/>
                  </a:cubicBezTo>
                  <a:cubicBezTo>
                    <a:pt x="5103" y="7077"/>
                    <a:pt x="5103" y="7077"/>
                    <a:pt x="5103" y="7077"/>
                  </a:cubicBezTo>
                  <a:cubicBezTo>
                    <a:pt x="5103" y="7077"/>
                    <a:pt x="5102" y="7077"/>
                    <a:pt x="5102" y="7077"/>
                  </a:cubicBezTo>
                  <a:cubicBezTo>
                    <a:pt x="5100" y="7006"/>
                    <a:pt x="5098" y="6937"/>
                    <a:pt x="5095" y="6916"/>
                  </a:cubicBezTo>
                  <a:cubicBezTo>
                    <a:pt x="5095" y="6913"/>
                    <a:pt x="5095" y="6912"/>
                    <a:pt x="5094" y="6910"/>
                  </a:cubicBezTo>
                  <a:cubicBezTo>
                    <a:pt x="5094" y="6901"/>
                    <a:pt x="5112" y="6849"/>
                    <a:pt x="5130" y="6802"/>
                  </a:cubicBezTo>
                  <a:cubicBezTo>
                    <a:pt x="5146" y="6762"/>
                    <a:pt x="5161" y="6723"/>
                    <a:pt x="5166" y="6712"/>
                  </a:cubicBezTo>
                  <a:cubicBezTo>
                    <a:pt x="5212" y="6704"/>
                    <a:pt x="5212" y="6704"/>
                    <a:pt x="5212" y="6704"/>
                  </a:cubicBezTo>
                  <a:cubicBezTo>
                    <a:pt x="5773" y="6818"/>
                    <a:pt x="5773" y="6818"/>
                    <a:pt x="5773" y="6818"/>
                  </a:cubicBezTo>
                  <a:cubicBezTo>
                    <a:pt x="5743" y="6988"/>
                    <a:pt x="5743" y="6988"/>
                    <a:pt x="5743" y="6988"/>
                  </a:cubicBezTo>
                  <a:cubicBezTo>
                    <a:pt x="5123" y="6825"/>
                    <a:pt x="5123" y="6825"/>
                    <a:pt x="5123" y="6825"/>
                  </a:cubicBezTo>
                  <a:cubicBezTo>
                    <a:pt x="5119" y="6838"/>
                    <a:pt x="5119" y="6838"/>
                    <a:pt x="5119" y="6838"/>
                  </a:cubicBezTo>
                  <a:lnTo>
                    <a:pt x="5741" y="7001"/>
                  </a:lnTo>
                  <a:close/>
                  <a:moveTo>
                    <a:pt x="5107" y="7079"/>
                  </a:moveTo>
                  <a:cubicBezTo>
                    <a:pt x="5103" y="7084"/>
                    <a:pt x="5103" y="7084"/>
                    <a:pt x="5103" y="7084"/>
                  </a:cubicBezTo>
                  <a:cubicBezTo>
                    <a:pt x="5103" y="7084"/>
                    <a:pt x="5103" y="7084"/>
                    <a:pt x="5103" y="7084"/>
                  </a:cubicBezTo>
                  <a:lnTo>
                    <a:pt x="5107" y="7079"/>
                  </a:lnTo>
                  <a:close/>
                  <a:moveTo>
                    <a:pt x="5081" y="6915"/>
                  </a:moveTo>
                  <a:cubicBezTo>
                    <a:pt x="5081" y="6915"/>
                    <a:pt x="5081" y="6915"/>
                    <a:pt x="5081" y="6915"/>
                  </a:cubicBezTo>
                  <a:cubicBezTo>
                    <a:pt x="5081" y="6915"/>
                    <a:pt x="5081" y="6915"/>
                    <a:pt x="5081" y="6915"/>
                  </a:cubicBezTo>
                  <a:cubicBezTo>
                    <a:pt x="5081" y="6916"/>
                    <a:pt x="5081" y="6917"/>
                    <a:pt x="5081" y="6918"/>
                  </a:cubicBezTo>
                  <a:cubicBezTo>
                    <a:pt x="5082" y="6921"/>
                    <a:pt x="5082" y="6925"/>
                    <a:pt x="5082" y="6930"/>
                  </a:cubicBezTo>
                  <a:cubicBezTo>
                    <a:pt x="5083" y="6940"/>
                    <a:pt x="5084" y="6953"/>
                    <a:pt x="5085" y="6969"/>
                  </a:cubicBezTo>
                  <a:cubicBezTo>
                    <a:pt x="5086" y="7002"/>
                    <a:pt x="5087" y="7044"/>
                    <a:pt x="5089" y="7086"/>
                  </a:cubicBezTo>
                  <a:cubicBezTo>
                    <a:pt x="5090" y="7142"/>
                    <a:pt x="5091" y="7197"/>
                    <a:pt x="5092" y="7228"/>
                  </a:cubicBezTo>
                  <a:cubicBezTo>
                    <a:pt x="4722" y="7154"/>
                    <a:pt x="4722" y="7154"/>
                    <a:pt x="4722" y="7154"/>
                  </a:cubicBezTo>
                  <a:cubicBezTo>
                    <a:pt x="4809" y="6685"/>
                    <a:pt x="4809" y="6685"/>
                    <a:pt x="4809" y="6685"/>
                  </a:cubicBezTo>
                  <a:cubicBezTo>
                    <a:pt x="5132" y="6755"/>
                    <a:pt x="5132" y="6755"/>
                    <a:pt x="5132" y="6755"/>
                  </a:cubicBezTo>
                  <a:cubicBezTo>
                    <a:pt x="5135" y="6742"/>
                    <a:pt x="5135" y="6742"/>
                    <a:pt x="5135" y="6742"/>
                  </a:cubicBezTo>
                  <a:cubicBezTo>
                    <a:pt x="4811" y="6671"/>
                    <a:pt x="4811" y="6671"/>
                    <a:pt x="4811" y="6671"/>
                  </a:cubicBezTo>
                  <a:cubicBezTo>
                    <a:pt x="4861" y="6404"/>
                    <a:pt x="4861" y="6404"/>
                    <a:pt x="4861" y="6404"/>
                  </a:cubicBezTo>
                  <a:cubicBezTo>
                    <a:pt x="5244" y="6456"/>
                    <a:pt x="5244" y="6456"/>
                    <a:pt x="5244" y="6456"/>
                  </a:cubicBezTo>
                  <a:cubicBezTo>
                    <a:pt x="5234" y="6563"/>
                    <a:pt x="5225" y="6659"/>
                    <a:pt x="5221" y="6688"/>
                  </a:cubicBezTo>
                  <a:cubicBezTo>
                    <a:pt x="5156" y="6699"/>
                    <a:pt x="5156" y="6699"/>
                    <a:pt x="5156" y="6699"/>
                  </a:cubicBezTo>
                  <a:cubicBezTo>
                    <a:pt x="5155" y="6703"/>
                    <a:pt x="5155" y="6703"/>
                    <a:pt x="5155" y="6703"/>
                  </a:cubicBezTo>
                  <a:cubicBezTo>
                    <a:pt x="5155" y="6703"/>
                    <a:pt x="5136" y="6749"/>
                    <a:pt x="5117" y="6797"/>
                  </a:cubicBezTo>
                  <a:cubicBezTo>
                    <a:pt x="5099" y="6846"/>
                    <a:pt x="5080" y="6895"/>
                    <a:pt x="5080" y="6910"/>
                  </a:cubicBezTo>
                  <a:cubicBezTo>
                    <a:pt x="5080" y="6911"/>
                    <a:pt x="5080" y="6913"/>
                    <a:pt x="5081" y="6915"/>
                  </a:cubicBezTo>
                  <a:close/>
                  <a:moveTo>
                    <a:pt x="5264" y="6382"/>
                  </a:moveTo>
                  <a:cubicBezTo>
                    <a:pt x="5267" y="6347"/>
                    <a:pt x="5270" y="6311"/>
                    <a:pt x="5273" y="6278"/>
                  </a:cubicBezTo>
                  <a:cubicBezTo>
                    <a:pt x="5385" y="6297"/>
                    <a:pt x="5385" y="6297"/>
                    <a:pt x="5385" y="6297"/>
                  </a:cubicBezTo>
                  <a:cubicBezTo>
                    <a:pt x="5384" y="6305"/>
                    <a:pt x="5383" y="6312"/>
                    <a:pt x="5382" y="6318"/>
                  </a:cubicBezTo>
                  <a:cubicBezTo>
                    <a:pt x="5379" y="6334"/>
                    <a:pt x="5376" y="6348"/>
                    <a:pt x="5374" y="6356"/>
                  </a:cubicBezTo>
                  <a:cubicBezTo>
                    <a:pt x="5270" y="6338"/>
                    <a:pt x="5270" y="6338"/>
                    <a:pt x="5270" y="6338"/>
                  </a:cubicBezTo>
                  <a:cubicBezTo>
                    <a:pt x="5268" y="6352"/>
                    <a:pt x="5268" y="6352"/>
                    <a:pt x="5268" y="6352"/>
                  </a:cubicBezTo>
                  <a:cubicBezTo>
                    <a:pt x="5376" y="6370"/>
                    <a:pt x="5376" y="6370"/>
                    <a:pt x="5376" y="6370"/>
                  </a:cubicBezTo>
                  <a:cubicBezTo>
                    <a:pt x="5375" y="6373"/>
                    <a:pt x="5375" y="6373"/>
                    <a:pt x="5375" y="6373"/>
                  </a:cubicBezTo>
                  <a:cubicBezTo>
                    <a:pt x="5376" y="6374"/>
                    <a:pt x="5376" y="6374"/>
                    <a:pt x="5377" y="6374"/>
                  </a:cubicBezTo>
                  <a:cubicBezTo>
                    <a:pt x="5377" y="6374"/>
                    <a:pt x="5377" y="6374"/>
                    <a:pt x="5377" y="6374"/>
                  </a:cubicBezTo>
                  <a:cubicBezTo>
                    <a:pt x="5380" y="6373"/>
                    <a:pt x="5381" y="6372"/>
                    <a:pt x="5382" y="6371"/>
                  </a:cubicBezTo>
                  <a:cubicBezTo>
                    <a:pt x="5496" y="6390"/>
                    <a:pt x="5496" y="6390"/>
                    <a:pt x="5496" y="6390"/>
                  </a:cubicBezTo>
                  <a:cubicBezTo>
                    <a:pt x="5495" y="6395"/>
                    <a:pt x="5495" y="6395"/>
                    <a:pt x="5495" y="6395"/>
                  </a:cubicBezTo>
                  <a:cubicBezTo>
                    <a:pt x="5496" y="6395"/>
                    <a:pt x="5497" y="6395"/>
                    <a:pt x="5497" y="6395"/>
                  </a:cubicBezTo>
                  <a:cubicBezTo>
                    <a:pt x="5501" y="6394"/>
                    <a:pt x="5503" y="6393"/>
                    <a:pt x="5504" y="6392"/>
                  </a:cubicBezTo>
                  <a:cubicBezTo>
                    <a:pt x="5613" y="6410"/>
                    <a:pt x="5613" y="6410"/>
                    <a:pt x="5613" y="6410"/>
                  </a:cubicBezTo>
                  <a:cubicBezTo>
                    <a:pt x="5612" y="6414"/>
                    <a:pt x="5612" y="6414"/>
                    <a:pt x="5612" y="6414"/>
                  </a:cubicBezTo>
                  <a:cubicBezTo>
                    <a:pt x="5613" y="6414"/>
                    <a:pt x="5613" y="6414"/>
                    <a:pt x="5614" y="6414"/>
                  </a:cubicBezTo>
                  <a:cubicBezTo>
                    <a:pt x="5614" y="6414"/>
                    <a:pt x="5614" y="6414"/>
                    <a:pt x="5614" y="6414"/>
                  </a:cubicBezTo>
                  <a:cubicBezTo>
                    <a:pt x="5617" y="6413"/>
                    <a:pt x="5619" y="6412"/>
                    <a:pt x="5620" y="6411"/>
                  </a:cubicBezTo>
                  <a:cubicBezTo>
                    <a:pt x="5837" y="6447"/>
                    <a:pt x="5837" y="6447"/>
                    <a:pt x="5837" y="6447"/>
                  </a:cubicBezTo>
                  <a:cubicBezTo>
                    <a:pt x="5810" y="6606"/>
                    <a:pt x="5810" y="6606"/>
                    <a:pt x="5810" y="6606"/>
                  </a:cubicBezTo>
                  <a:cubicBezTo>
                    <a:pt x="5251" y="6524"/>
                    <a:pt x="5251" y="6524"/>
                    <a:pt x="5251" y="6524"/>
                  </a:cubicBezTo>
                  <a:cubicBezTo>
                    <a:pt x="5256" y="6479"/>
                    <a:pt x="5260" y="6431"/>
                    <a:pt x="5264" y="6382"/>
                  </a:cubicBezTo>
                  <a:close/>
                  <a:moveTo>
                    <a:pt x="5261" y="6262"/>
                  </a:moveTo>
                  <a:cubicBezTo>
                    <a:pt x="4878" y="6195"/>
                    <a:pt x="4878" y="6195"/>
                    <a:pt x="4878" y="6195"/>
                  </a:cubicBezTo>
                  <a:cubicBezTo>
                    <a:pt x="4900" y="6065"/>
                    <a:pt x="4900" y="6065"/>
                    <a:pt x="4900" y="6065"/>
                  </a:cubicBezTo>
                  <a:cubicBezTo>
                    <a:pt x="5272" y="6131"/>
                    <a:pt x="5272" y="6131"/>
                    <a:pt x="5272" y="6131"/>
                  </a:cubicBezTo>
                  <a:cubicBezTo>
                    <a:pt x="5269" y="6166"/>
                    <a:pt x="5265" y="6211"/>
                    <a:pt x="5261" y="6262"/>
                  </a:cubicBezTo>
                  <a:close/>
                  <a:moveTo>
                    <a:pt x="5388" y="6358"/>
                  </a:moveTo>
                  <a:cubicBezTo>
                    <a:pt x="5388" y="6358"/>
                    <a:pt x="5388" y="6358"/>
                    <a:pt x="5388" y="6357"/>
                  </a:cubicBezTo>
                  <a:cubicBezTo>
                    <a:pt x="5390" y="6350"/>
                    <a:pt x="5392" y="6340"/>
                    <a:pt x="5394" y="6328"/>
                  </a:cubicBezTo>
                  <a:cubicBezTo>
                    <a:pt x="5396" y="6319"/>
                    <a:pt x="5398" y="6310"/>
                    <a:pt x="5399" y="6300"/>
                  </a:cubicBezTo>
                  <a:cubicBezTo>
                    <a:pt x="5506" y="6319"/>
                    <a:pt x="5506" y="6319"/>
                    <a:pt x="5506" y="6319"/>
                  </a:cubicBezTo>
                  <a:cubicBezTo>
                    <a:pt x="5504" y="6326"/>
                    <a:pt x="5503" y="6333"/>
                    <a:pt x="5502" y="6340"/>
                  </a:cubicBezTo>
                  <a:cubicBezTo>
                    <a:pt x="5499" y="6355"/>
                    <a:pt x="5497" y="6368"/>
                    <a:pt x="5494" y="6376"/>
                  </a:cubicBezTo>
                  <a:lnTo>
                    <a:pt x="5388" y="6358"/>
                  </a:lnTo>
                  <a:close/>
                  <a:moveTo>
                    <a:pt x="5508" y="6378"/>
                  </a:moveTo>
                  <a:cubicBezTo>
                    <a:pt x="5510" y="6371"/>
                    <a:pt x="5512" y="6361"/>
                    <a:pt x="5514" y="6349"/>
                  </a:cubicBezTo>
                  <a:cubicBezTo>
                    <a:pt x="5516" y="6341"/>
                    <a:pt x="5518" y="6331"/>
                    <a:pt x="5519" y="6321"/>
                  </a:cubicBezTo>
                  <a:cubicBezTo>
                    <a:pt x="5622" y="6339"/>
                    <a:pt x="5622" y="6339"/>
                    <a:pt x="5622" y="6339"/>
                  </a:cubicBezTo>
                  <a:cubicBezTo>
                    <a:pt x="5621" y="6346"/>
                    <a:pt x="5620" y="6352"/>
                    <a:pt x="5619" y="6358"/>
                  </a:cubicBezTo>
                  <a:cubicBezTo>
                    <a:pt x="5616" y="6374"/>
                    <a:pt x="5613" y="6388"/>
                    <a:pt x="5611" y="6396"/>
                  </a:cubicBezTo>
                  <a:lnTo>
                    <a:pt x="5508" y="6378"/>
                  </a:lnTo>
                  <a:close/>
                  <a:moveTo>
                    <a:pt x="5731" y="6416"/>
                  </a:moveTo>
                  <a:cubicBezTo>
                    <a:pt x="5625" y="6398"/>
                    <a:pt x="5625" y="6398"/>
                    <a:pt x="5625" y="6398"/>
                  </a:cubicBezTo>
                  <a:cubicBezTo>
                    <a:pt x="5625" y="6398"/>
                    <a:pt x="5625" y="6398"/>
                    <a:pt x="5625" y="6397"/>
                  </a:cubicBezTo>
                  <a:cubicBezTo>
                    <a:pt x="5627" y="6390"/>
                    <a:pt x="5629" y="6380"/>
                    <a:pt x="5631" y="6368"/>
                  </a:cubicBezTo>
                  <a:cubicBezTo>
                    <a:pt x="5633" y="6360"/>
                    <a:pt x="5634" y="6351"/>
                    <a:pt x="5636" y="6342"/>
                  </a:cubicBezTo>
                  <a:cubicBezTo>
                    <a:pt x="5741" y="6360"/>
                    <a:pt x="5741" y="6360"/>
                    <a:pt x="5741" y="6360"/>
                  </a:cubicBezTo>
                  <a:cubicBezTo>
                    <a:pt x="5740" y="6364"/>
                    <a:pt x="5740" y="6367"/>
                    <a:pt x="5739" y="6370"/>
                  </a:cubicBezTo>
                  <a:cubicBezTo>
                    <a:pt x="5735" y="6394"/>
                    <a:pt x="5730" y="6412"/>
                    <a:pt x="5729" y="6414"/>
                  </a:cubicBezTo>
                  <a:cubicBezTo>
                    <a:pt x="5729" y="6414"/>
                    <a:pt x="5729" y="6414"/>
                    <a:pt x="5729" y="6414"/>
                  </a:cubicBezTo>
                  <a:cubicBezTo>
                    <a:pt x="5729" y="6414"/>
                    <a:pt x="5729" y="6414"/>
                    <a:pt x="5729" y="6414"/>
                  </a:cubicBezTo>
                  <a:lnTo>
                    <a:pt x="5731" y="6416"/>
                  </a:lnTo>
                  <a:close/>
                  <a:moveTo>
                    <a:pt x="6419" y="7115"/>
                  </a:moveTo>
                  <a:cubicBezTo>
                    <a:pt x="6418" y="7121"/>
                    <a:pt x="6418" y="7121"/>
                    <a:pt x="6418" y="7121"/>
                  </a:cubicBezTo>
                  <a:cubicBezTo>
                    <a:pt x="6413" y="7121"/>
                    <a:pt x="6413" y="7121"/>
                    <a:pt x="6413" y="7121"/>
                  </a:cubicBezTo>
                  <a:cubicBezTo>
                    <a:pt x="6098" y="7022"/>
                    <a:pt x="6098" y="7022"/>
                    <a:pt x="6098" y="7022"/>
                  </a:cubicBezTo>
                  <a:cubicBezTo>
                    <a:pt x="5808" y="6996"/>
                    <a:pt x="5808" y="6996"/>
                    <a:pt x="5808" y="6996"/>
                  </a:cubicBezTo>
                  <a:cubicBezTo>
                    <a:pt x="5836" y="6832"/>
                    <a:pt x="5836" y="6832"/>
                    <a:pt x="5836" y="6832"/>
                  </a:cubicBezTo>
                  <a:cubicBezTo>
                    <a:pt x="5918" y="6847"/>
                    <a:pt x="6323" y="6919"/>
                    <a:pt x="6340" y="6919"/>
                  </a:cubicBezTo>
                  <a:cubicBezTo>
                    <a:pt x="6340" y="6919"/>
                    <a:pt x="6341" y="6919"/>
                    <a:pt x="6341" y="6919"/>
                  </a:cubicBezTo>
                  <a:cubicBezTo>
                    <a:pt x="6341" y="6919"/>
                    <a:pt x="6341" y="6919"/>
                    <a:pt x="6341" y="6919"/>
                  </a:cubicBezTo>
                  <a:cubicBezTo>
                    <a:pt x="6343" y="6919"/>
                    <a:pt x="6348" y="6919"/>
                    <a:pt x="6356" y="6920"/>
                  </a:cubicBezTo>
                  <a:cubicBezTo>
                    <a:pt x="6355" y="6924"/>
                    <a:pt x="6355" y="6924"/>
                    <a:pt x="6355" y="6924"/>
                  </a:cubicBezTo>
                  <a:lnTo>
                    <a:pt x="6419" y="7115"/>
                  </a:lnTo>
                  <a:close/>
                  <a:moveTo>
                    <a:pt x="6471" y="6339"/>
                  </a:moveTo>
                  <a:cubicBezTo>
                    <a:pt x="6466" y="6399"/>
                    <a:pt x="6466" y="6399"/>
                    <a:pt x="6466" y="6399"/>
                  </a:cubicBezTo>
                  <a:cubicBezTo>
                    <a:pt x="6370" y="6392"/>
                    <a:pt x="6370" y="6392"/>
                    <a:pt x="6370" y="6392"/>
                  </a:cubicBezTo>
                  <a:cubicBezTo>
                    <a:pt x="6375" y="6289"/>
                    <a:pt x="6375" y="6289"/>
                    <a:pt x="6375" y="6289"/>
                  </a:cubicBezTo>
                  <a:cubicBezTo>
                    <a:pt x="6428" y="6293"/>
                    <a:pt x="6428" y="6293"/>
                    <a:pt x="6428" y="6293"/>
                  </a:cubicBezTo>
                  <a:cubicBezTo>
                    <a:pt x="6424" y="6336"/>
                    <a:pt x="6424" y="6336"/>
                    <a:pt x="6424" y="6336"/>
                  </a:cubicBezTo>
                  <a:lnTo>
                    <a:pt x="6471" y="6339"/>
                  </a:lnTo>
                  <a:close/>
                  <a:moveTo>
                    <a:pt x="6478" y="6413"/>
                  </a:moveTo>
                  <a:cubicBezTo>
                    <a:pt x="6485" y="6327"/>
                    <a:pt x="6485" y="6327"/>
                    <a:pt x="6485" y="6327"/>
                  </a:cubicBezTo>
                  <a:cubicBezTo>
                    <a:pt x="6438" y="6324"/>
                    <a:pt x="6438" y="6324"/>
                    <a:pt x="6438" y="6324"/>
                  </a:cubicBezTo>
                  <a:cubicBezTo>
                    <a:pt x="6442" y="6281"/>
                    <a:pt x="6442" y="6281"/>
                    <a:pt x="6442" y="6281"/>
                  </a:cubicBezTo>
                  <a:cubicBezTo>
                    <a:pt x="6376" y="6276"/>
                    <a:pt x="6376" y="6276"/>
                    <a:pt x="6376" y="6276"/>
                  </a:cubicBezTo>
                  <a:cubicBezTo>
                    <a:pt x="6376" y="6261"/>
                    <a:pt x="6376" y="6261"/>
                    <a:pt x="6376" y="6261"/>
                  </a:cubicBezTo>
                  <a:cubicBezTo>
                    <a:pt x="6529" y="6279"/>
                    <a:pt x="6529" y="6279"/>
                    <a:pt x="6529" y="6279"/>
                  </a:cubicBezTo>
                  <a:cubicBezTo>
                    <a:pt x="6499" y="6544"/>
                    <a:pt x="6499" y="6544"/>
                    <a:pt x="6499" y="6544"/>
                  </a:cubicBezTo>
                  <a:cubicBezTo>
                    <a:pt x="6363" y="6530"/>
                    <a:pt x="6363" y="6530"/>
                    <a:pt x="6363" y="6530"/>
                  </a:cubicBezTo>
                  <a:cubicBezTo>
                    <a:pt x="6369" y="6405"/>
                    <a:pt x="6369" y="6405"/>
                    <a:pt x="6369" y="6405"/>
                  </a:cubicBezTo>
                  <a:lnTo>
                    <a:pt x="6478" y="6413"/>
                  </a:lnTo>
                  <a:close/>
                  <a:moveTo>
                    <a:pt x="6793" y="6375"/>
                  </a:moveTo>
                  <a:cubicBezTo>
                    <a:pt x="6788" y="6435"/>
                    <a:pt x="6788" y="6435"/>
                    <a:pt x="6788" y="6435"/>
                  </a:cubicBezTo>
                  <a:cubicBezTo>
                    <a:pt x="6697" y="6427"/>
                    <a:pt x="6697" y="6427"/>
                    <a:pt x="6697" y="6427"/>
                  </a:cubicBezTo>
                  <a:cubicBezTo>
                    <a:pt x="6710" y="6325"/>
                    <a:pt x="6710" y="6325"/>
                    <a:pt x="6710" y="6325"/>
                  </a:cubicBezTo>
                  <a:cubicBezTo>
                    <a:pt x="6750" y="6328"/>
                    <a:pt x="6750" y="6328"/>
                    <a:pt x="6750" y="6328"/>
                  </a:cubicBezTo>
                  <a:cubicBezTo>
                    <a:pt x="6746" y="6371"/>
                    <a:pt x="6746" y="6371"/>
                    <a:pt x="6746" y="6371"/>
                  </a:cubicBezTo>
                  <a:lnTo>
                    <a:pt x="6793" y="6375"/>
                  </a:lnTo>
                  <a:close/>
                  <a:moveTo>
                    <a:pt x="6698" y="6311"/>
                  </a:moveTo>
                  <a:cubicBezTo>
                    <a:pt x="6647" y="6307"/>
                    <a:pt x="6647" y="6307"/>
                    <a:pt x="6647" y="6307"/>
                  </a:cubicBezTo>
                  <a:cubicBezTo>
                    <a:pt x="6644" y="6350"/>
                    <a:pt x="6644" y="6350"/>
                    <a:pt x="6644" y="6350"/>
                  </a:cubicBezTo>
                  <a:cubicBezTo>
                    <a:pt x="6597" y="6346"/>
                    <a:pt x="6597" y="6346"/>
                    <a:pt x="6597" y="6346"/>
                  </a:cubicBezTo>
                  <a:cubicBezTo>
                    <a:pt x="6591" y="6426"/>
                    <a:pt x="6591" y="6426"/>
                    <a:pt x="6591" y="6426"/>
                  </a:cubicBezTo>
                  <a:cubicBezTo>
                    <a:pt x="6590" y="6432"/>
                    <a:pt x="6590" y="6432"/>
                    <a:pt x="6590" y="6432"/>
                  </a:cubicBezTo>
                  <a:cubicBezTo>
                    <a:pt x="6681" y="6439"/>
                    <a:pt x="6681" y="6439"/>
                    <a:pt x="6681" y="6439"/>
                  </a:cubicBezTo>
                  <a:cubicBezTo>
                    <a:pt x="6675" y="6483"/>
                    <a:pt x="6675" y="6483"/>
                    <a:pt x="6675" y="6483"/>
                  </a:cubicBezTo>
                  <a:cubicBezTo>
                    <a:pt x="6689" y="6485"/>
                    <a:pt x="6689" y="6485"/>
                    <a:pt x="6689" y="6485"/>
                  </a:cubicBezTo>
                  <a:cubicBezTo>
                    <a:pt x="6695" y="6440"/>
                    <a:pt x="6695" y="6440"/>
                    <a:pt x="6695" y="6440"/>
                  </a:cubicBezTo>
                  <a:cubicBezTo>
                    <a:pt x="6800" y="6449"/>
                    <a:pt x="6800" y="6449"/>
                    <a:pt x="6800" y="6449"/>
                  </a:cubicBezTo>
                  <a:cubicBezTo>
                    <a:pt x="6807" y="6363"/>
                    <a:pt x="6807" y="6363"/>
                    <a:pt x="6807" y="6363"/>
                  </a:cubicBezTo>
                  <a:cubicBezTo>
                    <a:pt x="6760" y="6359"/>
                    <a:pt x="6760" y="6359"/>
                    <a:pt x="6760" y="6359"/>
                  </a:cubicBezTo>
                  <a:cubicBezTo>
                    <a:pt x="6764" y="6316"/>
                    <a:pt x="6764" y="6316"/>
                    <a:pt x="6764" y="6316"/>
                  </a:cubicBezTo>
                  <a:cubicBezTo>
                    <a:pt x="6712" y="6312"/>
                    <a:pt x="6712" y="6312"/>
                    <a:pt x="6712" y="6312"/>
                  </a:cubicBezTo>
                  <a:cubicBezTo>
                    <a:pt x="6714" y="6301"/>
                    <a:pt x="6714" y="6301"/>
                    <a:pt x="6714" y="6301"/>
                  </a:cubicBezTo>
                  <a:cubicBezTo>
                    <a:pt x="6857" y="6318"/>
                    <a:pt x="6857" y="6318"/>
                    <a:pt x="6857" y="6318"/>
                  </a:cubicBezTo>
                  <a:cubicBezTo>
                    <a:pt x="6853" y="6336"/>
                    <a:pt x="6848" y="6363"/>
                    <a:pt x="6843" y="6391"/>
                  </a:cubicBezTo>
                  <a:cubicBezTo>
                    <a:pt x="6834" y="6439"/>
                    <a:pt x="6822" y="6491"/>
                    <a:pt x="6817" y="6500"/>
                  </a:cubicBezTo>
                  <a:cubicBezTo>
                    <a:pt x="6817" y="6500"/>
                    <a:pt x="6817" y="6500"/>
                    <a:pt x="6817" y="6500"/>
                  </a:cubicBezTo>
                  <a:cubicBezTo>
                    <a:pt x="6821" y="6504"/>
                    <a:pt x="6821" y="6504"/>
                    <a:pt x="6821" y="6504"/>
                  </a:cubicBezTo>
                  <a:cubicBezTo>
                    <a:pt x="6821" y="6498"/>
                    <a:pt x="6821" y="6498"/>
                    <a:pt x="6821" y="6498"/>
                  </a:cubicBezTo>
                  <a:cubicBezTo>
                    <a:pt x="6821" y="6505"/>
                    <a:pt x="6821" y="6505"/>
                    <a:pt x="6821" y="6505"/>
                  </a:cubicBezTo>
                  <a:cubicBezTo>
                    <a:pt x="6818" y="6510"/>
                    <a:pt x="6818" y="6510"/>
                    <a:pt x="6818" y="6510"/>
                  </a:cubicBezTo>
                  <a:cubicBezTo>
                    <a:pt x="6816" y="6509"/>
                    <a:pt x="6814" y="6509"/>
                    <a:pt x="6811" y="6509"/>
                  </a:cubicBezTo>
                  <a:cubicBezTo>
                    <a:pt x="6685" y="6489"/>
                    <a:pt x="6559" y="6469"/>
                    <a:pt x="6522" y="6463"/>
                  </a:cubicBezTo>
                  <a:cubicBezTo>
                    <a:pt x="6543" y="6280"/>
                    <a:pt x="6543" y="6280"/>
                    <a:pt x="6543" y="6280"/>
                  </a:cubicBezTo>
                  <a:cubicBezTo>
                    <a:pt x="6700" y="6299"/>
                    <a:pt x="6700" y="6299"/>
                    <a:pt x="6700" y="6299"/>
                  </a:cubicBezTo>
                  <a:lnTo>
                    <a:pt x="6698" y="6311"/>
                  </a:lnTo>
                  <a:close/>
                  <a:moveTo>
                    <a:pt x="6696" y="6324"/>
                  </a:moveTo>
                  <a:cubicBezTo>
                    <a:pt x="6683" y="6426"/>
                    <a:pt x="6683" y="6426"/>
                    <a:pt x="6683" y="6426"/>
                  </a:cubicBezTo>
                  <a:cubicBezTo>
                    <a:pt x="6605" y="6420"/>
                    <a:pt x="6605" y="6420"/>
                    <a:pt x="6605" y="6420"/>
                  </a:cubicBezTo>
                  <a:cubicBezTo>
                    <a:pt x="6609" y="6360"/>
                    <a:pt x="6609" y="6360"/>
                    <a:pt x="6609" y="6360"/>
                  </a:cubicBezTo>
                  <a:cubicBezTo>
                    <a:pt x="6656" y="6364"/>
                    <a:pt x="6656" y="6364"/>
                    <a:pt x="6656" y="6364"/>
                  </a:cubicBezTo>
                  <a:cubicBezTo>
                    <a:pt x="6659" y="6321"/>
                    <a:pt x="6659" y="6321"/>
                    <a:pt x="6659" y="6321"/>
                  </a:cubicBezTo>
                  <a:lnTo>
                    <a:pt x="6696" y="6324"/>
                  </a:lnTo>
                  <a:close/>
                  <a:moveTo>
                    <a:pt x="7205" y="7110"/>
                  </a:moveTo>
                  <a:cubicBezTo>
                    <a:pt x="7205" y="7110"/>
                    <a:pt x="7207" y="7131"/>
                    <a:pt x="7210" y="7160"/>
                  </a:cubicBezTo>
                  <a:cubicBezTo>
                    <a:pt x="7076" y="7141"/>
                    <a:pt x="7076" y="7141"/>
                    <a:pt x="7076" y="7141"/>
                  </a:cubicBezTo>
                  <a:cubicBezTo>
                    <a:pt x="7106" y="6940"/>
                    <a:pt x="7106" y="6940"/>
                    <a:pt x="7106" y="6940"/>
                  </a:cubicBezTo>
                  <a:cubicBezTo>
                    <a:pt x="7180" y="6954"/>
                    <a:pt x="7367" y="6988"/>
                    <a:pt x="7412" y="6997"/>
                  </a:cubicBezTo>
                  <a:cubicBezTo>
                    <a:pt x="7350" y="7084"/>
                    <a:pt x="7350" y="7084"/>
                    <a:pt x="7350" y="7084"/>
                  </a:cubicBezTo>
                  <a:cubicBezTo>
                    <a:pt x="7204" y="7103"/>
                    <a:pt x="7204" y="7103"/>
                    <a:pt x="7204" y="7103"/>
                  </a:cubicBezTo>
                  <a:lnTo>
                    <a:pt x="7205" y="7110"/>
                  </a:lnTo>
                  <a:close/>
                  <a:moveTo>
                    <a:pt x="7072" y="6713"/>
                  </a:moveTo>
                  <a:cubicBezTo>
                    <a:pt x="7012" y="6703"/>
                    <a:pt x="7012" y="6703"/>
                    <a:pt x="7012" y="6703"/>
                  </a:cubicBezTo>
                  <a:cubicBezTo>
                    <a:pt x="7021" y="6654"/>
                    <a:pt x="7021" y="6654"/>
                    <a:pt x="7021" y="6654"/>
                  </a:cubicBezTo>
                  <a:cubicBezTo>
                    <a:pt x="7022" y="6647"/>
                    <a:pt x="7022" y="6647"/>
                    <a:pt x="7022" y="6647"/>
                  </a:cubicBezTo>
                  <a:cubicBezTo>
                    <a:pt x="6866" y="6621"/>
                    <a:pt x="6866" y="6621"/>
                    <a:pt x="6866" y="6621"/>
                  </a:cubicBezTo>
                  <a:cubicBezTo>
                    <a:pt x="6856" y="6677"/>
                    <a:pt x="6856" y="6677"/>
                    <a:pt x="6856" y="6677"/>
                  </a:cubicBezTo>
                  <a:cubicBezTo>
                    <a:pt x="6504" y="6618"/>
                    <a:pt x="6504" y="6618"/>
                    <a:pt x="6504" y="6618"/>
                  </a:cubicBezTo>
                  <a:cubicBezTo>
                    <a:pt x="6520" y="6477"/>
                    <a:pt x="6520" y="6477"/>
                    <a:pt x="6520" y="6477"/>
                  </a:cubicBezTo>
                  <a:cubicBezTo>
                    <a:pt x="6594" y="6489"/>
                    <a:pt x="7008" y="6553"/>
                    <a:pt x="7094" y="6568"/>
                  </a:cubicBezTo>
                  <a:lnTo>
                    <a:pt x="7072" y="6713"/>
                  </a:lnTo>
                  <a:close/>
                  <a:moveTo>
                    <a:pt x="6816" y="6973"/>
                  </a:moveTo>
                  <a:cubicBezTo>
                    <a:pt x="6840" y="6841"/>
                    <a:pt x="6840" y="6841"/>
                    <a:pt x="6840" y="6841"/>
                  </a:cubicBezTo>
                  <a:cubicBezTo>
                    <a:pt x="6969" y="6862"/>
                    <a:pt x="6969" y="6862"/>
                    <a:pt x="6969" y="6862"/>
                  </a:cubicBezTo>
                  <a:cubicBezTo>
                    <a:pt x="6945" y="6992"/>
                    <a:pt x="6945" y="6992"/>
                    <a:pt x="6945" y="6992"/>
                  </a:cubicBezTo>
                  <a:cubicBezTo>
                    <a:pt x="6908" y="6987"/>
                    <a:pt x="6863" y="6980"/>
                    <a:pt x="6816" y="6973"/>
                  </a:cubicBezTo>
                  <a:close/>
                  <a:moveTo>
                    <a:pt x="6943" y="7006"/>
                  </a:moveTo>
                  <a:cubicBezTo>
                    <a:pt x="6910" y="7185"/>
                    <a:pt x="6910" y="7185"/>
                    <a:pt x="6910" y="7185"/>
                  </a:cubicBezTo>
                  <a:cubicBezTo>
                    <a:pt x="6780" y="7168"/>
                    <a:pt x="6780" y="7168"/>
                    <a:pt x="6780" y="7168"/>
                  </a:cubicBezTo>
                  <a:cubicBezTo>
                    <a:pt x="6813" y="6987"/>
                    <a:pt x="6813" y="6987"/>
                    <a:pt x="6813" y="6987"/>
                  </a:cubicBezTo>
                  <a:cubicBezTo>
                    <a:pt x="6861" y="6994"/>
                    <a:pt x="6905" y="7000"/>
                    <a:pt x="6943" y="7006"/>
                  </a:cubicBezTo>
                  <a:close/>
                  <a:moveTo>
                    <a:pt x="6842" y="6827"/>
                  </a:moveTo>
                  <a:cubicBezTo>
                    <a:pt x="6867" y="6693"/>
                    <a:pt x="6867" y="6693"/>
                    <a:pt x="6867" y="6693"/>
                  </a:cubicBezTo>
                  <a:cubicBezTo>
                    <a:pt x="6996" y="6715"/>
                    <a:pt x="6996" y="6715"/>
                    <a:pt x="6996" y="6715"/>
                  </a:cubicBezTo>
                  <a:cubicBezTo>
                    <a:pt x="6972" y="6849"/>
                    <a:pt x="6972" y="6849"/>
                    <a:pt x="6972" y="6849"/>
                  </a:cubicBezTo>
                  <a:lnTo>
                    <a:pt x="6842" y="6827"/>
                  </a:lnTo>
                  <a:close/>
                  <a:moveTo>
                    <a:pt x="6869" y="6679"/>
                  </a:moveTo>
                  <a:cubicBezTo>
                    <a:pt x="6877" y="6636"/>
                    <a:pt x="6877" y="6636"/>
                    <a:pt x="6877" y="6636"/>
                  </a:cubicBezTo>
                  <a:cubicBezTo>
                    <a:pt x="7006" y="6658"/>
                    <a:pt x="7006" y="6658"/>
                    <a:pt x="7006" y="6658"/>
                  </a:cubicBezTo>
                  <a:cubicBezTo>
                    <a:pt x="6999" y="6701"/>
                    <a:pt x="6999" y="6701"/>
                    <a:pt x="6999" y="6701"/>
                  </a:cubicBezTo>
                  <a:lnTo>
                    <a:pt x="6869" y="6679"/>
                  </a:lnTo>
                  <a:close/>
                  <a:moveTo>
                    <a:pt x="7009" y="6717"/>
                  </a:moveTo>
                  <a:cubicBezTo>
                    <a:pt x="7070" y="6727"/>
                    <a:pt x="7070" y="6727"/>
                    <a:pt x="7070" y="6727"/>
                  </a:cubicBezTo>
                  <a:cubicBezTo>
                    <a:pt x="7051" y="6862"/>
                    <a:pt x="7051" y="6862"/>
                    <a:pt x="7051" y="6862"/>
                  </a:cubicBezTo>
                  <a:cubicBezTo>
                    <a:pt x="6985" y="6851"/>
                    <a:pt x="6985" y="6851"/>
                    <a:pt x="6985" y="6851"/>
                  </a:cubicBezTo>
                  <a:lnTo>
                    <a:pt x="7009" y="6717"/>
                  </a:lnTo>
                  <a:close/>
                  <a:moveTo>
                    <a:pt x="6502" y="6632"/>
                  </a:moveTo>
                  <a:cubicBezTo>
                    <a:pt x="6854" y="6691"/>
                    <a:pt x="6854" y="6691"/>
                    <a:pt x="6854" y="6691"/>
                  </a:cubicBezTo>
                  <a:cubicBezTo>
                    <a:pt x="6829" y="6825"/>
                    <a:pt x="6829" y="6825"/>
                    <a:pt x="6829" y="6825"/>
                  </a:cubicBezTo>
                  <a:cubicBezTo>
                    <a:pt x="6487" y="6769"/>
                    <a:pt x="6487" y="6769"/>
                    <a:pt x="6487" y="6769"/>
                  </a:cubicBezTo>
                  <a:lnTo>
                    <a:pt x="6502" y="6632"/>
                  </a:lnTo>
                  <a:close/>
                  <a:moveTo>
                    <a:pt x="6827" y="6839"/>
                  </a:moveTo>
                  <a:cubicBezTo>
                    <a:pt x="6803" y="6971"/>
                    <a:pt x="6803" y="6971"/>
                    <a:pt x="6803" y="6971"/>
                  </a:cubicBezTo>
                  <a:cubicBezTo>
                    <a:pt x="6640" y="6947"/>
                    <a:pt x="6449" y="6919"/>
                    <a:pt x="6373" y="6909"/>
                  </a:cubicBezTo>
                  <a:cubicBezTo>
                    <a:pt x="6405" y="6789"/>
                    <a:pt x="6405" y="6789"/>
                    <a:pt x="6405" y="6789"/>
                  </a:cubicBezTo>
                  <a:cubicBezTo>
                    <a:pt x="6470" y="6780"/>
                    <a:pt x="6470" y="6780"/>
                    <a:pt x="6470" y="6780"/>
                  </a:cubicBezTo>
                  <a:lnTo>
                    <a:pt x="6827" y="6839"/>
                  </a:lnTo>
                  <a:close/>
                  <a:moveTo>
                    <a:pt x="6707" y="6971"/>
                  </a:moveTo>
                  <a:cubicBezTo>
                    <a:pt x="6739" y="6976"/>
                    <a:pt x="6770" y="6980"/>
                    <a:pt x="6800" y="6985"/>
                  </a:cubicBezTo>
                  <a:cubicBezTo>
                    <a:pt x="6767" y="7167"/>
                    <a:pt x="6767" y="7167"/>
                    <a:pt x="6767" y="7167"/>
                  </a:cubicBezTo>
                  <a:cubicBezTo>
                    <a:pt x="6432" y="7123"/>
                    <a:pt x="6432" y="7123"/>
                    <a:pt x="6432" y="7123"/>
                  </a:cubicBezTo>
                  <a:cubicBezTo>
                    <a:pt x="6434" y="7115"/>
                    <a:pt x="6434" y="7115"/>
                    <a:pt x="6434" y="7115"/>
                  </a:cubicBezTo>
                  <a:cubicBezTo>
                    <a:pt x="6369" y="6924"/>
                    <a:pt x="6369" y="6924"/>
                    <a:pt x="6369" y="6924"/>
                  </a:cubicBezTo>
                  <a:cubicBezTo>
                    <a:pt x="6370" y="6922"/>
                    <a:pt x="6370" y="6922"/>
                    <a:pt x="6370" y="6922"/>
                  </a:cubicBezTo>
                  <a:cubicBezTo>
                    <a:pt x="6429" y="6930"/>
                    <a:pt x="6569" y="6951"/>
                    <a:pt x="6707" y="6971"/>
                  </a:cubicBezTo>
                  <a:close/>
                  <a:moveTo>
                    <a:pt x="5807" y="6620"/>
                  </a:moveTo>
                  <a:cubicBezTo>
                    <a:pt x="5775" y="6804"/>
                    <a:pt x="5775" y="6804"/>
                    <a:pt x="5775" y="6804"/>
                  </a:cubicBezTo>
                  <a:cubicBezTo>
                    <a:pt x="5234" y="6694"/>
                    <a:pt x="5234" y="6694"/>
                    <a:pt x="5234" y="6694"/>
                  </a:cubicBezTo>
                  <a:cubicBezTo>
                    <a:pt x="5234" y="6693"/>
                    <a:pt x="5234" y="6693"/>
                    <a:pt x="5234" y="6692"/>
                  </a:cubicBezTo>
                  <a:cubicBezTo>
                    <a:pt x="5235" y="6687"/>
                    <a:pt x="5236" y="6680"/>
                    <a:pt x="5237" y="6671"/>
                  </a:cubicBezTo>
                  <a:cubicBezTo>
                    <a:pt x="5239" y="6654"/>
                    <a:pt x="5241" y="6629"/>
                    <a:pt x="5244" y="6599"/>
                  </a:cubicBezTo>
                  <a:cubicBezTo>
                    <a:pt x="5246" y="6580"/>
                    <a:pt x="5248" y="6559"/>
                    <a:pt x="5250" y="6537"/>
                  </a:cubicBezTo>
                  <a:lnTo>
                    <a:pt x="5807" y="6620"/>
                  </a:lnTo>
                  <a:close/>
                  <a:moveTo>
                    <a:pt x="5251" y="6373"/>
                  </a:moveTo>
                  <a:cubicBezTo>
                    <a:pt x="5249" y="6396"/>
                    <a:pt x="5247" y="6419"/>
                    <a:pt x="5245" y="6442"/>
                  </a:cubicBezTo>
                  <a:cubicBezTo>
                    <a:pt x="4863" y="6390"/>
                    <a:pt x="4863" y="6390"/>
                    <a:pt x="4863" y="6390"/>
                  </a:cubicBezTo>
                  <a:cubicBezTo>
                    <a:pt x="4875" y="6327"/>
                    <a:pt x="4875" y="6327"/>
                    <a:pt x="4875" y="6327"/>
                  </a:cubicBezTo>
                  <a:cubicBezTo>
                    <a:pt x="4876" y="6320"/>
                    <a:pt x="4876" y="6320"/>
                    <a:pt x="4876" y="6320"/>
                  </a:cubicBezTo>
                  <a:cubicBezTo>
                    <a:pt x="4721" y="6295"/>
                    <a:pt x="4721" y="6295"/>
                    <a:pt x="4721" y="6295"/>
                  </a:cubicBezTo>
                  <a:cubicBezTo>
                    <a:pt x="4707" y="6369"/>
                    <a:pt x="4707" y="6369"/>
                    <a:pt x="4707" y="6369"/>
                  </a:cubicBezTo>
                  <a:cubicBezTo>
                    <a:pt x="4673" y="6365"/>
                    <a:pt x="4673" y="6365"/>
                    <a:pt x="4673" y="6365"/>
                  </a:cubicBezTo>
                  <a:cubicBezTo>
                    <a:pt x="4682" y="6320"/>
                    <a:pt x="4691" y="6276"/>
                    <a:pt x="4700" y="6231"/>
                  </a:cubicBezTo>
                  <a:cubicBezTo>
                    <a:pt x="5256" y="6320"/>
                    <a:pt x="5256" y="6320"/>
                    <a:pt x="5256" y="6320"/>
                  </a:cubicBezTo>
                  <a:cubicBezTo>
                    <a:pt x="5254" y="6338"/>
                    <a:pt x="5253" y="6356"/>
                    <a:pt x="5251" y="6373"/>
                  </a:cubicBezTo>
                  <a:close/>
                  <a:moveTo>
                    <a:pt x="4718" y="6385"/>
                  </a:moveTo>
                  <a:cubicBezTo>
                    <a:pt x="4848" y="6402"/>
                    <a:pt x="4848" y="6402"/>
                    <a:pt x="4848" y="6402"/>
                  </a:cubicBezTo>
                  <a:cubicBezTo>
                    <a:pt x="4799" y="6668"/>
                    <a:pt x="4799" y="6668"/>
                    <a:pt x="4799" y="6668"/>
                  </a:cubicBezTo>
                  <a:cubicBezTo>
                    <a:pt x="4671" y="6640"/>
                    <a:pt x="4671" y="6640"/>
                    <a:pt x="4671" y="6640"/>
                  </a:cubicBezTo>
                  <a:lnTo>
                    <a:pt x="4718" y="6385"/>
                  </a:lnTo>
                  <a:close/>
                  <a:moveTo>
                    <a:pt x="4658" y="6637"/>
                  </a:moveTo>
                  <a:cubicBezTo>
                    <a:pt x="4621" y="6629"/>
                    <a:pt x="4621" y="6629"/>
                    <a:pt x="4621" y="6629"/>
                  </a:cubicBezTo>
                  <a:cubicBezTo>
                    <a:pt x="4636" y="6551"/>
                    <a:pt x="4653" y="6466"/>
                    <a:pt x="4670" y="6378"/>
                  </a:cubicBezTo>
                  <a:cubicBezTo>
                    <a:pt x="4705" y="6383"/>
                    <a:pt x="4705" y="6383"/>
                    <a:pt x="4705" y="6383"/>
                  </a:cubicBezTo>
                  <a:lnTo>
                    <a:pt x="4658" y="6637"/>
                  </a:lnTo>
                  <a:close/>
                  <a:moveTo>
                    <a:pt x="4720" y="6371"/>
                  </a:moveTo>
                  <a:cubicBezTo>
                    <a:pt x="4731" y="6310"/>
                    <a:pt x="4731" y="6310"/>
                    <a:pt x="4731" y="6310"/>
                  </a:cubicBezTo>
                  <a:cubicBezTo>
                    <a:pt x="4861" y="6331"/>
                    <a:pt x="4861" y="6331"/>
                    <a:pt x="4861" y="6331"/>
                  </a:cubicBezTo>
                  <a:cubicBezTo>
                    <a:pt x="4850" y="6389"/>
                    <a:pt x="4850" y="6389"/>
                    <a:pt x="4850" y="6389"/>
                  </a:cubicBezTo>
                  <a:lnTo>
                    <a:pt x="4720" y="6371"/>
                  </a:lnTo>
                  <a:close/>
                  <a:moveTo>
                    <a:pt x="4681" y="5997"/>
                  </a:moveTo>
                  <a:cubicBezTo>
                    <a:pt x="4627" y="5986"/>
                    <a:pt x="4627" y="5986"/>
                    <a:pt x="4627" y="5986"/>
                  </a:cubicBezTo>
                  <a:cubicBezTo>
                    <a:pt x="4680" y="5700"/>
                    <a:pt x="4680" y="5700"/>
                    <a:pt x="4680" y="5700"/>
                  </a:cubicBezTo>
                  <a:cubicBezTo>
                    <a:pt x="4741" y="5705"/>
                    <a:pt x="4741" y="5705"/>
                    <a:pt x="4741" y="5705"/>
                  </a:cubicBezTo>
                  <a:cubicBezTo>
                    <a:pt x="4724" y="5786"/>
                    <a:pt x="4703" y="5887"/>
                    <a:pt x="4681" y="5997"/>
                  </a:cubicBezTo>
                  <a:close/>
                  <a:moveTo>
                    <a:pt x="4669" y="5685"/>
                  </a:moveTo>
                  <a:cubicBezTo>
                    <a:pt x="4538" y="5673"/>
                    <a:pt x="4538" y="5673"/>
                    <a:pt x="4538" y="5673"/>
                  </a:cubicBezTo>
                  <a:cubicBezTo>
                    <a:pt x="4571" y="5493"/>
                    <a:pt x="4571" y="5493"/>
                    <a:pt x="4571" y="5493"/>
                  </a:cubicBezTo>
                  <a:cubicBezTo>
                    <a:pt x="4701" y="5514"/>
                    <a:pt x="4701" y="5514"/>
                    <a:pt x="4701" y="5514"/>
                  </a:cubicBezTo>
                  <a:lnTo>
                    <a:pt x="4669" y="5685"/>
                  </a:lnTo>
                  <a:close/>
                  <a:moveTo>
                    <a:pt x="4667" y="5699"/>
                  </a:moveTo>
                  <a:cubicBezTo>
                    <a:pt x="4614" y="5984"/>
                    <a:pt x="4614" y="5984"/>
                    <a:pt x="4614" y="5984"/>
                  </a:cubicBezTo>
                  <a:cubicBezTo>
                    <a:pt x="4485" y="5960"/>
                    <a:pt x="4485" y="5960"/>
                    <a:pt x="4485" y="5960"/>
                  </a:cubicBezTo>
                  <a:cubicBezTo>
                    <a:pt x="4535" y="5687"/>
                    <a:pt x="4535" y="5687"/>
                    <a:pt x="4535" y="5687"/>
                  </a:cubicBezTo>
                  <a:lnTo>
                    <a:pt x="4667" y="5699"/>
                  </a:lnTo>
                  <a:close/>
                  <a:moveTo>
                    <a:pt x="4472" y="5958"/>
                  </a:moveTo>
                  <a:cubicBezTo>
                    <a:pt x="4004" y="5870"/>
                    <a:pt x="4004" y="5870"/>
                    <a:pt x="4004" y="5870"/>
                  </a:cubicBezTo>
                  <a:cubicBezTo>
                    <a:pt x="4002" y="5884"/>
                    <a:pt x="4002" y="5884"/>
                    <a:pt x="4002" y="5884"/>
                  </a:cubicBezTo>
                  <a:cubicBezTo>
                    <a:pt x="4470" y="5971"/>
                    <a:pt x="4470" y="5971"/>
                    <a:pt x="4470" y="5971"/>
                  </a:cubicBezTo>
                  <a:cubicBezTo>
                    <a:pt x="4405" y="6325"/>
                    <a:pt x="4405" y="6325"/>
                    <a:pt x="4405" y="6325"/>
                  </a:cubicBezTo>
                  <a:cubicBezTo>
                    <a:pt x="4245" y="6301"/>
                    <a:pt x="4245" y="6301"/>
                    <a:pt x="4245" y="6301"/>
                  </a:cubicBezTo>
                  <a:cubicBezTo>
                    <a:pt x="3887" y="6187"/>
                    <a:pt x="3887" y="6187"/>
                    <a:pt x="3887" y="6187"/>
                  </a:cubicBezTo>
                  <a:cubicBezTo>
                    <a:pt x="3992" y="5999"/>
                    <a:pt x="3992" y="5999"/>
                    <a:pt x="3992" y="5999"/>
                  </a:cubicBezTo>
                  <a:cubicBezTo>
                    <a:pt x="4020" y="5641"/>
                    <a:pt x="4020" y="5641"/>
                    <a:pt x="4020" y="5641"/>
                  </a:cubicBezTo>
                  <a:cubicBezTo>
                    <a:pt x="4522" y="5686"/>
                    <a:pt x="4522" y="5686"/>
                    <a:pt x="4522" y="5686"/>
                  </a:cubicBezTo>
                  <a:lnTo>
                    <a:pt x="4472" y="5958"/>
                  </a:lnTo>
                  <a:close/>
                  <a:moveTo>
                    <a:pt x="4415" y="6341"/>
                  </a:moveTo>
                  <a:cubicBezTo>
                    <a:pt x="4544" y="6360"/>
                    <a:pt x="4544" y="6360"/>
                    <a:pt x="4544" y="6360"/>
                  </a:cubicBezTo>
                  <a:cubicBezTo>
                    <a:pt x="4530" y="6433"/>
                    <a:pt x="4530" y="6433"/>
                    <a:pt x="4530" y="6433"/>
                  </a:cubicBezTo>
                  <a:cubicBezTo>
                    <a:pt x="4402" y="6412"/>
                    <a:pt x="4402" y="6412"/>
                    <a:pt x="4402" y="6412"/>
                  </a:cubicBezTo>
                  <a:lnTo>
                    <a:pt x="4415" y="6341"/>
                  </a:lnTo>
                  <a:close/>
                  <a:moveTo>
                    <a:pt x="4418" y="6327"/>
                  </a:moveTo>
                  <a:cubicBezTo>
                    <a:pt x="4483" y="5974"/>
                    <a:pt x="4483" y="5974"/>
                    <a:pt x="4483" y="5974"/>
                  </a:cubicBezTo>
                  <a:cubicBezTo>
                    <a:pt x="4611" y="5998"/>
                    <a:pt x="4611" y="5998"/>
                    <a:pt x="4611" y="5998"/>
                  </a:cubicBezTo>
                  <a:cubicBezTo>
                    <a:pt x="4546" y="6346"/>
                    <a:pt x="4546" y="6346"/>
                    <a:pt x="4546" y="6346"/>
                  </a:cubicBezTo>
                  <a:lnTo>
                    <a:pt x="4418" y="6327"/>
                  </a:lnTo>
                  <a:close/>
                  <a:moveTo>
                    <a:pt x="4624" y="6000"/>
                  </a:moveTo>
                  <a:cubicBezTo>
                    <a:pt x="4678" y="6010"/>
                    <a:pt x="4678" y="6010"/>
                    <a:pt x="4678" y="6010"/>
                  </a:cubicBezTo>
                  <a:cubicBezTo>
                    <a:pt x="4655" y="6121"/>
                    <a:pt x="4631" y="6240"/>
                    <a:pt x="4608" y="6355"/>
                  </a:cubicBezTo>
                  <a:cubicBezTo>
                    <a:pt x="4559" y="6348"/>
                    <a:pt x="4559" y="6348"/>
                    <a:pt x="4559" y="6348"/>
                  </a:cubicBezTo>
                  <a:lnTo>
                    <a:pt x="4624" y="6000"/>
                  </a:lnTo>
                  <a:close/>
                  <a:moveTo>
                    <a:pt x="4618" y="6643"/>
                  </a:moveTo>
                  <a:cubicBezTo>
                    <a:pt x="4655" y="6651"/>
                    <a:pt x="4655" y="6651"/>
                    <a:pt x="4655" y="6651"/>
                  </a:cubicBezTo>
                  <a:cubicBezTo>
                    <a:pt x="4568" y="7123"/>
                    <a:pt x="4568" y="7123"/>
                    <a:pt x="4568" y="7123"/>
                  </a:cubicBezTo>
                  <a:cubicBezTo>
                    <a:pt x="4534" y="7116"/>
                    <a:pt x="4534" y="7116"/>
                    <a:pt x="4534" y="7116"/>
                  </a:cubicBezTo>
                  <a:cubicBezTo>
                    <a:pt x="4545" y="7069"/>
                    <a:pt x="4554" y="7019"/>
                    <a:pt x="4561" y="6966"/>
                  </a:cubicBezTo>
                  <a:cubicBezTo>
                    <a:pt x="4569" y="6909"/>
                    <a:pt x="4590" y="6790"/>
                    <a:pt x="4618" y="6643"/>
                  </a:cubicBezTo>
                  <a:close/>
                  <a:moveTo>
                    <a:pt x="4579" y="7139"/>
                  </a:moveTo>
                  <a:cubicBezTo>
                    <a:pt x="4707" y="7165"/>
                    <a:pt x="4707" y="7165"/>
                    <a:pt x="4707" y="7165"/>
                  </a:cubicBezTo>
                  <a:cubicBezTo>
                    <a:pt x="4691" y="7250"/>
                    <a:pt x="4691" y="7250"/>
                    <a:pt x="4691" y="7250"/>
                  </a:cubicBezTo>
                  <a:cubicBezTo>
                    <a:pt x="4562" y="7229"/>
                    <a:pt x="4562" y="7229"/>
                    <a:pt x="4562" y="7229"/>
                  </a:cubicBezTo>
                  <a:lnTo>
                    <a:pt x="4579" y="7139"/>
                  </a:lnTo>
                  <a:close/>
                  <a:moveTo>
                    <a:pt x="4581" y="7126"/>
                  </a:moveTo>
                  <a:cubicBezTo>
                    <a:pt x="4668" y="6654"/>
                    <a:pt x="4668" y="6654"/>
                    <a:pt x="4668" y="6654"/>
                  </a:cubicBezTo>
                  <a:cubicBezTo>
                    <a:pt x="4796" y="6682"/>
                    <a:pt x="4796" y="6682"/>
                    <a:pt x="4796" y="6682"/>
                  </a:cubicBezTo>
                  <a:cubicBezTo>
                    <a:pt x="4709" y="7151"/>
                    <a:pt x="4709" y="7151"/>
                    <a:pt x="4709" y="7151"/>
                  </a:cubicBezTo>
                  <a:lnTo>
                    <a:pt x="4581" y="7126"/>
                  </a:lnTo>
                  <a:close/>
                  <a:moveTo>
                    <a:pt x="6036" y="7232"/>
                  </a:moveTo>
                  <a:cubicBezTo>
                    <a:pt x="5924" y="7198"/>
                    <a:pt x="5810" y="7162"/>
                    <a:pt x="5781" y="7152"/>
                  </a:cubicBezTo>
                  <a:cubicBezTo>
                    <a:pt x="5805" y="7010"/>
                    <a:pt x="5805" y="7010"/>
                    <a:pt x="5805" y="7010"/>
                  </a:cubicBezTo>
                  <a:cubicBezTo>
                    <a:pt x="6096" y="7036"/>
                    <a:pt x="6096" y="7036"/>
                    <a:pt x="6096" y="7036"/>
                  </a:cubicBezTo>
                  <a:cubicBezTo>
                    <a:pt x="6410" y="7134"/>
                    <a:pt x="6410" y="7134"/>
                    <a:pt x="6410" y="7134"/>
                  </a:cubicBezTo>
                  <a:cubicBezTo>
                    <a:pt x="6414" y="7135"/>
                    <a:pt x="6414" y="7135"/>
                    <a:pt x="6414" y="7135"/>
                  </a:cubicBezTo>
                  <a:cubicBezTo>
                    <a:pt x="6377" y="7283"/>
                    <a:pt x="6377" y="7283"/>
                    <a:pt x="6377" y="7283"/>
                  </a:cubicBezTo>
                  <a:cubicBezTo>
                    <a:pt x="6390" y="7286"/>
                    <a:pt x="6390" y="7286"/>
                    <a:pt x="6390" y="7286"/>
                  </a:cubicBezTo>
                  <a:cubicBezTo>
                    <a:pt x="6428" y="7137"/>
                    <a:pt x="6428" y="7137"/>
                    <a:pt x="6428" y="7137"/>
                  </a:cubicBezTo>
                  <a:cubicBezTo>
                    <a:pt x="6765" y="7180"/>
                    <a:pt x="6765" y="7180"/>
                    <a:pt x="6765" y="7180"/>
                  </a:cubicBezTo>
                  <a:cubicBezTo>
                    <a:pt x="6738" y="7326"/>
                    <a:pt x="6738" y="7326"/>
                    <a:pt x="6738" y="7326"/>
                  </a:cubicBezTo>
                  <a:cubicBezTo>
                    <a:pt x="6604" y="7299"/>
                    <a:pt x="6604" y="7299"/>
                    <a:pt x="6604" y="7299"/>
                  </a:cubicBezTo>
                  <a:cubicBezTo>
                    <a:pt x="6601" y="7301"/>
                    <a:pt x="6601" y="7301"/>
                    <a:pt x="6601" y="7301"/>
                  </a:cubicBezTo>
                  <a:cubicBezTo>
                    <a:pt x="6601" y="7301"/>
                    <a:pt x="6580" y="7317"/>
                    <a:pt x="6569" y="7329"/>
                  </a:cubicBezTo>
                  <a:cubicBezTo>
                    <a:pt x="6567" y="7331"/>
                    <a:pt x="6565" y="7333"/>
                    <a:pt x="6563" y="7335"/>
                  </a:cubicBezTo>
                  <a:cubicBezTo>
                    <a:pt x="6562" y="7335"/>
                    <a:pt x="6561" y="7334"/>
                    <a:pt x="6560" y="7334"/>
                  </a:cubicBezTo>
                  <a:cubicBezTo>
                    <a:pt x="6554" y="7333"/>
                    <a:pt x="6545" y="7331"/>
                    <a:pt x="6536" y="7328"/>
                  </a:cubicBezTo>
                  <a:cubicBezTo>
                    <a:pt x="6516" y="7323"/>
                    <a:pt x="6490" y="7317"/>
                    <a:pt x="6465" y="7310"/>
                  </a:cubicBezTo>
                  <a:cubicBezTo>
                    <a:pt x="6414" y="7297"/>
                    <a:pt x="6364" y="7284"/>
                    <a:pt x="6364" y="7284"/>
                  </a:cubicBezTo>
                  <a:cubicBezTo>
                    <a:pt x="6362" y="7283"/>
                    <a:pt x="6362" y="7283"/>
                    <a:pt x="6362" y="7283"/>
                  </a:cubicBezTo>
                  <a:cubicBezTo>
                    <a:pt x="6279" y="7308"/>
                    <a:pt x="6279" y="7308"/>
                    <a:pt x="6279" y="7308"/>
                  </a:cubicBezTo>
                  <a:cubicBezTo>
                    <a:pt x="6263" y="7303"/>
                    <a:pt x="6150" y="7268"/>
                    <a:pt x="6036" y="7232"/>
                  </a:cubicBezTo>
                  <a:close/>
                  <a:moveTo>
                    <a:pt x="6749" y="7343"/>
                  </a:moveTo>
                  <a:cubicBezTo>
                    <a:pt x="6876" y="7369"/>
                    <a:pt x="6876" y="7369"/>
                    <a:pt x="6876" y="7369"/>
                  </a:cubicBezTo>
                  <a:cubicBezTo>
                    <a:pt x="6868" y="7417"/>
                    <a:pt x="6868" y="7417"/>
                    <a:pt x="6868" y="7417"/>
                  </a:cubicBezTo>
                  <a:cubicBezTo>
                    <a:pt x="6739" y="7396"/>
                    <a:pt x="6739" y="7396"/>
                    <a:pt x="6739" y="7396"/>
                  </a:cubicBezTo>
                  <a:lnTo>
                    <a:pt x="6749" y="7343"/>
                  </a:lnTo>
                  <a:close/>
                  <a:moveTo>
                    <a:pt x="6751" y="7329"/>
                  </a:moveTo>
                  <a:cubicBezTo>
                    <a:pt x="6778" y="7182"/>
                    <a:pt x="6778" y="7182"/>
                    <a:pt x="6778" y="7182"/>
                  </a:cubicBezTo>
                  <a:cubicBezTo>
                    <a:pt x="6907" y="7199"/>
                    <a:pt x="6907" y="7199"/>
                    <a:pt x="6907" y="7199"/>
                  </a:cubicBezTo>
                  <a:cubicBezTo>
                    <a:pt x="6879" y="7355"/>
                    <a:pt x="6879" y="7355"/>
                    <a:pt x="6879" y="7355"/>
                  </a:cubicBezTo>
                  <a:lnTo>
                    <a:pt x="6751" y="7329"/>
                  </a:lnTo>
                  <a:close/>
                  <a:moveTo>
                    <a:pt x="6921" y="7201"/>
                  </a:moveTo>
                  <a:cubicBezTo>
                    <a:pt x="7000" y="7211"/>
                    <a:pt x="7000" y="7211"/>
                    <a:pt x="7000" y="7211"/>
                  </a:cubicBezTo>
                  <a:cubicBezTo>
                    <a:pt x="6976" y="7375"/>
                    <a:pt x="6976" y="7375"/>
                    <a:pt x="6976" y="7375"/>
                  </a:cubicBezTo>
                  <a:cubicBezTo>
                    <a:pt x="6892" y="7358"/>
                    <a:pt x="6892" y="7358"/>
                    <a:pt x="6892" y="7358"/>
                  </a:cubicBezTo>
                  <a:lnTo>
                    <a:pt x="6921" y="7201"/>
                  </a:lnTo>
                  <a:close/>
                  <a:moveTo>
                    <a:pt x="6923" y="7187"/>
                  </a:moveTo>
                  <a:cubicBezTo>
                    <a:pt x="6956" y="7008"/>
                    <a:pt x="6956" y="7008"/>
                    <a:pt x="6956" y="7008"/>
                  </a:cubicBezTo>
                  <a:cubicBezTo>
                    <a:pt x="6985" y="7012"/>
                    <a:pt x="7010" y="7016"/>
                    <a:pt x="7028" y="7019"/>
                  </a:cubicBezTo>
                  <a:cubicBezTo>
                    <a:pt x="7002" y="7197"/>
                    <a:pt x="7002" y="7197"/>
                    <a:pt x="7002" y="7197"/>
                  </a:cubicBezTo>
                  <a:lnTo>
                    <a:pt x="6923" y="7187"/>
                  </a:lnTo>
                  <a:close/>
                  <a:moveTo>
                    <a:pt x="6958" y="6994"/>
                  </a:moveTo>
                  <a:cubicBezTo>
                    <a:pt x="6982" y="6864"/>
                    <a:pt x="6982" y="6864"/>
                    <a:pt x="6982" y="6864"/>
                  </a:cubicBezTo>
                  <a:cubicBezTo>
                    <a:pt x="7049" y="6875"/>
                    <a:pt x="7049" y="6875"/>
                    <a:pt x="7049" y="6875"/>
                  </a:cubicBezTo>
                  <a:cubicBezTo>
                    <a:pt x="7030" y="7005"/>
                    <a:pt x="7030" y="7005"/>
                    <a:pt x="7030" y="7005"/>
                  </a:cubicBezTo>
                  <a:cubicBezTo>
                    <a:pt x="7012" y="7002"/>
                    <a:pt x="6987" y="6999"/>
                    <a:pt x="6958" y="6994"/>
                  </a:cubicBezTo>
                  <a:close/>
                  <a:moveTo>
                    <a:pt x="7074" y="7154"/>
                  </a:moveTo>
                  <a:cubicBezTo>
                    <a:pt x="7211" y="7174"/>
                    <a:pt x="7211" y="7174"/>
                    <a:pt x="7211" y="7174"/>
                  </a:cubicBezTo>
                  <a:cubicBezTo>
                    <a:pt x="7218" y="7233"/>
                    <a:pt x="7227" y="7315"/>
                    <a:pt x="7234" y="7337"/>
                  </a:cubicBezTo>
                  <a:cubicBezTo>
                    <a:pt x="7041" y="7381"/>
                    <a:pt x="7041" y="7381"/>
                    <a:pt x="7041" y="7381"/>
                  </a:cubicBezTo>
                  <a:lnTo>
                    <a:pt x="7074" y="7154"/>
                  </a:lnTo>
                  <a:close/>
                  <a:moveTo>
                    <a:pt x="7231" y="7224"/>
                  </a:moveTo>
                  <a:cubicBezTo>
                    <a:pt x="7226" y="7178"/>
                    <a:pt x="7221" y="7132"/>
                    <a:pt x="7219" y="7115"/>
                  </a:cubicBezTo>
                  <a:cubicBezTo>
                    <a:pt x="7357" y="7097"/>
                    <a:pt x="7357" y="7097"/>
                    <a:pt x="7357" y="7097"/>
                  </a:cubicBezTo>
                  <a:cubicBezTo>
                    <a:pt x="7361" y="7092"/>
                    <a:pt x="7361" y="7092"/>
                    <a:pt x="7361" y="7092"/>
                  </a:cubicBezTo>
                  <a:cubicBezTo>
                    <a:pt x="7377" y="7106"/>
                    <a:pt x="7409" y="7137"/>
                    <a:pt x="7443" y="7170"/>
                  </a:cubicBezTo>
                  <a:cubicBezTo>
                    <a:pt x="7483" y="7209"/>
                    <a:pt x="7525" y="7251"/>
                    <a:pt x="7537" y="7267"/>
                  </a:cubicBezTo>
                  <a:cubicBezTo>
                    <a:pt x="7247" y="7334"/>
                    <a:pt x="7247" y="7334"/>
                    <a:pt x="7247" y="7334"/>
                  </a:cubicBezTo>
                  <a:cubicBezTo>
                    <a:pt x="7247" y="7333"/>
                    <a:pt x="7246" y="7331"/>
                    <a:pt x="7246" y="7328"/>
                  </a:cubicBezTo>
                  <a:cubicBezTo>
                    <a:pt x="7244" y="7322"/>
                    <a:pt x="7243" y="7313"/>
                    <a:pt x="7241" y="7303"/>
                  </a:cubicBezTo>
                  <a:cubicBezTo>
                    <a:pt x="7238" y="7281"/>
                    <a:pt x="7234" y="7252"/>
                    <a:pt x="7231" y="7224"/>
                  </a:cubicBezTo>
                  <a:close/>
                  <a:moveTo>
                    <a:pt x="7523" y="7231"/>
                  </a:moveTo>
                  <a:cubicBezTo>
                    <a:pt x="7505" y="7212"/>
                    <a:pt x="7481" y="7188"/>
                    <a:pt x="7457" y="7165"/>
                  </a:cubicBezTo>
                  <a:cubicBezTo>
                    <a:pt x="7421" y="7129"/>
                    <a:pt x="7385" y="7095"/>
                    <a:pt x="7369" y="7080"/>
                  </a:cubicBezTo>
                  <a:cubicBezTo>
                    <a:pt x="7431" y="6995"/>
                    <a:pt x="7431" y="6995"/>
                    <a:pt x="7431" y="6995"/>
                  </a:cubicBezTo>
                  <a:cubicBezTo>
                    <a:pt x="7455" y="6873"/>
                    <a:pt x="7455" y="6873"/>
                    <a:pt x="7455" y="6873"/>
                  </a:cubicBezTo>
                  <a:cubicBezTo>
                    <a:pt x="7456" y="6873"/>
                    <a:pt x="7456" y="6873"/>
                    <a:pt x="7457" y="6874"/>
                  </a:cubicBezTo>
                  <a:cubicBezTo>
                    <a:pt x="7468" y="6882"/>
                    <a:pt x="7483" y="6892"/>
                    <a:pt x="7501" y="6905"/>
                  </a:cubicBezTo>
                  <a:cubicBezTo>
                    <a:pt x="7537" y="6931"/>
                    <a:pt x="7584" y="6966"/>
                    <a:pt x="7631" y="7001"/>
                  </a:cubicBezTo>
                  <a:cubicBezTo>
                    <a:pt x="7708" y="7057"/>
                    <a:pt x="7783" y="7114"/>
                    <a:pt x="7808" y="7132"/>
                  </a:cubicBezTo>
                  <a:cubicBezTo>
                    <a:pt x="7806" y="7134"/>
                    <a:pt x="7806" y="7134"/>
                    <a:pt x="7806" y="7134"/>
                  </a:cubicBezTo>
                  <a:cubicBezTo>
                    <a:pt x="7551" y="7262"/>
                    <a:pt x="7551" y="7262"/>
                    <a:pt x="7551" y="7262"/>
                  </a:cubicBezTo>
                  <a:cubicBezTo>
                    <a:pt x="7550" y="7260"/>
                    <a:pt x="7548" y="7258"/>
                    <a:pt x="7545" y="7255"/>
                  </a:cubicBezTo>
                  <a:cubicBezTo>
                    <a:pt x="7540" y="7248"/>
                    <a:pt x="7532" y="7240"/>
                    <a:pt x="7523" y="7231"/>
                  </a:cubicBezTo>
                  <a:close/>
                  <a:moveTo>
                    <a:pt x="7001" y="6230"/>
                  </a:moveTo>
                  <a:cubicBezTo>
                    <a:pt x="6870" y="6216"/>
                    <a:pt x="6870" y="6216"/>
                    <a:pt x="6870" y="6216"/>
                  </a:cubicBezTo>
                  <a:cubicBezTo>
                    <a:pt x="6883" y="6090"/>
                    <a:pt x="6883" y="6090"/>
                    <a:pt x="6883" y="6090"/>
                  </a:cubicBezTo>
                  <a:cubicBezTo>
                    <a:pt x="7014" y="6104"/>
                    <a:pt x="7014" y="6104"/>
                    <a:pt x="7014" y="6104"/>
                  </a:cubicBezTo>
                  <a:lnTo>
                    <a:pt x="7001" y="6230"/>
                  </a:lnTo>
                  <a:close/>
                  <a:moveTo>
                    <a:pt x="7000" y="6244"/>
                  </a:moveTo>
                  <a:cubicBezTo>
                    <a:pt x="6998" y="6269"/>
                    <a:pt x="6998" y="6269"/>
                    <a:pt x="6998" y="6269"/>
                  </a:cubicBezTo>
                  <a:cubicBezTo>
                    <a:pt x="6867" y="6253"/>
                    <a:pt x="6867" y="6253"/>
                    <a:pt x="6867" y="6253"/>
                  </a:cubicBezTo>
                  <a:cubicBezTo>
                    <a:pt x="6869" y="6229"/>
                    <a:pt x="6869" y="6229"/>
                    <a:pt x="6869" y="6229"/>
                  </a:cubicBezTo>
                  <a:lnTo>
                    <a:pt x="7000" y="6244"/>
                  </a:lnTo>
                  <a:close/>
                  <a:moveTo>
                    <a:pt x="6856" y="6215"/>
                  </a:moveTo>
                  <a:cubicBezTo>
                    <a:pt x="6714" y="6200"/>
                    <a:pt x="6714" y="6200"/>
                    <a:pt x="6714" y="6200"/>
                  </a:cubicBezTo>
                  <a:cubicBezTo>
                    <a:pt x="6726" y="6074"/>
                    <a:pt x="6726" y="6074"/>
                    <a:pt x="6726" y="6074"/>
                  </a:cubicBezTo>
                  <a:cubicBezTo>
                    <a:pt x="6869" y="6089"/>
                    <a:pt x="6869" y="6089"/>
                    <a:pt x="6869" y="6089"/>
                  </a:cubicBezTo>
                  <a:lnTo>
                    <a:pt x="6856" y="6215"/>
                  </a:lnTo>
                  <a:close/>
                  <a:moveTo>
                    <a:pt x="6855" y="6228"/>
                  </a:moveTo>
                  <a:cubicBezTo>
                    <a:pt x="6853" y="6251"/>
                    <a:pt x="6853" y="6251"/>
                    <a:pt x="6853" y="6251"/>
                  </a:cubicBezTo>
                  <a:cubicBezTo>
                    <a:pt x="6710" y="6234"/>
                    <a:pt x="6710" y="6234"/>
                    <a:pt x="6710" y="6234"/>
                  </a:cubicBezTo>
                  <a:cubicBezTo>
                    <a:pt x="6712" y="6213"/>
                    <a:pt x="6712" y="6213"/>
                    <a:pt x="6712" y="6213"/>
                  </a:cubicBezTo>
                  <a:lnTo>
                    <a:pt x="6855" y="6228"/>
                  </a:lnTo>
                  <a:close/>
                  <a:moveTo>
                    <a:pt x="6700" y="6198"/>
                  </a:moveTo>
                  <a:cubicBezTo>
                    <a:pt x="6560" y="6183"/>
                    <a:pt x="6560" y="6183"/>
                    <a:pt x="6560" y="6183"/>
                  </a:cubicBezTo>
                  <a:cubicBezTo>
                    <a:pt x="6573" y="6057"/>
                    <a:pt x="6573" y="6057"/>
                    <a:pt x="6573" y="6057"/>
                  </a:cubicBezTo>
                  <a:cubicBezTo>
                    <a:pt x="6712" y="6072"/>
                    <a:pt x="6712" y="6072"/>
                    <a:pt x="6712" y="6072"/>
                  </a:cubicBezTo>
                  <a:lnTo>
                    <a:pt x="6700" y="6198"/>
                  </a:lnTo>
                  <a:close/>
                  <a:moveTo>
                    <a:pt x="6698" y="6211"/>
                  </a:moveTo>
                  <a:cubicBezTo>
                    <a:pt x="6696" y="6233"/>
                    <a:pt x="6696" y="6233"/>
                    <a:pt x="6696" y="6233"/>
                  </a:cubicBezTo>
                  <a:cubicBezTo>
                    <a:pt x="6557" y="6216"/>
                    <a:pt x="6557" y="6216"/>
                    <a:pt x="6557" y="6216"/>
                  </a:cubicBezTo>
                  <a:cubicBezTo>
                    <a:pt x="6559" y="6196"/>
                    <a:pt x="6559" y="6196"/>
                    <a:pt x="6559" y="6196"/>
                  </a:cubicBezTo>
                  <a:lnTo>
                    <a:pt x="6698" y="6211"/>
                  </a:lnTo>
                  <a:close/>
                  <a:moveTo>
                    <a:pt x="6546" y="6182"/>
                  </a:moveTo>
                  <a:cubicBezTo>
                    <a:pt x="6415" y="6168"/>
                    <a:pt x="6415" y="6168"/>
                    <a:pt x="6415" y="6168"/>
                  </a:cubicBezTo>
                  <a:cubicBezTo>
                    <a:pt x="6428" y="6042"/>
                    <a:pt x="6428" y="6042"/>
                    <a:pt x="6428" y="6042"/>
                  </a:cubicBezTo>
                  <a:cubicBezTo>
                    <a:pt x="6559" y="6056"/>
                    <a:pt x="6559" y="6056"/>
                    <a:pt x="6559" y="6056"/>
                  </a:cubicBezTo>
                  <a:lnTo>
                    <a:pt x="6546" y="6182"/>
                  </a:lnTo>
                  <a:close/>
                  <a:moveTo>
                    <a:pt x="6545" y="6195"/>
                  </a:moveTo>
                  <a:cubicBezTo>
                    <a:pt x="6543" y="6214"/>
                    <a:pt x="6543" y="6214"/>
                    <a:pt x="6543" y="6214"/>
                  </a:cubicBezTo>
                  <a:cubicBezTo>
                    <a:pt x="6412" y="6199"/>
                    <a:pt x="6412" y="6199"/>
                    <a:pt x="6412" y="6199"/>
                  </a:cubicBezTo>
                  <a:cubicBezTo>
                    <a:pt x="6414" y="6181"/>
                    <a:pt x="6414" y="6181"/>
                    <a:pt x="6414" y="6181"/>
                  </a:cubicBezTo>
                  <a:lnTo>
                    <a:pt x="6545" y="6195"/>
                  </a:lnTo>
                  <a:close/>
                  <a:moveTo>
                    <a:pt x="6401" y="6166"/>
                  </a:moveTo>
                  <a:cubicBezTo>
                    <a:pt x="6271" y="6152"/>
                    <a:pt x="6271" y="6152"/>
                    <a:pt x="6271" y="6152"/>
                  </a:cubicBezTo>
                  <a:cubicBezTo>
                    <a:pt x="6283" y="6026"/>
                    <a:pt x="6283" y="6026"/>
                    <a:pt x="6283" y="6026"/>
                  </a:cubicBezTo>
                  <a:cubicBezTo>
                    <a:pt x="6414" y="6040"/>
                    <a:pt x="6414" y="6040"/>
                    <a:pt x="6414" y="6040"/>
                  </a:cubicBezTo>
                  <a:lnTo>
                    <a:pt x="6401" y="6166"/>
                  </a:lnTo>
                  <a:close/>
                  <a:moveTo>
                    <a:pt x="6400" y="6179"/>
                  </a:moveTo>
                  <a:cubicBezTo>
                    <a:pt x="6398" y="6197"/>
                    <a:pt x="6398" y="6197"/>
                    <a:pt x="6398" y="6197"/>
                  </a:cubicBezTo>
                  <a:cubicBezTo>
                    <a:pt x="6268" y="6181"/>
                    <a:pt x="6268" y="6181"/>
                    <a:pt x="6268" y="6181"/>
                  </a:cubicBezTo>
                  <a:cubicBezTo>
                    <a:pt x="6269" y="6165"/>
                    <a:pt x="6269" y="6165"/>
                    <a:pt x="6269" y="6165"/>
                  </a:cubicBezTo>
                  <a:lnTo>
                    <a:pt x="6400" y="6179"/>
                  </a:lnTo>
                  <a:close/>
                  <a:moveTo>
                    <a:pt x="6325" y="6272"/>
                  </a:moveTo>
                  <a:cubicBezTo>
                    <a:pt x="6322" y="6314"/>
                    <a:pt x="6322" y="6314"/>
                    <a:pt x="6322" y="6314"/>
                  </a:cubicBezTo>
                  <a:cubicBezTo>
                    <a:pt x="6275" y="6311"/>
                    <a:pt x="6275" y="6311"/>
                    <a:pt x="6275" y="6311"/>
                  </a:cubicBezTo>
                  <a:cubicBezTo>
                    <a:pt x="6269" y="6390"/>
                    <a:pt x="6269" y="6390"/>
                    <a:pt x="6269" y="6390"/>
                  </a:cubicBezTo>
                  <a:cubicBezTo>
                    <a:pt x="6268" y="6397"/>
                    <a:pt x="6268" y="6397"/>
                    <a:pt x="6268" y="6397"/>
                  </a:cubicBezTo>
                  <a:cubicBezTo>
                    <a:pt x="6355" y="6404"/>
                    <a:pt x="6355" y="6404"/>
                    <a:pt x="6355" y="6404"/>
                  </a:cubicBezTo>
                  <a:cubicBezTo>
                    <a:pt x="6349" y="6528"/>
                    <a:pt x="6349" y="6528"/>
                    <a:pt x="6349" y="6528"/>
                  </a:cubicBezTo>
                  <a:cubicBezTo>
                    <a:pt x="6210" y="6514"/>
                    <a:pt x="6210" y="6514"/>
                    <a:pt x="6210" y="6514"/>
                  </a:cubicBezTo>
                  <a:cubicBezTo>
                    <a:pt x="6210" y="6514"/>
                    <a:pt x="6210" y="6513"/>
                    <a:pt x="6210" y="6513"/>
                  </a:cubicBezTo>
                  <a:cubicBezTo>
                    <a:pt x="6211" y="6510"/>
                    <a:pt x="6212" y="6507"/>
                    <a:pt x="6212" y="6503"/>
                  </a:cubicBezTo>
                  <a:cubicBezTo>
                    <a:pt x="6213" y="6494"/>
                    <a:pt x="6214" y="6483"/>
                    <a:pt x="6215" y="6469"/>
                  </a:cubicBezTo>
                  <a:cubicBezTo>
                    <a:pt x="6216" y="6441"/>
                    <a:pt x="6218" y="6404"/>
                    <a:pt x="6219" y="6367"/>
                  </a:cubicBezTo>
                  <a:cubicBezTo>
                    <a:pt x="6220" y="6318"/>
                    <a:pt x="6220" y="6269"/>
                    <a:pt x="6221" y="6242"/>
                  </a:cubicBezTo>
                  <a:cubicBezTo>
                    <a:pt x="6363" y="6259"/>
                    <a:pt x="6363" y="6259"/>
                    <a:pt x="6363" y="6259"/>
                  </a:cubicBezTo>
                  <a:cubicBezTo>
                    <a:pt x="6362" y="6274"/>
                    <a:pt x="6362" y="6274"/>
                    <a:pt x="6362" y="6274"/>
                  </a:cubicBezTo>
                  <a:lnTo>
                    <a:pt x="6325" y="6272"/>
                  </a:lnTo>
                  <a:close/>
                  <a:moveTo>
                    <a:pt x="6361" y="6288"/>
                  </a:moveTo>
                  <a:cubicBezTo>
                    <a:pt x="6356" y="6390"/>
                    <a:pt x="6356" y="6390"/>
                    <a:pt x="6356" y="6390"/>
                  </a:cubicBezTo>
                  <a:cubicBezTo>
                    <a:pt x="6283" y="6385"/>
                    <a:pt x="6283" y="6385"/>
                    <a:pt x="6283" y="6385"/>
                  </a:cubicBezTo>
                  <a:cubicBezTo>
                    <a:pt x="6287" y="6325"/>
                    <a:pt x="6287" y="6325"/>
                    <a:pt x="6287" y="6325"/>
                  </a:cubicBezTo>
                  <a:cubicBezTo>
                    <a:pt x="6334" y="6329"/>
                    <a:pt x="6334" y="6329"/>
                    <a:pt x="6334" y="6329"/>
                  </a:cubicBezTo>
                  <a:cubicBezTo>
                    <a:pt x="6337" y="6286"/>
                    <a:pt x="6337" y="6286"/>
                    <a:pt x="6337" y="6286"/>
                  </a:cubicBezTo>
                  <a:lnTo>
                    <a:pt x="6361" y="6288"/>
                  </a:lnTo>
                  <a:close/>
                  <a:moveTo>
                    <a:pt x="6257" y="6151"/>
                  </a:moveTo>
                  <a:cubicBezTo>
                    <a:pt x="6120" y="6136"/>
                    <a:pt x="6120" y="6136"/>
                    <a:pt x="6120" y="6136"/>
                  </a:cubicBezTo>
                  <a:cubicBezTo>
                    <a:pt x="6133" y="6010"/>
                    <a:pt x="6133" y="6010"/>
                    <a:pt x="6133" y="6010"/>
                  </a:cubicBezTo>
                  <a:cubicBezTo>
                    <a:pt x="6269" y="6025"/>
                    <a:pt x="6269" y="6025"/>
                    <a:pt x="6269" y="6025"/>
                  </a:cubicBezTo>
                  <a:lnTo>
                    <a:pt x="6257" y="6151"/>
                  </a:lnTo>
                  <a:close/>
                  <a:moveTo>
                    <a:pt x="6255" y="6164"/>
                  </a:moveTo>
                  <a:cubicBezTo>
                    <a:pt x="6254" y="6180"/>
                    <a:pt x="6254" y="6180"/>
                    <a:pt x="6254" y="6180"/>
                  </a:cubicBezTo>
                  <a:cubicBezTo>
                    <a:pt x="6117" y="6163"/>
                    <a:pt x="6117" y="6163"/>
                    <a:pt x="6117" y="6163"/>
                  </a:cubicBezTo>
                  <a:cubicBezTo>
                    <a:pt x="6119" y="6149"/>
                    <a:pt x="6119" y="6149"/>
                    <a:pt x="6119" y="6149"/>
                  </a:cubicBezTo>
                  <a:lnTo>
                    <a:pt x="6255" y="6164"/>
                  </a:lnTo>
                  <a:close/>
                  <a:moveTo>
                    <a:pt x="6106" y="6135"/>
                  </a:moveTo>
                  <a:cubicBezTo>
                    <a:pt x="5991" y="6122"/>
                    <a:pt x="5991" y="6122"/>
                    <a:pt x="5991" y="6122"/>
                  </a:cubicBezTo>
                  <a:cubicBezTo>
                    <a:pt x="6006" y="5996"/>
                    <a:pt x="6006" y="5996"/>
                    <a:pt x="6006" y="5996"/>
                  </a:cubicBezTo>
                  <a:cubicBezTo>
                    <a:pt x="6119" y="6008"/>
                    <a:pt x="6119" y="6008"/>
                    <a:pt x="6119" y="6008"/>
                  </a:cubicBezTo>
                  <a:lnTo>
                    <a:pt x="6106" y="6135"/>
                  </a:lnTo>
                  <a:close/>
                  <a:moveTo>
                    <a:pt x="6203" y="6508"/>
                  </a:moveTo>
                  <a:cubicBezTo>
                    <a:pt x="6203" y="6508"/>
                    <a:pt x="6203" y="6508"/>
                    <a:pt x="6203" y="6508"/>
                  </a:cubicBezTo>
                  <a:cubicBezTo>
                    <a:pt x="6203" y="6511"/>
                    <a:pt x="6203" y="6511"/>
                    <a:pt x="6203" y="6511"/>
                  </a:cubicBezTo>
                  <a:lnTo>
                    <a:pt x="6203" y="6508"/>
                  </a:lnTo>
                  <a:close/>
                  <a:moveTo>
                    <a:pt x="6134" y="6484"/>
                  </a:moveTo>
                  <a:cubicBezTo>
                    <a:pt x="6140" y="6521"/>
                    <a:pt x="6140" y="6521"/>
                    <a:pt x="6140" y="6521"/>
                  </a:cubicBezTo>
                  <a:cubicBezTo>
                    <a:pt x="6497" y="6558"/>
                    <a:pt x="6497" y="6558"/>
                    <a:pt x="6497" y="6558"/>
                  </a:cubicBezTo>
                  <a:cubicBezTo>
                    <a:pt x="6490" y="6616"/>
                    <a:pt x="6490" y="6616"/>
                    <a:pt x="6490" y="6616"/>
                  </a:cubicBezTo>
                  <a:cubicBezTo>
                    <a:pt x="6489" y="6616"/>
                    <a:pt x="6489" y="6616"/>
                    <a:pt x="6489" y="6616"/>
                  </a:cubicBezTo>
                  <a:cubicBezTo>
                    <a:pt x="6487" y="6629"/>
                    <a:pt x="6487" y="6629"/>
                    <a:pt x="6487" y="6629"/>
                  </a:cubicBezTo>
                  <a:cubicBezTo>
                    <a:pt x="6489" y="6630"/>
                    <a:pt x="6489" y="6630"/>
                    <a:pt x="6489" y="6630"/>
                  </a:cubicBezTo>
                  <a:cubicBezTo>
                    <a:pt x="6473" y="6767"/>
                    <a:pt x="6473" y="6767"/>
                    <a:pt x="6473" y="6767"/>
                  </a:cubicBezTo>
                  <a:cubicBezTo>
                    <a:pt x="6470" y="6766"/>
                    <a:pt x="6470" y="6766"/>
                    <a:pt x="6470" y="6766"/>
                  </a:cubicBezTo>
                  <a:cubicBezTo>
                    <a:pt x="6393" y="6776"/>
                    <a:pt x="6393" y="6776"/>
                    <a:pt x="6393" y="6776"/>
                  </a:cubicBezTo>
                  <a:cubicBezTo>
                    <a:pt x="6359" y="6907"/>
                    <a:pt x="6359" y="6907"/>
                    <a:pt x="6359" y="6907"/>
                  </a:cubicBezTo>
                  <a:cubicBezTo>
                    <a:pt x="6349" y="6906"/>
                    <a:pt x="6343" y="6905"/>
                    <a:pt x="6341" y="6905"/>
                  </a:cubicBezTo>
                  <a:cubicBezTo>
                    <a:pt x="6341" y="6905"/>
                    <a:pt x="6341" y="6905"/>
                    <a:pt x="6340" y="6905"/>
                  </a:cubicBezTo>
                  <a:cubicBezTo>
                    <a:pt x="6340" y="6905"/>
                    <a:pt x="6340" y="6905"/>
                    <a:pt x="6339" y="6905"/>
                  </a:cubicBezTo>
                  <a:cubicBezTo>
                    <a:pt x="6327" y="6904"/>
                    <a:pt x="6200" y="6882"/>
                    <a:pt x="6077" y="6860"/>
                  </a:cubicBezTo>
                  <a:cubicBezTo>
                    <a:pt x="5981" y="6844"/>
                    <a:pt x="5887" y="6827"/>
                    <a:pt x="5846" y="6820"/>
                  </a:cubicBezTo>
                  <a:cubicBezTo>
                    <a:pt x="5846" y="6819"/>
                    <a:pt x="5846" y="6819"/>
                    <a:pt x="5846" y="6819"/>
                  </a:cubicBezTo>
                  <a:cubicBezTo>
                    <a:pt x="5839" y="6817"/>
                    <a:pt x="5839" y="6817"/>
                    <a:pt x="5839" y="6817"/>
                  </a:cubicBezTo>
                  <a:cubicBezTo>
                    <a:pt x="5872" y="6629"/>
                    <a:pt x="5872" y="6629"/>
                    <a:pt x="5872" y="6629"/>
                  </a:cubicBezTo>
                  <a:cubicBezTo>
                    <a:pt x="6466" y="6709"/>
                    <a:pt x="6466" y="6709"/>
                    <a:pt x="6466" y="6709"/>
                  </a:cubicBezTo>
                  <a:cubicBezTo>
                    <a:pt x="6468" y="6696"/>
                    <a:pt x="6468" y="6696"/>
                    <a:pt x="6468" y="6696"/>
                  </a:cubicBezTo>
                  <a:cubicBezTo>
                    <a:pt x="5874" y="6615"/>
                    <a:pt x="5874" y="6615"/>
                    <a:pt x="5874" y="6615"/>
                  </a:cubicBezTo>
                  <a:cubicBezTo>
                    <a:pt x="5902" y="6456"/>
                    <a:pt x="5902" y="6456"/>
                    <a:pt x="5902" y="6456"/>
                  </a:cubicBezTo>
                  <a:lnTo>
                    <a:pt x="6134" y="6484"/>
                  </a:lnTo>
                  <a:close/>
                  <a:moveTo>
                    <a:pt x="5839" y="6434"/>
                  </a:moveTo>
                  <a:cubicBezTo>
                    <a:pt x="5743" y="6418"/>
                    <a:pt x="5743" y="6418"/>
                    <a:pt x="5743" y="6418"/>
                  </a:cubicBezTo>
                  <a:cubicBezTo>
                    <a:pt x="5744" y="6415"/>
                    <a:pt x="5744" y="6413"/>
                    <a:pt x="5745" y="6410"/>
                  </a:cubicBezTo>
                  <a:cubicBezTo>
                    <a:pt x="5747" y="6402"/>
                    <a:pt x="5749" y="6392"/>
                    <a:pt x="5752" y="6380"/>
                  </a:cubicBezTo>
                  <a:cubicBezTo>
                    <a:pt x="5753" y="6375"/>
                    <a:pt x="5754" y="6369"/>
                    <a:pt x="5755" y="6363"/>
                  </a:cubicBezTo>
                  <a:cubicBezTo>
                    <a:pt x="5810" y="6372"/>
                    <a:pt x="5810" y="6372"/>
                    <a:pt x="5810" y="6372"/>
                  </a:cubicBezTo>
                  <a:cubicBezTo>
                    <a:pt x="5835" y="6218"/>
                    <a:pt x="5835" y="6218"/>
                    <a:pt x="5835" y="6218"/>
                  </a:cubicBezTo>
                  <a:cubicBezTo>
                    <a:pt x="5778" y="6208"/>
                    <a:pt x="5778" y="6208"/>
                    <a:pt x="5778" y="6208"/>
                  </a:cubicBezTo>
                  <a:cubicBezTo>
                    <a:pt x="5779" y="6197"/>
                    <a:pt x="5780" y="6188"/>
                    <a:pt x="5781" y="6180"/>
                  </a:cubicBezTo>
                  <a:cubicBezTo>
                    <a:pt x="5880" y="6199"/>
                    <a:pt x="5880" y="6199"/>
                    <a:pt x="5880" y="6199"/>
                  </a:cubicBezTo>
                  <a:lnTo>
                    <a:pt x="5839" y="6434"/>
                  </a:lnTo>
                  <a:close/>
                  <a:moveTo>
                    <a:pt x="5820" y="6229"/>
                  </a:moveTo>
                  <a:cubicBezTo>
                    <a:pt x="5799" y="6357"/>
                    <a:pt x="5799" y="6357"/>
                    <a:pt x="5799" y="6357"/>
                  </a:cubicBezTo>
                  <a:cubicBezTo>
                    <a:pt x="5757" y="6350"/>
                    <a:pt x="5757" y="6350"/>
                    <a:pt x="5757" y="6350"/>
                  </a:cubicBezTo>
                  <a:cubicBezTo>
                    <a:pt x="5760" y="6331"/>
                    <a:pt x="5763" y="6311"/>
                    <a:pt x="5766" y="6291"/>
                  </a:cubicBezTo>
                  <a:cubicBezTo>
                    <a:pt x="5770" y="6266"/>
                    <a:pt x="5773" y="6242"/>
                    <a:pt x="5776" y="6221"/>
                  </a:cubicBezTo>
                  <a:lnTo>
                    <a:pt x="5820" y="6229"/>
                  </a:lnTo>
                  <a:close/>
                  <a:moveTo>
                    <a:pt x="5764" y="6205"/>
                  </a:moveTo>
                  <a:cubicBezTo>
                    <a:pt x="5659" y="6187"/>
                    <a:pt x="5659" y="6187"/>
                    <a:pt x="5659" y="6187"/>
                  </a:cubicBezTo>
                  <a:cubicBezTo>
                    <a:pt x="5660" y="6175"/>
                    <a:pt x="5662" y="6165"/>
                    <a:pt x="5663" y="6158"/>
                  </a:cubicBezTo>
                  <a:cubicBezTo>
                    <a:pt x="5768" y="6178"/>
                    <a:pt x="5768" y="6178"/>
                    <a:pt x="5768" y="6178"/>
                  </a:cubicBezTo>
                  <a:cubicBezTo>
                    <a:pt x="5767" y="6185"/>
                    <a:pt x="5765" y="6195"/>
                    <a:pt x="5764" y="6205"/>
                  </a:cubicBezTo>
                  <a:close/>
                  <a:moveTo>
                    <a:pt x="5762" y="6218"/>
                  </a:moveTo>
                  <a:cubicBezTo>
                    <a:pt x="5757" y="6257"/>
                    <a:pt x="5750" y="6307"/>
                    <a:pt x="5743" y="6347"/>
                  </a:cubicBezTo>
                  <a:cubicBezTo>
                    <a:pt x="5638" y="6329"/>
                    <a:pt x="5638" y="6329"/>
                    <a:pt x="5638" y="6329"/>
                  </a:cubicBezTo>
                  <a:cubicBezTo>
                    <a:pt x="5641" y="6313"/>
                    <a:pt x="5643" y="6296"/>
                    <a:pt x="5646" y="6279"/>
                  </a:cubicBezTo>
                  <a:cubicBezTo>
                    <a:pt x="5650" y="6250"/>
                    <a:pt x="5654" y="6222"/>
                    <a:pt x="5657" y="6200"/>
                  </a:cubicBezTo>
                  <a:lnTo>
                    <a:pt x="5762" y="6218"/>
                  </a:lnTo>
                  <a:close/>
                  <a:moveTo>
                    <a:pt x="5645" y="6184"/>
                  </a:moveTo>
                  <a:cubicBezTo>
                    <a:pt x="5542" y="6166"/>
                    <a:pt x="5542" y="6166"/>
                    <a:pt x="5542" y="6166"/>
                  </a:cubicBezTo>
                  <a:cubicBezTo>
                    <a:pt x="5544" y="6153"/>
                    <a:pt x="5545" y="6142"/>
                    <a:pt x="5546" y="6137"/>
                  </a:cubicBezTo>
                  <a:cubicBezTo>
                    <a:pt x="5649" y="6156"/>
                    <a:pt x="5649" y="6156"/>
                    <a:pt x="5649" y="6156"/>
                  </a:cubicBezTo>
                  <a:cubicBezTo>
                    <a:pt x="5648" y="6162"/>
                    <a:pt x="5647" y="6172"/>
                    <a:pt x="5645" y="6184"/>
                  </a:cubicBezTo>
                  <a:close/>
                  <a:moveTo>
                    <a:pt x="5643" y="6197"/>
                  </a:moveTo>
                  <a:cubicBezTo>
                    <a:pt x="5638" y="6234"/>
                    <a:pt x="5631" y="6284"/>
                    <a:pt x="5624" y="6326"/>
                  </a:cubicBezTo>
                  <a:cubicBezTo>
                    <a:pt x="5521" y="6308"/>
                    <a:pt x="5521" y="6308"/>
                    <a:pt x="5521" y="6308"/>
                  </a:cubicBezTo>
                  <a:cubicBezTo>
                    <a:pt x="5524" y="6293"/>
                    <a:pt x="5526" y="6276"/>
                    <a:pt x="5529" y="6260"/>
                  </a:cubicBezTo>
                  <a:cubicBezTo>
                    <a:pt x="5533" y="6231"/>
                    <a:pt x="5537" y="6202"/>
                    <a:pt x="5540" y="6179"/>
                  </a:cubicBezTo>
                  <a:lnTo>
                    <a:pt x="5643" y="6197"/>
                  </a:lnTo>
                  <a:close/>
                  <a:moveTo>
                    <a:pt x="5528" y="6163"/>
                  </a:moveTo>
                  <a:cubicBezTo>
                    <a:pt x="5422" y="6144"/>
                    <a:pt x="5422" y="6144"/>
                    <a:pt x="5422" y="6144"/>
                  </a:cubicBezTo>
                  <a:cubicBezTo>
                    <a:pt x="5424" y="6131"/>
                    <a:pt x="5425" y="6120"/>
                    <a:pt x="5426" y="6114"/>
                  </a:cubicBezTo>
                  <a:cubicBezTo>
                    <a:pt x="5532" y="6134"/>
                    <a:pt x="5532" y="6134"/>
                    <a:pt x="5532" y="6134"/>
                  </a:cubicBezTo>
                  <a:cubicBezTo>
                    <a:pt x="5531" y="6140"/>
                    <a:pt x="5530" y="6150"/>
                    <a:pt x="5528" y="6163"/>
                  </a:cubicBezTo>
                  <a:close/>
                  <a:moveTo>
                    <a:pt x="5527" y="6176"/>
                  </a:moveTo>
                  <a:cubicBezTo>
                    <a:pt x="5522" y="6213"/>
                    <a:pt x="5514" y="6263"/>
                    <a:pt x="5508" y="6306"/>
                  </a:cubicBezTo>
                  <a:cubicBezTo>
                    <a:pt x="5401" y="6287"/>
                    <a:pt x="5401" y="6287"/>
                    <a:pt x="5401" y="6287"/>
                  </a:cubicBezTo>
                  <a:cubicBezTo>
                    <a:pt x="5404" y="6271"/>
                    <a:pt x="5406" y="6255"/>
                    <a:pt x="5409" y="6238"/>
                  </a:cubicBezTo>
                  <a:cubicBezTo>
                    <a:pt x="5413" y="6209"/>
                    <a:pt x="5417" y="6181"/>
                    <a:pt x="5420" y="6157"/>
                  </a:cubicBezTo>
                  <a:lnTo>
                    <a:pt x="5527" y="6176"/>
                  </a:lnTo>
                  <a:close/>
                  <a:moveTo>
                    <a:pt x="5408" y="6142"/>
                  </a:moveTo>
                  <a:cubicBezTo>
                    <a:pt x="5287" y="6120"/>
                    <a:pt x="5287" y="6120"/>
                    <a:pt x="5287" y="6120"/>
                  </a:cubicBezTo>
                  <a:cubicBezTo>
                    <a:pt x="5288" y="6108"/>
                    <a:pt x="5289" y="6097"/>
                    <a:pt x="5289" y="6089"/>
                  </a:cubicBezTo>
                  <a:cubicBezTo>
                    <a:pt x="5412" y="6112"/>
                    <a:pt x="5412" y="6112"/>
                    <a:pt x="5412" y="6112"/>
                  </a:cubicBezTo>
                  <a:cubicBezTo>
                    <a:pt x="5411" y="6117"/>
                    <a:pt x="5410" y="6128"/>
                    <a:pt x="5408" y="6142"/>
                  </a:cubicBezTo>
                  <a:close/>
                  <a:moveTo>
                    <a:pt x="5406" y="6155"/>
                  </a:moveTo>
                  <a:cubicBezTo>
                    <a:pt x="5401" y="6191"/>
                    <a:pt x="5394" y="6242"/>
                    <a:pt x="5388" y="6284"/>
                  </a:cubicBezTo>
                  <a:cubicBezTo>
                    <a:pt x="5274" y="6265"/>
                    <a:pt x="5274" y="6265"/>
                    <a:pt x="5274" y="6265"/>
                  </a:cubicBezTo>
                  <a:cubicBezTo>
                    <a:pt x="5279" y="6214"/>
                    <a:pt x="5283" y="6168"/>
                    <a:pt x="5286" y="6134"/>
                  </a:cubicBezTo>
                  <a:lnTo>
                    <a:pt x="5406" y="6155"/>
                  </a:lnTo>
                  <a:close/>
                  <a:moveTo>
                    <a:pt x="5273" y="6118"/>
                  </a:moveTo>
                  <a:cubicBezTo>
                    <a:pt x="4895" y="6051"/>
                    <a:pt x="4895" y="6051"/>
                    <a:pt x="4895" y="6051"/>
                  </a:cubicBezTo>
                  <a:cubicBezTo>
                    <a:pt x="4889" y="6050"/>
                    <a:pt x="4889" y="6050"/>
                    <a:pt x="4889" y="6050"/>
                  </a:cubicBezTo>
                  <a:cubicBezTo>
                    <a:pt x="4863" y="6205"/>
                    <a:pt x="4863" y="6205"/>
                    <a:pt x="4863" y="6205"/>
                  </a:cubicBezTo>
                  <a:cubicBezTo>
                    <a:pt x="5260" y="6275"/>
                    <a:pt x="5260" y="6275"/>
                    <a:pt x="5260" y="6275"/>
                  </a:cubicBezTo>
                  <a:cubicBezTo>
                    <a:pt x="5259" y="6285"/>
                    <a:pt x="5258" y="6296"/>
                    <a:pt x="5257" y="6306"/>
                  </a:cubicBezTo>
                  <a:cubicBezTo>
                    <a:pt x="4703" y="6217"/>
                    <a:pt x="4703" y="6217"/>
                    <a:pt x="4703" y="6217"/>
                  </a:cubicBezTo>
                  <a:cubicBezTo>
                    <a:pt x="4707" y="6197"/>
                    <a:pt x="4711" y="6178"/>
                    <a:pt x="4715" y="6158"/>
                  </a:cubicBezTo>
                  <a:cubicBezTo>
                    <a:pt x="4726" y="6100"/>
                    <a:pt x="4738" y="6043"/>
                    <a:pt x="4749" y="5988"/>
                  </a:cubicBezTo>
                  <a:cubicBezTo>
                    <a:pt x="5276" y="6086"/>
                    <a:pt x="5276" y="6086"/>
                    <a:pt x="5276" y="6086"/>
                  </a:cubicBezTo>
                  <a:cubicBezTo>
                    <a:pt x="5275" y="6094"/>
                    <a:pt x="5274" y="6105"/>
                    <a:pt x="5273" y="6118"/>
                  </a:cubicBezTo>
                  <a:close/>
                  <a:moveTo>
                    <a:pt x="4743" y="5691"/>
                  </a:moveTo>
                  <a:cubicBezTo>
                    <a:pt x="4682" y="5686"/>
                    <a:pt x="4682" y="5686"/>
                    <a:pt x="4682" y="5686"/>
                  </a:cubicBezTo>
                  <a:cubicBezTo>
                    <a:pt x="4715" y="5510"/>
                    <a:pt x="4715" y="5510"/>
                    <a:pt x="4715" y="5510"/>
                  </a:cubicBezTo>
                  <a:cubicBezTo>
                    <a:pt x="4716" y="5503"/>
                    <a:pt x="4716" y="5503"/>
                    <a:pt x="4716" y="5503"/>
                  </a:cubicBezTo>
                  <a:cubicBezTo>
                    <a:pt x="4561" y="5478"/>
                    <a:pt x="4561" y="5478"/>
                    <a:pt x="4561" y="5478"/>
                  </a:cubicBezTo>
                  <a:cubicBezTo>
                    <a:pt x="4525" y="5672"/>
                    <a:pt x="4525" y="5672"/>
                    <a:pt x="4525" y="5672"/>
                  </a:cubicBezTo>
                  <a:cubicBezTo>
                    <a:pt x="4021" y="5627"/>
                    <a:pt x="4021" y="5627"/>
                    <a:pt x="4021" y="5627"/>
                  </a:cubicBezTo>
                  <a:cubicBezTo>
                    <a:pt x="4037" y="5419"/>
                    <a:pt x="4037" y="5419"/>
                    <a:pt x="4037" y="5419"/>
                  </a:cubicBezTo>
                  <a:cubicBezTo>
                    <a:pt x="4785" y="5455"/>
                    <a:pt x="4785" y="5455"/>
                    <a:pt x="4785" y="5455"/>
                  </a:cubicBezTo>
                  <a:cubicBezTo>
                    <a:pt x="4784" y="5469"/>
                    <a:pt x="4784" y="5481"/>
                    <a:pt x="4783" y="5490"/>
                  </a:cubicBezTo>
                  <a:cubicBezTo>
                    <a:pt x="4782" y="5500"/>
                    <a:pt x="4781" y="5507"/>
                    <a:pt x="4781" y="5510"/>
                  </a:cubicBezTo>
                  <a:cubicBezTo>
                    <a:pt x="4779" y="5520"/>
                    <a:pt x="4765" y="5589"/>
                    <a:pt x="4743" y="5691"/>
                  </a:cubicBezTo>
                  <a:close/>
                  <a:moveTo>
                    <a:pt x="4025" y="5405"/>
                  </a:moveTo>
                  <a:cubicBezTo>
                    <a:pt x="4014" y="5542"/>
                    <a:pt x="4014" y="5542"/>
                    <a:pt x="4014" y="5542"/>
                  </a:cubicBezTo>
                  <a:cubicBezTo>
                    <a:pt x="3978" y="5546"/>
                    <a:pt x="3802" y="5568"/>
                    <a:pt x="3801" y="5568"/>
                  </a:cubicBezTo>
                  <a:cubicBezTo>
                    <a:pt x="3797" y="5569"/>
                    <a:pt x="3797" y="5569"/>
                    <a:pt x="3797" y="5569"/>
                  </a:cubicBezTo>
                  <a:cubicBezTo>
                    <a:pt x="3768" y="5647"/>
                    <a:pt x="3768" y="5647"/>
                    <a:pt x="3768" y="5647"/>
                  </a:cubicBezTo>
                  <a:cubicBezTo>
                    <a:pt x="3737" y="5639"/>
                    <a:pt x="3596" y="5604"/>
                    <a:pt x="3536" y="5591"/>
                  </a:cubicBezTo>
                  <a:cubicBezTo>
                    <a:pt x="3561" y="5542"/>
                    <a:pt x="3576" y="5513"/>
                    <a:pt x="3576" y="5513"/>
                  </a:cubicBezTo>
                  <a:cubicBezTo>
                    <a:pt x="3589" y="5488"/>
                    <a:pt x="3589" y="5488"/>
                    <a:pt x="3589" y="5488"/>
                  </a:cubicBezTo>
                  <a:cubicBezTo>
                    <a:pt x="3587" y="5487"/>
                    <a:pt x="3587" y="5487"/>
                    <a:pt x="3587" y="5487"/>
                  </a:cubicBezTo>
                  <a:cubicBezTo>
                    <a:pt x="3744" y="5457"/>
                    <a:pt x="3744" y="5457"/>
                    <a:pt x="3744" y="5457"/>
                  </a:cubicBezTo>
                  <a:cubicBezTo>
                    <a:pt x="3908" y="5211"/>
                    <a:pt x="3908" y="5211"/>
                    <a:pt x="3908" y="5211"/>
                  </a:cubicBezTo>
                  <a:cubicBezTo>
                    <a:pt x="4023" y="5259"/>
                    <a:pt x="4123" y="5301"/>
                    <a:pt x="4153" y="5313"/>
                  </a:cubicBezTo>
                  <a:cubicBezTo>
                    <a:pt x="4154" y="5313"/>
                    <a:pt x="4154" y="5313"/>
                    <a:pt x="4155" y="5313"/>
                  </a:cubicBezTo>
                  <a:cubicBezTo>
                    <a:pt x="4095" y="5408"/>
                    <a:pt x="4095" y="5408"/>
                    <a:pt x="4095" y="5408"/>
                  </a:cubicBezTo>
                  <a:lnTo>
                    <a:pt x="4025" y="5405"/>
                  </a:lnTo>
                  <a:close/>
                  <a:moveTo>
                    <a:pt x="3736" y="5445"/>
                  </a:moveTo>
                  <a:cubicBezTo>
                    <a:pt x="3624" y="5466"/>
                    <a:pt x="3624" y="5466"/>
                    <a:pt x="3624" y="5466"/>
                  </a:cubicBezTo>
                  <a:cubicBezTo>
                    <a:pt x="3690" y="5341"/>
                    <a:pt x="3690" y="5341"/>
                    <a:pt x="3690" y="5341"/>
                  </a:cubicBezTo>
                  <a:cubicBezTo>
                    <a:pt x="3623" y="5306"/>
                    <a:pt x="3623" y="5306"/>
                    <a:pt x="3623" y="5306"/>
                  </a:cubicBezTo>
                  <a:cubicBezTo>
                    <a:pt x="3556" y="5434"/>
                    <a:pt x="3556" y="5434"/>
                    <a:pt x="3556" y="5434"/>
                  </a:cubicBezTo>
                  <a:cubicBezTo>
                    <a:pt x="3553" y="5440"/>
                    <a:pt x="3553" y="5440"/>
                    <a:pt x="3553" y="5440"/>
                  </a:cubicBezTo>
                  <a:cubicBezTo>
                    <a:pt x="3608" y="5469"/>
                    <a:pt x="3608" y="5469"/>
                    <a:pt x="3608" y="5469"/>
                  </a:cubicBezTo>
                  <a:cubicBezTo>
                    <a:pt x="3572" y="5476"/>
                    <a:pt x="3572" y="5476"/>
                    <a:pt x="3572" y="5476"/>
                  </a:cubicBezTo>
                  <a:cubicBezTo>
                    <a:pt x="3505" y="5424"/>
                    <a:pt x="3505" y="5424"/>
                    <a:pt x="3505" y="5424"/>
                  </a:cubicBezTo>
                  <a:cubicBezTo>
                    <a:pt x="3662" y="5106"/>
                    <a:pt x="3662" y="5106"/>
                    <a:pt x="3662" y="5106"/>
                  </a:cubicBezTo>
                  <a:cubicBezTo>
                    <a:pt x="3699" y="5122"/>
                    <a:pt x="3738" y="5139"/>
                    <a:pt x="3778" y="5156"/>
                  </a:cubicBezTo>
                  <a:cubicBezTo>
                    <a:pt x="3817" y="5173"/>
                    <a:pt x="3857" y="5189"/>
                    <a:pt x="3895" y="5205"/>
                  </a:cubicBezTo>
                  <a:lnTo>
                    <a:pt x="3736" y="5445"/>
                  </a:lnTo>
                  <a:close/>
                  <a:moveTo>
                    <a:pt x="3614" y="5457"/>
                  </a:moveTo>
                  <a:cubicBezTo>
                    <a:pt x="3570" y="5434"/>
                    <a:pt x="3570" y="5434"/>
                    <a:pt x="3570" y="5434"/>
                  </a:cubicBezTo>
                  <a:cubicBezTo>
                    <a:pt x="3629" y="5323"/>
                    <a:pt x="3629" y="5323"/>
                    <a:pt x="3629" y="5323"/>
                  </a:cubicBezTo>
                  <a:cubicBezTo>
                    <a:pt x="3673" y="5347"/>
                    <a:pt x="3673" y="5347"/>
                    <a:pt x="3673" y="5347"/>
                  </a:cubicBezTo>
                  <a:lnTo>
                    <a:pt x="3614" y="5457"/>
                  </a:lnTo>
                  <a:close/>
                  <a:moveTo>
                    <a:pt x="3493" y="5415"/>
                  </a:moveTo>
                  <a:cubicBezTo>
                    <a:pt x="3274" y="5246"/>
                    <a:pt x="3274" y="5246"/>
                    <a:pt x="3274" y="5246"/>
                  </a:cubicBezTo>
                  <a:cubicBezTo>
                    <a:pt x="3470" y="5023"/>
                    <a:pt x="3470" y="5023"/>
                    <a:pt x="3470" y="5023"/>
                  </a:cubicBezTo>
                  <a:cubicBezTo>
                    <a:pt x="3471" y="5024"/>
                    <a:pt x="3471" y="5024"/>
                    <a:pt x="3472" y="5024"/>
                  </a:cubicBezTo>
                  <a:cubicBezTo>
                    <a:pt x="3477" y="5026"/>
                    <a:pt x="3483" y="5029"/>
                    <a:pt x="3492" y="5033"/>
                  </a:cubicBezTo>
                  <a:cubicBezTo>
                    <a:pt x="3509" y="5040"/>
                    <a:pt x="3533" y="5051"/>
                    <a:pt x="3561" y="5063"/>
                  </a:cubicBezTo>
                  <a:cubicBezTo>
                    <a:pt x="3587" y="5074"/>
                    <a:pt x="3617" y="5087"/>
                    <a:pt x="3649" y="5101"/>
                  </a:cubicBezTo>
                  <a:lnTo>
                    <a:pt x="3493" y="5415"/>
                  </a:lnTo>
                  <a:close/>
                  <a:moveTo>
                    <a:pt x="3505" y="5507"/>
                  </a:moveTo>
                  <a:cubicBezTo>
                    <a:pt x="3488" y="5541"/>
                    <a:pt x="3454" y="5607"/>
                    <a:pt x="3411" y="5691"/>
                  </a:cubicBezTo>
                  <a:cubicBezTo>
                    <a:pt x="3408" y="5690"/>
                    <a:pt x="3404" y="5688"/>
                    <a:pt x="3400" y="5685"/>
                  </a:cubicBezTo>
                  <a:cubicBezTo>
                    <a:pt x="3397" y="5684"/>
                    <a:pt x="3394" y="5682"/>
                    <a:pt x="3391" y="5681"/>
                  </a:cubicBezTo>
                  <a:cubicBezTo>
                    <a:pt x="3439" y="5587"/>
                    <a:pt x="3439" y="5587"/>
                    <a:pt x="3439" y="5587"/>
                  </a:cubicBezTo>
                  <a:cubicBezTo>
                    <a:pt x="3453" y="5596"/>
                    <a:pt x="3453" y="5596"/>
                    <a:pt x="3453" y="5596"/>
                  </a:cubicBezTo>
                  <a:cubicBezTo>
                    <a:pt x="3461" y="5584"/>
                    <a:pt x="3461" y="5584"/>
                    <a:pt x="3461" y="5584"/>
                  </a:cubicBezTo>
                  <a:cubicBezTo>
                    <a:pt x="3445" y="5574"/>
                    <a:pt x="3445" y="5574"/>
                    <a:pt x="3445" y="5574"/>
                  </a:cubicBezTo>
                  <a:cubicBezTo>
                    <a:pt x="3470" y="5526"/>
                    <a:pt x="3470" y="5526"/>
                    <a:pt x="3470" y="5526"/>
                  </a:cubicBezTo>
                  <a:cubicBezTo>
                    <a:pt x="3473" y="5520"/>
                    <a:pt x="3473" y="5520"/>
                    <a:pt x="3473" y="5520"/>
                  </a:cubicBezTo>
                  <a:cubicBezTo>
                    <a:pt x="3353" y="5462"/>
                    <a:pt x="3353" y="5462"/>
                    <a:pt x="3353" y="5462"/>
                  </a:cubicBezTo>
                  <a:cubicBezTo>
                    <a:pt x="3333" y="5501"/>
                    <a:pt x="3333" y="5501"/>
                    <a:pt x="3333" y="5501"/>
                  </a:cubicBezTo>
                  <a:cubicBezTo>
                    <a:pt x="3020" y="5298"/>
                    <a:pt x="3020" y="5298"/>
                    <a:pt x="3020" y="5298"/>
                  </a:cubicBezTo>
                  <a:cubicBezTo>
                    <a:pt x="3082" y="5181"/>
                    <a:pt x="3082" y="5181"/>
                    <a:pt x="3082" y="5181"/>
                  </a:cubicBezTo>
                  <a:lnTo>
                    <a:pt x="3505" y="5507"/>
                  </a:lnTo>
                  <a:close/>
                  <a:moveTo>
                    <a:pt x="3234" y="5731"/>
                  </a:moveTo>
                  <a:cubicBezTo>
                    <a:pt x="3280" y="5638"/>
                    <a:pt x="3280" y="5638"/>
                    <a:pt x="3280" y="5638"/>
                  </a:cubicBezTo>
                  <a:cubicBezTo>
                    <a:pt x="3316" y="5657"/>
                    <a:pt x="3349" y="5675"/>
                    <a:pt x="3373" y="5687"/>
                  </a:cubicBezTo>
                  <a:cubicBezTo>
                    <a:pt x="3327" y="5777"/>
                    <a:pt x="3327" y="5777"/>
                    <a:pt x="3327" y="5777"/>
                  </a:cubicBezTo>
                  <a:cubicBezTo>
                    <a:pt x="3302" y="5765"/>
                    <a:pt x="3269" y="5748"/>
                    <a:pt x="3234" y="5731"/>
                  </a:cubicBezTo>
                  <a:close/>
                  <a:moveTo>
                    <a:pt x="3321" y="5790"/>
                  </a:moveTo>
                  <a:cubicBezTo>
                    <a:pt x="3311" y="5809"/>
                    <a:pt x="3311" y="5809"/>
                    <a:pt x="3311" y="5809"/>
                  </a:cubicBezTo>
                  <a:cubicBezTo>
                    <a:pt x="3217" y="5763"/>
                    <a:pt x="3217" y="5763"/>
                    <a:pt x="3217" y="5763"/>
                  </a:cubicBezTo>
                  <a:cubicBezTo>
                    <a:pt x="3227" y="5743"/>
                    <a:pt x="3227" y="5743"/>
                    <a:pt x="3227" y="5743"/>
                  </a:cubicBezTo>
                  <a:cubicBezTo>
                    <a:pt x="3263" y="5761"/>
                    <a:pt x="3295" y="5777"/>
                    <a:pt x="3321" y="5790"/>
                  </a:cubicBezTo>
                  <a:close/>
                  <a:moveTo>
                    <a:pt x="3428" y="5579"/>
                  </a:moveTo>
                  <a:cubicBezTo>
                    <a:pt x="3379" y="5675"/>
                    <a:pt x="3379" y="5675"/>
                    <a:pt x="3379" y="5675"/>
                  </a:cubicBezTo>
                  <a:cubicBezTo>
                    <a:pt x="3370" y="5670"/>
                    <a:pt x="3359" y="5664"/>
                    <a:pt x="3347" y="5658"/>
                  </a:cubicBezTo>
                  <a:cubicBezTo>
                    <a:pt x="3329" y="5648"/>
                    <a:pt x="3308" y="5637"/>
                    <a:pt x="3286" y="5625"/>
                  </a:cubicBezTo>
                  <a:cubicBezTo>
                    <a:pt x="3338" y="5521"/>
                    <a:pt x="3338" y="5521"/>
                    <a:pt x="3338" y="5521"/>
                  </a:cubicBezTo>
                  <a:lnTo>
                    <a:pt x="3428" y="5579"/>
                  </a:lnTo>
                  <a:close/>
                  <a:moveTo>
                    <a:pt x="3344" y="5509"/>
                  </a:moveTo>
                  <a:cubicBezTo>
                    <a:pt x="3359" y="5479"/>
                    <a:pt x="3359" y="5479"/>
                    <a:pt x="3359" y="5479"/>
                  </a:cubicBezTo>
                  <a:cubicBezTo>
                    <a:pt x="3455" y="5526"/>
                    <a:pt x="3455" y="5526"/>
                    <a:pt x="3455" y="5526"/>
                  </a:cubicBezTo>
                  <a:cubicBezTo>
                    <a:pt x="3434" y="5567"/>
                    <a:pt x="3434" y="5567"/>
                    <a:pt x="3434" y="5567"/>
                  </a:cubicBezTo>
                  <a:lnTo>
                    <a:pt x="3344" y="5509"/>
                  </a:lnTo>
                  <a:close/>
                  <a:moveTo>
                    <a:pt x="3385" y="5693"/>
                  </a:moveTo>
                  <a:cubicBezTo>
                    <a:pt x="3393" y="5698"/>
                    <a:pt x="3400" y="5701"/>
                    <a:pt x="3405" y="5703"/>
                  </a:cubicBezTo>
                  <a:cubicBezTo>
                    <a:pt x="3390" y="5732"/>
                    <a:pt x="3375" y="5762"/>
                    <a:pt x="3359" y="5793"/>
                  </a:cubicBezTo>
                  <a:cubicBezTo>
                    <a:pt x="3353" y="5790"/>
                    <a:pt x="3346" y="5787"/>
                    <a:pt x="3339" y="5783"/>
                  </a:cubicBezTo>
                  <a:lnTo>
                    <a:pt x="3385" y="5693"/>
                  </a:lnTo>
                  <a:close/>
                  <a:moveTo>
                    <a:pt x="3327" y="5514"/>
                  </a:moveTo>
                  <a:cubicBezTo>
                    <a:pt x="3274" y="5619"/>
                    <a:pt x="3274" y="5619"/>
                    <a:pt x="3274" y="5619"/>
                  </a:cubicBezTo>
                  <a:cubicBezTo>
                    <a:pt x="3247" y="5605"/>
                    <a:pt x="3219" y="5589"/>
                    <a:pt x="3190" y="5574"/>
                  </a:cubicBezTo>
                  <a:cubicBezTo>
                    <a:pt x="3082" y="5515"/>
                    <a:pt x="2972" y="5456"/>
                    <a:pt x="2944" y="5442"/>
                  </a:cubicBezTo>
                  <a:cubicBezTo>
                    <a:pt x="3013" y="5310"/>
                    <a:pt x="3013" y="5310"/>
                    <a:pt x="3013" y="5310"/>
                  </a:cubicBezTo>
                  <a:lnTo>
                    <a:pt x="3327" y="5514"/>
                  </a:lnTo>
                  <a:close/>
                  <a:moveTo>
                    <a:pt x="2951" y="5461"/>
                  </a:moveTo>
                  <a:cubicBezTo>
                    <a:pt x="2963" y="5467"/>
                    <a:pt x="2979" y="5476"/>
                    <a:pt x="3000" y="5487"/>
                  </a:cubicBezTo>
                  <a:cubicBezTo>
                    <a:pt x="3040" y="5509"/>
                    <a:pt x="3094" y="5538"/>
                    <a:pt x="3150" y="5568"/>
                  </a:cubicBezTo>
                  <a:cubicBezTo>
                    <a:pt x="3190" y="5589"/>
                    <a:pt x="3231" y="5612"/>
                    <a:pt x="3268" y="5632"/>
                  </a:cubicBezTo>
                  <a:cubicBezTo>
                    <a:pt x="3222" y="5725"/>
                    <a:pt x="3222" y="5725"/>
                    <a:pt x="3222" y="5725"/>
                  </a:cubicBezTo>
                  <a:cubicBezTo>
                    <a:pt x="3194" y="5711"/>
                    <a:pt x="3165" y="5696"/>
                    <a:pt x="3136" y="5682"/>
                  </a:cubicBezTo>
                  <a:cubicBezTo>
                    <a:pt x="3019" y="5624"/>
                    <a:pt x="2900" y="5564"/>
                    <a:pt x="2884" y="5556"/>
                  </a:cubicBezTo>
                  <a:cubicBezTo>
                    <a:pt x="2937" y="5454"/>
                    <a:pt x="2937" y="5454"/>
                    <a:pt x="2937" y="5454"/>
                  </a:cubicBezTo>
                  <a:cubicBezTo>
                    <a:pt x="2941" y="5456"/>
                    <a:pt x="2945" y="5458"/>
                    <a:pt x="2951" y="5461"/>
                  </a:cubicBezTo>
                  <a:close/>
                  <a:moveTo>
                    <a:pt x="3216" y="5737"/>
                  </a:moveTo>
                  <a:cubicBezTo>
                    <a:pt x="3200" y="5769"/>
                    <a:pt x="3200" y="5769"/>
                    <a:pt x="3200" y="5769"/>
                  </a:cubicBezTo>
                  <a:cubicBezTo>
                    <a:pt x="3317" y="5826"/>
                    <a:pt x="3317" y="5826"/>
                    <a:pt x="3317" y="5826"/>
                  </a:cubicBezTo>
                  <a:cubicBezTo>
                    <a:pt x="3333" y="5795"/>
                    <a:pt x="3333" y="5795"/>
                    <a:pt x="3333" y="5795"/>
                  </a:cubicBezTo>
                  <a:cubicBezTo>
                    <a:pt x="3340" y="5799"/>
                    <a:pt x="3347" y="5803"/>
                    <a:pt x="3353" y="5805"/>
                  </a:cubicBezTo>
                  <a:cubicBezTo>
                    <a:pt x="3328" y="5853"/>
                    <a:pt x="3303" y="5903"/>
                    <a:pt x="3277" y="5954"/>
                  </a:cubicBezTo>
                  <a:cubicBezTo>
                    <a:pt x="3256" y="5944"/>
                    <a:pt x="3256" y="5944"/>
                    <a:pt x="3256" y="5944"/>
                  </a:cubicBezTo>
                  <a:cubicBezTo>
                    <a:pt x="3274" y="5908"/>
                    <a:pt x="3274" y="5908"/>
                    <a:pt x="3274" y="5908"/>
                  </a:cubicBezTo>
                  <a:cubicBezTo>
                    <a:pt x="3277" y="5902"/>
                    <a:pt x="3277" y="5902"/>
                    <a:pt x="3277" y="5902"/>
                  </a:cubicBezTo>
                  <a:cubicBezTo>
                    <a:pt x="3157" y="5844"/>
                    <a:pt x="3157" y="5844"/>
                    <a:pt x="3157" y="5844"/>
                  </a:cubicBezTo>
                  <a:cubicBezTo>
                    <a:pt x="3137" y="5884"/>
                    <a:pt x="3137" y="5884"/>
                    <a:pt x="3137" y="5884"/>
                  </a:cubicBezTo>
                  <a:cubicBezTo>
                    <a:pt x="3064" y="5848"/>
                    <a:pt x="3064" y="5848"/>
                    <a:pt x="3064" y="5848"/>
                  </a:cubicBezTo>
                  <a:cubicBezTo>
                    <a:pt x="3020" y="5871"/>
                    <a:pt x="3020" y="5871"/>
                    <a:pt x="3020" y="5871"/>
                  </a:cubicBezTo>
                  <a:cubicBezTo>
                    <a:pt x="2781" y="5752"/>
                    <a:pt x="2781" y="5752"/>
                    <a:pt x="2781" y="5752"/>
                  </a:cubicBezTo>
                  <a:cubicBezTo>
                    <a:pt x="2775" y="5764"/>
                    <a:pt x="2775" y="5764"/>
                    <a:pt x="2775" y="5764"/>
                  </a:cubicBezTo>
                  <a:cubicBezTo>
                    <a:pt x="3020" y="5887"/>
                    <a:pt x="3020" y="5887"/>
                    <a:pt x="3020" y="5887"/>
                  </a:cubicBezTo>
                  <a:cubicBezTo>
                    <a:pt x="3064" y="5863"/>
                    <a:pt x="3064" y="5863"/>
                    <a:pt x="3064" y="5863"/>
                  </a:cubicBezTo>
                  <a:cubicBezTo>
                    <a:pt x="3131" y="5897"/>
                    <a:pt x="3131" y="5897"/>
                    <a:pt x="3131" y="5897"/>
                  </a:cubicBezTo>
                  <a:cubicBezTo>
                    <a:pt x="3044" y="6071"/>
                    <a:pt x="3044" y="6071"/>
                    <a:pt x="3044" y="6071"/>
                  </a:cubicBezTo>
                  <a:cubicBezTo>
                    <a:pt x="2988" y="6046"/>
                    <a:pt x="2988" y="6046"/>
                    <a:pt x="2988" y="6046"/>
                  </a:cubicBezTo>
                  <a:cubicBezTo>
                    <a:pt x="2888" y="6075"/>
                    <a:pt x="2888" y="6075"/>
                    <a:pt x="2888" y="6075"/>
                  </a:cubicBezTo>
                  <a:cubicBezTo>
                    <a:pt x="2659" y="5982"/>
                    <a:pt x="2659" y="5982"/>
                    <a:pt x="2659" y="5982"/>
                  </a:cubicBezTo>
                  <a:cubicBezTo>
                    <a:pt x="2878" y="5568"/>
                    <a:pt x="2878" y="5568"/>
                    <a:pt x="2878" y="5568"/>
                  </a:cubicBezTo>
                  <a:cubicBezTo>
                    <a:pt x="2903" y="5581"/>
                    <a:pt x="3079" y="5669"/>
                    <a:pt x="3216" y="5737"/>
                  </a:cubicBezTo>
                  <a:close/>
                  <a:moveTo>
                    <a:pt x="3056" y="6076"/>
                  </a:moveTo>
                  <a:cubicBezTo>
                    <a:pt x="3143" y="5903"/>
                    <a:pt x="3143" y="5903"/>
                    <a:pt x="3143" y="5903"/>
                  </a:cubicBezTo>
                  <a:cubicBezTo>
                    <a:pt x="3238" y="5950"/>
                    <a:pt x="3238" y="5950"/>
                    <a:pt x="3238" y="5950"/>
                  </a:cubicBezTo>
                  <a:cubicBezTo>
                    <a:pt x="3152" y="6119"/>
                    <a:pt x="3152" y="6119"/>
                    <a:pt x="3152" y="6119"/>
                  </a:cubicBezTo>
                  <a:lnTo>
                    <a:pt x="3056" y="6076"/>
                  </a:lnTo>
                  <a:close/>
                  <a:moveTo>
                    <a:pt x="3146" y="6131"/>
                  </a:moveTo>
                  <a:cubicBezTo>
                    <a:pt x="3115" y="6191"/>
                    <a:pt x="3115" y="6191"/>
                    <a:pt x="3115" y="6191"/>
                  </a:cubicBezTo>
                  <a:cubicBezTo>
                    <a:pt x="3022" y="6146"/>
                    <a:pt x="3022" y="6146"/>
                    <a:pt x="3022" y="6146"/>
                  </a:cubicBezTo>
                  <a:cubicBezTo>
                    <a:pt x="3050" y="6089"/>
                    <a:pt x="3050" y="6089"/>
                    <a:pt x="3050" y="6089"/>
                  </a:cubicBezTo>
                  <a:lnTo>
                    <a:pt x="3146" y="6131"/>
                  </a:lnTo>
                  <a:close/>
                  <a:moveTo>
                    <a:pt x="3149" y="5890"/>
                  </a:moveTo>
                  <a:cubicBezTo>
                    <a:pt x="3163" y="5862"/>
                    <a:pt x="3163" y="5862"/>
                    <a:pt x="3163" y="5862"/>
                  </a:cubicBezTo>
                  <a:cubicBezTo>
                    <a:pt x="3259" y="5908"/>
                    <a:pt x="3259" y="5908"/>
                    <a:pt x="3259" y="5908"/>
                  </a:cubicBezTo>
                  <a:cubicBezTo>
                    <a:pt x="3244" y="5938"/>
                    <a:pt x="3244" y="5938"/>
                    <a:pt x="3244" y="5938"/>
                  </a:cubicBezTo>
                  <a:lnTo>
                    <a:pt x="3149" y="5890"/>
                  </a:lnTo>
                  <a:close/>
                  <a:moveTo>
                    <a:pt x="3250" y="5956"/>
                  </a:moveTo>
                  <a:cubicBezTo>
                    <a:pt x="3271" y="5967"/>
                    <a:pt x="3271" y="5967"/>
                    <a:pt x="3271" y="5967"/>
                  </a:cubicBezTo>
                  <a:cubicBezTo>
                    <a:pt x="3243" y="6022"/>
                    <a:pt x="3214" y="6079"/>
                    <a:pt x="3186" y="6134"/>
                  </a:cubicBezTo>
                  <a:cubicBezTo>
                    <a:pt x="3164" y="6124"/>
                    <a:pt x="3164" y="6124"/>
                    <a:pt x="3164" y="6124"/>
                  </a:cubicBezTo>
                  <a:lnTo>
                    <a:pt x="3250" y="5956"/>
                  </a:lnTo>
                  <a:close/>
                  <a:moveTo>
                    <a:pt x="2887" y="6090"/>
                  </a:moveTo>
                  <a:cubicBezTo>
                    <a:pt x="2987" y="6061"/>
                    <a:pt x="2987" y="6061"/>
                    <a:pt x="2987" y="6061"/>
                  </a:cubicBezTo>
                  <a:cubicBezTo>
                    <a:pt x="3038" y="6083"/>
                    <a:pt x="3038" y="6083"/>
                    <a:pt x="3038" y="6083"/>
                  </a:cubicBezTo>
                  <a:cubicBezTo>
                    <a:pt x="3004" y="6152"/>
                    <a:pt x="3004" y="6152"/>
                    <a:pt x="3004" y="6152"/>
                  </a:cubicBezTo>
                  <a:cubicBezTo>
                    <a:pt x="3121" y="6209"/>
                    <a:pt x="3121" y="6209"/>
                    <a:pt x="3121" y="6209"/>
                  </a:cubicBezTo>
                  <a:cubicBezTo>
                    <a:pt x="3158" y="6137"/>
                    <a:pt x="3158" y="6137"/>
                    <a:pt x="3158" y="6137"/>
                  </a:cubicBezTo>
                  <a:cubicBezTo>
                    <a:pt x="3180" y="6146"/>
                    <a:pt x="3180" y="6146"/>
                    <a:pt x="3180" y="6146"/>
                  </a:cubicBezTo>
                  <a:cubicBezTo>
                    <a:pt x="3148" y="6209"/>
                    <a:pt x="3117" y="6271"/>
                    <a:pt x="3090" y="6327"/>
                  </a:cubicBezTo>
                  <a:cubicBezTo>
                    <a:pt x="3049" y="6308"/>
                    <a:pt x="2918" y="6247"/>
                    <a:pt x="2785" y="6185"/>
                  </a:cubicBezTo>
                  <a:cubicBezTo>
                    <a:pt x="2646" y="6121"/>
                    <a:pt x="2509" y="6057"/>
                    <a:pt x="2469" y="6039"/>
                  </a:cubicBezTo>
                  <a:cubicBezTo>
                    <a:pt x="2482" y="6021"/>
                    <a:pt x="2494" y="6003"/>
                    <a:pt x="2505" y="5989"/>
                  </a:cubicBezTo>
                  <a:cubicBezTo>
                    <a:pt x="2521" y="5967"/>
                    <a:pt x="2535" y="5952"/>
                    <a:pt x="2539" y="5949"/>
                  </a:cubicBezTo>
                  <a:lnTo>
                    <a:pt x="2887" y="6090"/>
                  </a:lnTo>
                  <a:close/>
                  <a:moveTo>
                    <a:pt x="2920" y="6591"/>
                  </a:moveTo>
                  <a:cubicBezTo>
                    <a:pt x="2882" y="6667"/>
                    <a:pt x="2882" y="6667"/>
                    <a:pt x="2882" y="6667"/>
                  </a:cubicBezTo>
                  <a:cubicBezTo>
                    <a:pt x="2788" y="6621"/>
                    <a:pt x="2788" y="6621"/>
                    <a:pt x="2788" y="6621"/>
                  </a:cubicBezTo>
                  <a:cubicBezTo>
                    <a:pt x="2826" y="6545"/>
                    <a:pt x="2826" y="6545"/>
                    <a:pt x="2826" y="6545"/>
                  </a:cubicBezTo>
                  <a:lnTo>
                    <a:pt x="2920" y="6591"/>
                  </a:lnTo>
                  <a:close/>
                  <a:moveTo>
                    <a:pt x="2832" y="6533"/>
                  </a:moveTo>
                  <a:cubicBezTo>
                    <a:pt x="2929" y="6337"/>
                    <a:pt x="2929" y="6337"/>
                    <a:pt x="2929" y="6337"/>
                  </a:cubicBezTo>
                  <a:cubicBezTo>
                    <a:pt x="3026" y="6384"/>
                    <a:pt x="3026" y="6384"/>
                    <a:pt x="3026" y="6384"/>
                  </a:cubicBezTo>
                  <a:cubicBezTo>
                    <a:pt x="2926" y="6579"/>
                    <a:pt x="2926" y="6579"/>
                    <a:pt x="2926" y="6579"/>
                  </a:cubicBezTo>
                  <a:lnTo>
                    <a:pt x="2832" y="6533"/>
                  </a:lnTo>
                  <a:close/>
                  <a:moveTo>
                    <a:pt x="2770" y="6627"/>
                  </a:moveTo>
                  <a:cubicBezTo>
                    <a:pt x="2888" y="6684"/>
                    <a:pt x="2888" y="6684"/>
                    <a:pt x="2888" y="6684"/>
                  </a:cubicBezTo>
                  <a:cubicBezTo>
                    <a:pt x="2932" y="6597"/>
                    <a:pt x="2932" y="6597"/>
                    <a:pt x="2932" y="6597"/>
                  </a:cubicBezTo>
                  <a:cubicBezTo>
                    <a:pt x="2958" y="6610"/>
                    <a:pt x="2958" y="6610"/>
                    <a:pt x="2958" y="6610"/>
                  </a:cubicBezTo>
                  <a:cubicBezTo>
                    <a:pt x="2956" y="6620"/>
                    <a:pt x="2955" y="6630"/>
                    <a:pt x="2955" y="6641"/>
                  </a:cubicBezTo>
                  <a:cubicBezTo>
                    <a:pt x="2955" y="6670"/>
                    <a:pt x="2961" y="6702"/>
                    <a:pt x="2972" y="6736"/>
                  </a:cubicBezTo>
                  <a:cubicBezTo>
                    <a:pt x="2808" y="6793"/>
                    <a:pt x="2808" y="6793"/>
                    <a:pt x="2808" y="6793"/>
                  </a:cubicBezTo>
                  <a:cubicBezTo>
                    <a:pt x="2574" y="6708"/>
                    <a:pt x="2574" y="6708"/>
                    <a:pt x="2574" y="6708"/>
                  </a:cubicBezTo>
                  <a:cubicBezTo>
                    <a:pt x="2285" y="6544"/>
                    <a:pt x="2285" y="6544"/>
                    <a:pt x="2285" y="6544"/>
                  </a:cubicBezTo>
                  <a:cubicBezTo>
                    <a:pt x="2349" y="6444"/>
                    <a:pt x="2402" y="6363"/>
                    <a:pt x="2415" y="6343"/>
                  </a:cubicBezTo>
                  <a:cubicBezTo>
                    <a:pt x="2814" y="6539"/>
                    <a:pt x="2814" y="6539"/>
                    <a:pt x="2814" y="6539"/>
                  </a:cubicBezTo>
                  <a:lnTo>
                    <a:pt x="2770" y="6627"/>
                  </a:lnTo>
                  <a:close/>
                  <a:moveTo>
                    <a:pt x="2969" y="6580"/>
                  </a:moveTo>
                  <a:cubicBezTo>
                    <a:pt x="2966" y="6586"/>
                    <a:pt x="2964" y="6592"/>
                    <a:pt x="2962" y="6597"/>
                  </a:cubicBezTo>
                  <a:cubicBezTo>
                    <a:pt x="2938" y="6585"/>
                    <a:pt x="2938" y="6585"/>
                    <a:pt x="2938" y="6585"/>
                  </a:cubicBezTo>
                  <a:cubicBezTo>
                    <a:pt x="3040" y="6384"/>
                    <a:pt x="3040" y="6384"/>
                    <a:pt x="3040" y="6384"/>
                  </a:cubicBezTo>
                  <a:cubicBezTo>
                    <a:pt x="3043" y="6378"/>
                    <a:pt x="3043" y="6378"/>
                    <a:pt x="3043" y="6378"/>
                  </a:cubicBezTo>
                  <a:cubicBezTo>
                    <a:pt x="2924" y="6320"/>
                    <a:pt x="2924" y="6320"/>
                    <a:pt x="2924" y="6320"/>
                  </a:cubicBezTo>
                  <a:cubicBezTo>
                    <a:pt x="2820" y="6527"/>
                    <a:pt x="2820" y="6527"/>
                    <a:pt x="2820" y="6527"/>
                  </a:cubicBezTo>
                  <a:cubicBezTo>
                    <a:pt x="2418" y="6329"/>
                    <a:pt x="2418" y="6329"/>
                    <a:pt x="2418" y="6329"/>
                  </a:cubicBezTo>
                  <a:cubicBezTo>
                    <a:pt x="2375" y="6178"/>
                    <a:pt x="2375" y="6178"/>
                    <a:pt x="2375" y="6178"/>
                  </a:cubicBezTo>
                  <a:cubicBezTo>
                    <a:pt x="2384" y="6165"/>
                    <a:pt x="2423" y="6106"/>
                    <a:pt x="2461" y="6051"/>
                  </a:cubicBezTo>
                  <a:cubicBezTo>
                    <a:pt x="2492" y="6064"/>
                    <a:pt x="2637" y="6132"/>
                    <a:pt x="2779" y="6198"/>
                  </a:cubicBezTo>
                  <a:cubicBezTo>
                    <a:pt x="2912" y="6259"/>
                    <a:pt x="3042" y="6320"/>
                    <a:pt x="3083" y="6340"/>
                  </a:cubicBezTo>
                  <a:cubicBezTo>
                    <a:pt x="3029" y="6449"/>
                    <a:pt x="2986" y="6538"/>
                    <a:pt x="2969" y="6580"/>
                  </a:cubicBezTo>
                  <a:close/>
                  <a:moveTo>
                    <a:pt x="1783" y="5868"/>
                  </a:moveTo>
                  <a:cubicBezTo>
                    <a:pt x="1850" y="5751"/>
                    <a:pt x="1850" y="5751"/>
                    <a:pt x="1850" y="5751"/>
                  </a:cubicBezTo>
                  <a:cubicBezTo>
                    <a:pt x="1901" y="5780"/>
                    <a:pt x="1901" y="5780"/>
                    <a:pt x="1901" y="5780"/>
                  </a:cubicBezTo>
                  <a:cubicBezTo>
                    <a:pt x="1835" y="5897"/>
                    <a:pt x="1835" y="5897"/>
                    <a:pt x="1835" y="5897"/>
                  </a:cubicBezTo>
                  <a:lnTo>
                    <a:pt x="1783" y="5868"/>
                  </a:lnTo>
                  <a:close/>
                  <a:moveTo>
                    <a:pt x="1828" y="5909"/>
                  </a:moveTo>
                  <a:cubicBezTo>
                    <a:pt x="1775" y="6004"/>
                    <a:pt x="1775" y="6004"/>
                    <a:pt x="1775" y="6004"/>
                  </a:cubicBezTo>
                  <a:cubicBezTo>
                    <a:pt x="1723" y="5974"/>
                    <a:pt x="1723" y="5974"/>
                    <a:pt x="1723" y="5974"/>
                  </a:cubicBezTo>
                  <a:cubicBezTo>
                    <a:pt x="1777" y="5880"/>
                    <a:pt x="1777" y="5880"/>
                    <a:pt x="1777" y="5880"/>
                  </a:cubicBezTo>
                  <a:lnTo>
                    <a:pt x="1828" y="5909"/>
                  </a:lnTo>
                  <a:close/>
                  <a:moveTo>
                    <a:pt x="1857" y="5739"/>
                  </a:moveTo>
                  <a:cubicBezTo>
                    <a:pt x="1911" y="5644"/>
                    <a:pt x="1911" y="5644"/>
                    <a:pt x="1911" y="5644"/>
                  </a:cubicBezTo>
                  <a:cubicBezTo>
                    <a:pt x="1961" y="5672"/>
                    <a:pt x="1961" y="5672"/>
                    <a:pt x="1961" y="5672"/>
                  </a:cubicBezTo>
                  <a:cubicBezTo>
                    <a:pt x="1908" y="5768"/>
                    <a:pt x="1908" y="5768"/>
                    <a:pt x="1908" y="5768"/>
                  </a:cubicBezTo>
                  <a:lnTo>
                    <a:pt x="1857" y="5739"/>
                  </a:lnTo>
                  <a:close/>
                  <a:moveTo>
                    <a:pt x="1968" y="5660"/>
                  </a:moveTo>
                  <a:cubicBezTo>
                    <a:pt x="1917" y="5632"/>
                    <a:pt x="1917" y="5632"/>
                    <a:pt x="1917" y="5632"/>
                  </a:cubicBezTo>
                  <a:cubicBezTo>
                    <a:pt x="1976" y="5528"/>
                    <a:pt x="1976" y="5528"/>
                    <a:pt x="1976" y="5528"/>
                  </a:cubicBezTo>
                  <a:cubicBezTo>
                    <a:pt x="2022" y="5555"/>
                    <a:pt x="2022" y="5555"/>
                    <a:pt x="2022" y="5555"/>
                  </a:cubicBezTo>
                  <a:cubicBezTo>
                    <a:pt x="2029" y="5543"/>
                    <a:pt x="2029" y="5543"/>
                    <a:pt x="2029" y="5543"/>
                  </a:cubicBezTo>
                  <a:cubicBezTo>
                    <a:pt x="1983" y="5516"/>
                    <a:pt x="1983" y="5516"/>
                    <a:pt x="1983" y="5516"/>
                  </a:cubicBezTo>
                  <a:cubicBezTo>
                    <a:pt x="2043" y="5410"/>
                    <a:pt x="2043" y="5410"/>
                    <a:pt x="2043" y="5410"/>
                  </a:cubicBezTo>
                  <a:cubicBezTo>
                    <a:pt x="2092" y="5438"/>
                    <a:pt x="2092" y="5438"/>
                    <a:pt x="2092" y="5438"/>
                  </a:cubicBezTo>
                  <a:lnTo>
                    <a:pt x="1968" y="5660"/>
                  </a:lnTo>
                  <a:close/>
                  <a:moveTo>
                    <a:pt x="1971" y="5510"/>
                  </a:moveTo>
                  <a:cubicBezTo>
                    <a:pt x="1857" y="5445"/>
                    <a:pt x="1857" y="5445"/>
                    <a:pt x="1857" y="5445"/>
                  </a:cubicBezTo>
                  <a:cubicBezTo>
                    <a:pt x="1918" y="5338"/>
                    <a:pt x="1918" y="5338"/>
                    <a:pt x="1918" y="5338"/>
                  </a:cubicBezTo>
                  <a:cubicBezTo>
                    <a:pt x="2032" y="5403"/>
                    <a:pt x="2032" y="5403"/>
                    <a:pt x="2032" y="5403"/>
                  </a:cubicBezTo>
                  <a:lnTo>
                    <a:pt x="1971" y="5510"/>
                  </a:lnTo>
                  <a:close/>
                  <a:moveTo>
                    <a:pt x="1965" y="5522"/>
                  </a:moveTo>
                  <a:cubicBezTo>
                    <a:pt x="1906" y="5625"/>
                    <a:pt x="1906" y="5625"/>
                    <a:pt x="1906" y="5625"/>
                  </a:cubicBezTo>
                  <a:cubicBezTo>
                    <a:pt x="1792" y="5560"/>
                    <a:pt x="1792" y="5560"/>
                    <a:pt x="1792" y="5560"/>
                  </a:cubicBezTo>
                  <a:cubicBezTo>
                    <a:pt x="1851" y="5457"/>
                    <a:pt x="1851" y="5457"/>
                    <a:pt x="1851" y="5457"/>
                  </a:cubicBezTo>
                  <a:lnTo>
                    <a:pt x="1965" y="5522"/>
                  </a:lnTo>
                  <a:close/>
                  <a:moveTo>
                    <a:pt x="1899" y="5637"/>
                  </a:moveTo>
                  <a:cubicBezTo>
                    <a:pt x="1845" y="5732"/>
                    <a:pt x="1845" y="5732"/>
                    <a:pt x="1845" y="5732"/>
                  </a:cubicBezTo>
                  <a:cubicBezTo>
                    <a:pt x="1731" y="5667"/>
                    <a:pt x="1731" y="5667"/>
                    <a:pt x="1731" y="5667"/>
                  </a:cubicBezTo>
                  <a:cubicBezTo>
                    <a:pt x="1785" y="5572"/>
                    <a:pt x="1785" y="5572"/>
                    <a:pt x="1785" y="5572"/>
                  </a:cubicBezTo>
                  <a:lnTo>
                    <a:pt x="1899" y="5637"/>
                  </a:lnTo>
                  <a:close/>
                  <a:moveTo>
                    <a:pt x="1838" y="5744"/>
                  </a:moveTo>
                  <a:cubicBezTo>
                    <a:pt x="1772" y="5861"/>
                    <a:pt x="1772" y="5861"/>
                    <a:pt x="1772" y="5861"/>
                  </a:cubicBezTo>
                  <a:cubicBezTo>
                    <a:pt x="1658" y="5796"/>
                    <a:pt x="1658" y="5796"/>
                    <a:pt x="1658" y="5796"/>
                  </a:cubicBezTo>
                  <a:cubicBezTo>
                    <a:pt x="1724" y="5679"/>
                    <a:pt x="1724" y="5679"/>
                    <a:pt x="1724" y="5679"/>
                  </a:cubicBezTo>
                  <a:lnTo>
                    <a:pt x="1838" y="5744"/>
                  </a:lnTo>
                  <a:close/>
                  <a:moveTo>
                    <a:pt x="1765" y="5873"/>
                  </a:moveTo>
                  <a:cubicBezTo>
                    <a:pt x="1711" y="5968"/>
                    <a:pt x="1711" y="5968"/>
                    <a:pt x="1711" y="5968"/>
                  </a:cubicBezTo>
                  <a:cubicBezTo>
                    <a:pt x="1597" y="5903"/>
                    <a:pt x="1597" y="5903"/>
                    <a:pt x="1597" y="5903"/>
                  </a:cubicBezTo>
                  <a:cubicBezTo>
                    <a:pt x="1651" y="5808"/>
                    <a:pt x="1651" y="5808"/>
                    <a:pt x="1651" y="5808"/>
                  </a:cubicBezTo>
                  <a:lnTo>
                    <a:pt x="1765" y="5873"/>
                  </a:lnTo>
                  <a:close/>
                  <a:moveTo>
                    <a:pt x="1705" y="5980"/>
                  </a:moveTo>
                  <a:cubicBezTo>
                    <a:pt x="1645" y="6085"/>
                    <a:pt x="1645" y="6085"/>
                    <a:pt x="1645" y="6085"/>
                  </a:cubicBezTo>
                  <a:cubicBezTo>
                    <a:pt x="1531" y="6020"/>
                    <a:pt x="1531" y="6020"/>
                    <a:pt x="1531" y="6020"/>
                  </a:cubicBezTo>
                  <a:cubicBezTo>
                    <a:pt x="1591" y="5915"/>
                    <a:pt x="1591" y="5915"/>
                    <a:pt x="1591" y="5915"/>
                  </a:cubicBezTo>
                  <a:lnTo>
                    <a:pt x="1705" y="5980"/>
                  </a:lnTo>
                  <a:close/>
                  <a:moveTo>
                    <a:pt x="1638" y="6098"/>
                  </a:moveTo>
                  <a:cubicBezTo>
                    <a:pt x="1586" y="6190"/>
                    <a:pt x="1586" y="6190"/>
                    <a:pt x="1586" y="6190"/>
                  </a:cubicBezTo>
                  <a:cubicBezTo>
                    <a:pt x="1472" y="6124"/>
                    <a:pt x="1472" y="6124"/>
                    <a:pt x="1472" y="6124"/>
                  </a:cubicBezTo>
                  <a:cubicBezTo>
                    <a:pt x="1524" y="6032"/>
                    <a:pt x="1524" y="6032"/>
                    <a:pt x="1524" y="6032"/>
                  </a:cubicBezTo>
                  <a:lnTo>
                    <a:pt x="1638" y="6098"/>
                  </a:lnTo>
                  <a:close/>
                  <a:moveTo>
                    <a:pt x="1579" y="6202"/>
                  </a:moveTo>
                  <a:cubicBezTo>
                    <a:pt x="1519" y="6308"/>
                    <a:pt x="1519" y="6308"/>
                    <a:pt x="1519" y="6308"/>
                  </a:cubicBezTo>
                  <a:cubicBezTo>
                    <a:pt x="1405" y="6243"/>
                    <a:pt x="1405" y="6243"/>
                    <a:pt x="1405" y="6243"/>
                  </a:cubicBezTo>
                  <a:cubicBezTo>
                    <a:pt x="1465" y="6137"/>
                    <a:pt x="1465" y="6137"/>
                    <a:pt x="1465" y="6137"/>
                  </a:cubicBezTo>
                  <a:lnTo>
                    <a:pt x="1579" y="6202"/>
                  </a:lnTo>
                  <a:close/>
                  <a:moveTo>
                    <a:pt x="1590" y="6208"/>
                  </a:moveTo>
                  <a:cubicBezTo>
                    <a:pt x="1644" y="6239"/>
                    <a:pt x="1644" y="6239"/>
                    <a:pt x="1644" y="6239"/>
                  </a:cubicBezTo>
                  <a:cubicBezTo>
                    <a:pt x="1584" y="6345"/>
                    <a:pt x="1584" y="6345"/>
                    <a:pt x="1584" y="6345"/>
                  </a:cubicBezTo>
                  <a:cubicBezTo>
                    <a:pt x="1530" y="6314"/>
                    <a:pt x="1530" y="6314"/>
                    <a:pt x="1530" y="6314"/>
                  </a:cubicBezTo>
                  <a:lnTo>
                    <a:pt x="1590" y="6208"/>
                  </a:lnTo>
                  <a:close/>
                  <a:moveTo>
                    <a:pt x="1597" y="6196"/>
                  </a:moveTo>
                  <a:cubicBezTo>
                    <a:pt x="1649" y="6104"/>
                    <a:pt x="1649" y="6104"/>
                    <a:pt x="1649" y="6104"/>
                  </a:cubicBezTo>
                  <a:cubicBezTo>
                    <a:pt x="1702" y="6134"/>
                    <a:pt x="1702" y="6134"/>
                    <a:pt x="1702" y="6134"/>
                  </a:cubicBezTo>
                  <a:cubicBezTo>
                    <a:pt x="1651" y="6227"/>
                    <a:pt x="1651" y="6227"/>
                    <a:pt x="1651" y="6227"/>
                  </a:cubicBezTo>
                  <a:lnTo>
                    <a:pt x="1597" y="6196"/>
                  </a:lnTo>
                  <a:close/>
                  <a:moveTo>
                    <a:pt x="1656" y="6092"/>
                  </a:moveTo>
                  <a:cubicBezTo>
                    <a:pt x="1716" y="5987"/>
                    <a:pt x="1716" y="5987"/>
                    <a:pt x="1716" y="5987"/>
                  </a:cubicBezTo>
                  <a:cubicBezTo>
                    <a:pt x="1768" y="6016"/>
                    <a:pt x="1768" y="6016"/>
                    <a:pt x="1768" y="6016"/>
                  </a:cubicBezTo>
                  <a:cubicBezTo>
                    <a:pt x="1709" y="6122"/>
                    <a:pt x="1709" y="6122"/>
                    <a:pt x="1709" y="6122"/>
                  </a:cubicBezTo>
                  <a:lnTo>
                    <a:pt x="1656" y="6092"/>
                  </a:lnTo>
                  <a:close/>
                  <a:moveTo>
                    <a:pt x="1819" y="6060"/>
                  </a:moveTo>
                  <a:cubicBezTo>
                    <a:pt x="1830" y="6069"/>
                    <a:pt x="1830" y="6069"/>
                    <a:pt x="1830" y="6069"/>
                  </a:cubicBezTo>
                  <a:cubicBezTo>
                    <a:pt x="1759" y="6212"/>
                    <a:pt x="1759" y="6212"/>
                    <a:pt x="1759" y="6212"/>
                  </a:cubicBezTo>
                  <a:cubicBezTo>
                    <a:pt x="1876" y="6269"/>
                    <a:pt x="1876" y="6269"/>
                    <a:pt x="1876" y="6269"/>
                  </a:cubicBezTo>
                  <a:cubicBezTo>
                    <a:pt x="1938" y="6148"/>
                    <a:pt x="1938" y="6148"/>
                    <a:pt x="1938" y="6148"/>
                  </a:cubicBezTo>
                  <a:cubicBezTo>
                    <a:pt x="2092" y="6263"/>
                    <a:pt x="2092" y="6263"/>
                    <a:pt x="2092" y="6263"/>
                  </a:cubicBezTo>
                  <a:cubicBezTo>
                    <a:pt x="2100" y="6251"/>
                    <a:pt x="2100" y="6251"/>
                    <a:pt x="2100" y="6251"/>
                  </a:cubicBezTo>
                  <a:cubicBezTo>
                    <a:pt x="1944" y="6136"/>
                    <a:pt x="1944" y="6136"/>
                    <a:pt x="1944" y="6136"/>
                  </a:cubicBezTo>
                  <a:cubicBezTo>
                    <a:pt x="2029" y="5968"/>
                    <a:pt x="2029" y="5968"/>
                    <a:pt x="2029" y="5968"/>
                  </a:cubicBezTo>
                  <a:cubicBezTo>
                    <a:pt x="2032" y="5962"/>
                    <a:pt x="2032" y="5962"/>
                    <a:pt x="2032" y="5962"/>
                  </a:cubicBezTo>
                  <a:cubicBezTo>
                    <a:pt x="1912" y="5904"/>
                    <a:pt x="1912" y="5904"/>
                    <a:pt x="1912" y="5904"/>
                  </a:cubicBezTo>
                  <a:cubicBezTo>
                    <a:pt x="1837" y="6056"/>
                    <a:pt x="1837" y="6056"/>
                    <a:pt x="1837" y="6056"/>
                  </a:cubicBezTo>
                  <a:cubicBezTo>
                    <a:pt x="1826" y="6048"/>
                    <a:pt x="1826" y="6048"/>
                    <a:pt x="1826" y="6048"/>
                  </a:cubicBezTo>
                  <a:cubicBezTo>
                    <a:pt x="1923" y="5875"/>
                    <a:pt x="1923" y="5875"/>
                    <a:pt x="1923" y="5875"/>
                  </a:cubicBezTo>
                  <a:cubicBezTo>
                    <a:pt x="1967" y="5906"/>
                    <a:pt x="2076" y="5983"/>
                    <a:pt x="2113" y="6005"/>
                  </a:cubicBezTo>
                  <a:cubicBezTo>
                    <a:pt x="2121" y="6010"/>
                    <a:pt x="2122" y="6012"/>
                    <a:pt x="2129" y="6013"/>
                  </a:cubicBezTo>
                  <a:cubicBezTo>
                    <a:pt x="2135" y="6013"/>
                    <a:pt x="2398" y="6041"/>
                    <a:pt x="2447" y="6047"/>
                  </a:cubicBezTo>
                  <a:cubicBezTo>
                    <a:pt x="2445" y="6050"/>
                    <a:pt x="2443" y="6052"/>
                    <a:pt x="2441" y="6055"/>
                  </a:cubicBezTo>
                  <a:cubicBezTo>
                    <a:pt x="2405" y="6107"/>
                    <a:pt x="2372" y="6159"/>
                    <a:pt x="2364" y="6171"/>
                  </a:cubicBezTo>
                  <a:cubicBezTo>
                    <a:pt x="2341" y="6174"/>
                    <a:pt x="2190" y="6195"/>
                    <a:pt x="2146" y="6203"/>
                  </a:cubicBezTo>
                  <a:cubicBezTo>
                    <a:pt x="2138" y="6204"/>
                    <a:pt x="2135" y="6204"/>
                    <a:pt x="2131" y="6206"/>
                  </a:cubicBezTo>
                  <a:cubicBezTo>
                    <a:pt x="2131" y="6207"/>
                    <a:pt x="2129" y="6207"/>
                    <a:pt x="2128" y="6210"/>
                  </a:cubicBezTo>
                  <a:cubicBezTo>
                    <a:pt x="2128" y="6210"/>
                    <a:pt x="2128" y="6210"/>
                    <a:pt x="2128" y="6210"/>
                  </a:cubicBezTo>
                  <a:cubicBezTo>
                    <a:pt x="2126" y="6215"/>
                    <a:pt x="2126" y="6215"/>
                    <a:pt x="2126" y="6215"/>
                  </a:cubicBezTo>
                  <a:cubicBezTo>
                    <a:pt x="2126" y="6215"/>
                    <a:pt x="2126" y="6215"/>
                    <a:pt x="2126" y="6215"/>
                  </a:cubicBezTo>
                  <a:cubicBezTo>
                    <a:pt x="2125" y="6216"/>
                    <a:pt x="2124" y="6217"/>
                    <a:pt x="2123" y="6219"/>
                  </a:cubicBezTo>
                  <a:cubicBezTo>
                    <a:pt x="2120" y="6225"/>
                    <a:pt x="2114" y="6232"/>
                    <a:pt x="2108" y="6241"/>
                  </a:cubicBezTo>
                  <a:cubicBezTo>
                    <a:pt x="2096" y="6259"/>
                    <a:pt x="2079" y="6282"/>
                    <a:pt x="2063" y="6306"/>
                  </a:cubicBezTo>
                  <a:cubicBezTo>
                    <a:pt x="2040" y="6337"/>
                    <a:pt x="2017" y="6368"/>
                    <a:pt x="2005" y="6385"/>
                  </a:cubicBezTo>
                  <a:cubicBezTo>
                    <a:pt x="1726" y="6226"/>
                    <a:pt x="1726" y="6226"/>
                    <a:pt x="1726" y="6226"/>
                  </a:cubicBezTo>
                  <a:lnTo>
                    <a:pt x="1819" y="6060"/>
                  </a:lnTo>
                  <a:close/>
                  <a:moveTo>
                    <a:pt x="1927" y="6140"/>
                  </a:moveTo>
                  <a:cubicBezTo>
                    <a:pt x="1871" y="6252"/>
                    <a:pt x="1871" y="6252"/>
                    <a:pt x="1871" y="6252"/>
                  </a:cubicBezTo>
                  <a:cubicBezTo>
                    <a:pt x="1777" y="6206"/>
                    <a:pt x="1777" y="6206"/>
                    <a:pt x="1777" y="6206"/>
                  </a:cubicBezTo>
                  <a:cubicBezTo>
                    <a:pt x="1841" y="6077"/>
                    <a:pt x="1841" y="6077"/>
                    <a:pt x="1841" y="6077"/>
                  </a:cubicBezTo>
                  <a:lnTo>
                    <a:pt x="1927" y="6140"/>
                  </a:lnTo>
                  <a:close/>
                  <a:moveTo>
                    <a:pt x="1847" y="6064"/>
                  </a:moveTo>
                  <a:cubicBezTo>
                    <a:pt x="1918" y="5922"/>
                    <a:pt x="1918" y="5922"/>
                    <a:pt x="1918" y="5922"/>
                  </a:cubicBezTo>
                  <a:cubicBezTo>
                    <a:pt x="2014" y="5968"/>
                    <a:pt x="2014" y="5968"/>
                    <a:pt x="2014" y="5968"/>
                  </a:cubicBezTo>
                  <a:cubicBezTo>
                    <a:pt x="1933" y="6128"/>
                    <a:pt x="1933" y="6128"/>
                    <a:pt x="1933" y="6128"/>
                  </a:cubicBezTo>
                  <a:lnTo>
                    <a:pt x="1847" y="6064"/>
                  </a:lnTo>
                  <a:close/>
                  <a:moveTo>
                    <a:pt x="2135" y="6227"/>
                  </a:moveTo>
                  <a:cubicBezTo>
                    <a:pt x="2137" y="6222"/>
                    <a:pt x="2139" y="6221"/>
                    <a:pt x="2140" y="6218"/>
                  </a:cubicBezTo>
                  <a:cubicBezTo>
                    <a:pt x="2142" y="6218"/>
                    <a:pt x="2144" y="6217"/>
                    <a:pt x="2146" y="6217"/>
                  </a:cubicBezTo>
                  <a:cubicBezTo>
                    <a:pt x="2152" y="6216"/>
                    <a:pt x="2161" y="6214"/>
                    <a:pt x="2172" y="6213"/>
                  </a:cubicBezTo>
                  <a:cubicBezTo>
                    <a:pt x="2194" y="6209"/>
                    <a:pt x="2223" y="6205"/>
                    <a:pt x="2252" y="6201"/>
                  </a:cubicBezTo>
                  <a:cubicBezTo>
                    <a:pt x="2300" y="6194"/>
                    <a:pt x="2347" y="6187"/>
                    <a:pt x="2363" y="6185"/>
                  </a:cubicBezTo>
                  <a:cubicBezTo>
                    <a:pt x="2404" y="6333"/>
                    <a:pt x="2404" y="6333"/>
                    <a:pt x="2404" y="6333"/>
                  </a:cubicBezTo>
                  <a:cubicBezTo>
                    <a:pt x="2394" y="6348"/>
                    <a:pt x="2340" y="6433"/>
                    <a:pt x="2273" y="6537"/>
                  </a:cubicBezTo>
                  <a:cubicBezTo>
                    <a:pt x="2018" y="6392"/>
                    <a:pt x="2018" y="6392"/>
                    <a:pt x="2018" y="6392"/>
                  </a:cubicBezTo>
                  <a:cubicBezTo>
                    <a:pt x="2044" y="6356"/>
                    <a:pt x="2114" y="6259"/>
                    <a:pt x="2135" y="6227"/>
                  </a:cubicBezTo>
                  <a:close/>
                  <a:moveTo>
                    <a:pt x="3037" y="7308"/>
                  </a:moveTo>
                  <a:cubicBezTo>
                    <a:pt x="3013" y="7255"/>
                    <a:pt x="2982" y="7184"/>
                    <a:pt x="2951" y="7112"/>
                  </a:cubicBezTo>
                  <a:cubicBezTo>
                    <a:pt x="2892" y="6976"/>
                    <a:pt x="2832" y="6837"/>
                    <a:pt x="2817" y="6804"/>
                  </a:cubicBezTo>
                  <a:cubicBezTo>
                    <a:pt x="2977" y="6749"/>
                    <a:pt x="2977" y="6749"/>
                    <a:pt x="2977" y="6749"/>
                  </a:cubicBezTo>
                  <a:cubicBezTo>
                    <a:pt x="2997" y="6803"/>
                    <a:pt x="3030" y="6859"/>
                    <a:pt x="3077" y="6906"/>
                  </a:cubicBezTo>
                  <a:cubicBezTo>
                    <a:pt x="3164" y="6993"/>
                    <a:pt x="3271" y="7055"/>
                    <a:pt x="3388" y="7137"/>
                  </a:cubicBezTo>
                  <a:cubicBezTo>
                    <a:pt x="3414" y="7156"/>
                    <a:pt x="3444" y="7182"/>
                    <a:pt x="3475" y="7210"/>
                  </a:cubicBezTo>
                  <a:cubicBezTo>
                    <a:pt x="3455" y="7213"/>
                    <a:pt x="3433" y="7217"/>
                    <a:pt x="3410" y="7221"/>
                  </a:cubicBezTo>
                  <a:cubicBezTo>
                    <a:pt x="3339" y="7236"/>
                    <a:pt x="3259" y="7255"/>
                    <a:pt x="3208" y="7289"/>
                  </a:cubicBezTo>
                  <a:cubicBezTo>
                    <a:pt x="3173" y="7314"/>
                    <a:pt x="3125" y="7350"/>
                    <a:pt x="3071" y="7381"/>
                  </a:cubicBezTo>
                  <a:cubicBezTo>
                    <a:pt x="3069" y="7378"/>
                    <a:pt x="3068" y="7375"/>
                    <a:pt x="3066" y="7372"/>
                  </a:cubicBezTo>
                  <a:cubicBezTo>
                    <a:pt x="3059" y="7357"/>
                    <a:pt x="3049" y="7335"/>
                    <a:pt x="3037" y="7308"/>
                  </a:cubicBezTo>
                  <a:close/>
                  <a:moveTo>
                    <a:pt x="3426" y="7084"/>
                  </a:moveTo>
                  <a:cubicBezTo>
                    <a:pt x="3306" y="7000"/>
                    <a:pt x="3202" y="6939"/>
                    <a:pt x="3123" y="6859"/>
                  </a:cubicBezTo>
                  <a:cubicBezTo>
                    <a:pt x="3057" y="6794"/>
                    <a:pt x="3020" y="6695"/>
                    <a:pt x="3021" y="6641"/>
                  </a:cubicBezTo>
                  <a:cubicBezTo>
                    <a:pt x="3021" y="6634"/>
                    <a:pt x="3021" y="6627"/>
                    <a:pt x="3022" y="6622"/>
                  </a:cubicBezTo>
                  <a:cubicBezTo>
                    <a:pt x="3022" y="6622"/>
                    <a:pt x="3022" y="6622"/>
                    <a:pt x="3022" y="6622"/>
                  </a:cubicBezTo>
                  <a:cubicBezTo>
                    <a:pt x="3022" y="6622"/>
                    <a:pt x="3022" y="6622"/>
                    <a:pt x="3023" y="6622"/>
                  </a:cubicBezTo>
                  <a:cubicBezTo>
                    <a:pt x="3023" y="6621"/>
                    <a:pt x="3023" y="6620"/>
                    <a:pt x="3024" y="6618"/>
                  </a:cubicBezTo>
                  <a:cubicBezTo>
                    <a:pt x="3025" y="6615"/>
                    <a:pt x="3027" y="6611"/>
                    <a:pt x="3029" y="6605"/>
                  </a:cubicBezTo>
                  <a:cubicBezTo>
                    <a:pt x="3033" y="6595"/>
                    <a:pt x="3040" y="6581"/>
                    <a:pt x="3048" y="6563"/>
                  </a:cubicBezTo>
                  <a:cubicBezTo>
                    <a:pt x="3053" y="6552"/>
                    <a:pt x="3059" y="6539"/>
                    <a:pt x="3065" y="6526"/>
                  </a:cubicBezTo>
                  <a:cubicBezTo>
                    <a:pt x="3539" y="6755"/>
                    <a:pt x="3539" y="6755"/>
                    <a:pt x="3539" y="6755"/>
                  </a:cubicBezTo>
                  <a:cubicBezTo>
                    <a:pt x="3430" y="7087"/>
                    <a:pt x="3430" y="7087"/>
                    <a:pt x="3430" y="7087"/>
                  </a:cubicBezTo>
                  <a:cubicBezTo>
                    <a:pt x="3429" y="7086"/>
                    <a:pt x="3427" y="7085"/>
                    <a:pt x="3426" y="7084"/>
                  </a:cubicBezTo>
                  <a:close/>
                  <a:moveTo>
                    <a:pt x="3071" y="6513"/>
                  </a:moveTo>
                  <a:cubicBezTo>
                    <a:pt x="3083" y="6488"/>
                    <a:pt x="3097" y="6460"/>
                    <a:pt x="3112" y="6429"/>
                  </a:cubicBezTo>
                  <a:cubicBezTo>
                    <a:pt x="3144" y="6364"/>
                    <a:pt x="3182" y="6288"/>
                    <a:pt x="3223" y="6207"/>
                  </a:cubicBezTo>
                  <a:cubicBezTo>
                    <a:pt x="3823" y="6446"/>
                    <a:pt x="3823" y="6446"/>
                    <a:pt x="3823" y="6446"/>
                  </a:cubicBezTo>
                  <a:cubicBezTo>
                    <a:pt x="3828" y="6433"/>
                    <a:pt x="3828" y="6433"/>
                    <a:pt x="3828" y="6433"/>
                  </a:cubicBezTo>
                  <a:cubicBezTo>
                    <a:pt x="3229" y="6195"/>
                    <a:pt x="3229" y="6195"/>
                    <a:pt x="3229" y="6195"/>
                  </a:cubicBezTo>
                  <a:cubicBezTo>
                    <a:pt x="3253" y="6147"/>
                    <a:pt x="3278" y="6097"/>
                    <a:pt x="3303" y="6048"/>
                  </a:cubicBezTo>
                  <a:cubicBezTo>
                    <a:pt x="3338" y="5979"/>
                    <a:pt x="3373" y="5911"/>
                    <a:pt x="3405" y="5847"/>
                  </a:cubicBezTo>
                  <a:cubicBezTo>
                    <a:pt x="3971" y="6004"/>
                    <a:pt x="3971" y="6004"/>
                    <a:pt x="3971" y="6004"/>
                  </a:cubicBezTo>
                  <a:cubicBezTo>
                    <a:pt x="3975" y="5990"/>
                    <a:pt x="3975" y="5990"/>
                    <a:pt x="3975" y="5990"/>
                  </a:cubicBezTo>
                  <a:cubicBezTo>
                    <a:pt x="3412" y="5834"/>
                    <a:pt x="3412" y="5834"/>
                    <a:pt x="3412" y="5834"/>
                  </a:cubicBezTo>
                  <a:cubicBezTo>
                    <a:pt x="3458" y="5743"/>
                    <a:pt x="3500" y="5662"/>
                    <a:pt x="3529" y="5604"/>
                  </a:cubicBezTo>
                  <a:cubicBezTo>
                    <a:pt x="3554" y="5609"/>
                    <a:pt x="3600" y="5620"/>
                    <a:pt x="3644" y="5631"/>
                  </a:cubicBezTo>
                  <a:cubicBezTo>
                    <a:pt x="3708" y="5646"/>
                    <a:pt x="3771" y="5662"/>
                    <a:pt x="3771" y="5662"/>
                  </a:cubicBezTo>
                  <a:cubicBezTo>
                    <a:pt x="3777" y="5663"/>
                    <a:pt x="3777" y="5663"/>
                    <a:pt x="3777" y="5663"/>
                  </a:cubicBezTo>
                  <a:cubicBezTo>
                    <a:pt x="3807" y="5582"/>
                    <a:pt x="3807" y="5582"/>
                    <a:pt x="3807" y="5582"/>
                  </a:cubicBezTo>
                  <a:cubicBezTo>
                    <a:pt x="3821" y="5580"/>
                    <a:pt x="3866" y="5574"/>
                    <a:pt x="3911" y="5569"/>
                  </a:cubicBezTo>
                  <a:cubicBezTo>
                    <a:pt x="3954" y="5564"/>
                    <a:pt x="3996" y="5558"/>
                    <a:pt x="4013" y="5556"/>
                  </a:cubicBezTo>
                  <a:cubicBezTo>
                    <a:pt x="3978" y="5995"/>
                    <a:pt x="3978" y="5995"/>
                    <a:pt x="3978" y="5995"/>
                  </a:cubicBezTo>
                  <a:cubicBezTo>
                    <a:pt x="3867" y="6195"/>
                    <a:pt x="3867" y="6195"/>
                    <a:pt x="3867" y="6195"/>
                  </a:cubicBezTo>
                  <a:cubicBezTo>
                    <a:pt x="3873" y="6197"/>
                    <a:pt x="3873" y="6197"/>
                    <a:pt x="3873" y="6197"/>
                  </a:cubicBezTo>
                  <a:cubicBezTo>
                    <a:pt x="3873" y="6197"/>
                    <a:pt x="3873" y="6197"/>
                    <a:pt x="3873" y="6198"/>
                  </a:cubicBezTo>
                  <a:cubicBezTo>
                    <a:pt x="3873" y="6199"/>
                    <a:pt x="3874" y="6202"/>
                    <a:pt x="3874" y="6205"/>
                  </a:cubicBezTo>
                  <a:cubicBezTo>
                    <a:pt x="3875" y="6212"/>
                    <a:pt x="3875" y="6221"/>
                    <a:pt x="3875" y="6232"/>
                  </a:cubicBezTo>
                  <a:cubicBezTo>
                    <a:pt x="3875" y="6271"/>
                    <a:pt x="3871" y="6326"/>
                    <a:pt x="3870" y="6334"/>
                  </a:cubicBezTo>
                  <a:cubicBezTo>
                    <a:pt x="3868" y="6339"/>
                    <a:pt x="3868" y="6339"/>
                    <a:pt x="3868" y="6339"/>
                  </a:cubicBezTo>
                  <a:cubicBezTo>
                    <a:pt x="3867" y="6340"/>
                    <a:pt x="3867" y="6340"/>
                    <a:pt x="3867" y="6340"/>
                  </a:cubicBezTo>
                  <a:cubicBezTo>
                    <a:pt x="3867" y="6340"/>
                    <a:pt x="3867" y="6340"/>
                    <a:pt x="3867" y="6340"/>
                  </a:cubicBezTo>
                  <a:cubicBezTo>
                    <a:pt x="3865" y="6333"/>
                    <a:pt x="3865" y="6333"/>
                    <a:pt x="3865" y="6333"/>
                  </a:cubicBezTo>
                  <a:cubicBezTo>
                    <a:pt x="3864" y="6333"/>
                    <a:pt x="3859" y="6336"/>
                    <a:pt x="3859" y="6340"/>
                  </a:cubicBezTo>
                  <a:cubicBezTo>
                    <a:pt x="3860" y="6346"/>
                    <a:pt x="3862" y="6345"/>
                    <a:pt x="3863" y="6346"/>
                  </a:cubicBezTo>
                  <a:cubicBezTo>
                    <a:pt x="3864" y="6347"/>
                    <a:pt x="3864" y="6347"/>
                    <a:pt x="3865" y="6348"/>
                  </a:cubicBezTo>
                  <a:cubicBezTo>
                    <a:pt x="3791" y="6529"/>
                    <a:pt x="3791" y="6529"/>
                    <a:pt x="3791" y="6529"/>
                  </a:cubicBezTo>
                  <a:cubicBezTo>
                    <a:pt x="3546" y="6743"/>
                    <a:pt x="3546" y="6743"/>
                    <a:pt x="3546" y="6743"/>
                  </a:cubicBezTo>
                  <a:lnTo>
                    <a:pt x="3071" y="6513"/>
                  </a:lnTo>
                  <a:close/>
                  <a:moveTo>
                    <a:pt x="3806" y="6530"/>
                  </a:moveTo>
                  <a:cubicBezTo>
                    <a:pt x="3877" y="6354"/>
                    <a:pt x="3877" y="6354"/>
                    <a:pt x="3877" y="6354"/>
                  </a:cubicBezTo>
                  <a:cubicBezTo>
                    <a:pt x="3877" y="6355"/>
                    <a:pt x="3878" y="6355"/>
                    <a:pt x="3878" y="6355"/>
                  </a:cubicBezTo>
                  <a:cubicBezTo>
                    <a:pt x="3888" y="6360"/>
                    <a:pt x="3902" y="6367"/>
                    <a:pt x="3918" y="6375"/>
                  </a:cubicBezTo>
                  <a:cubicBezTo>
                    <a:pt x="3951" y="6391"/>
                    <a:pt x="3995" y="6411"/>
                    <a:pt x="4039" y="6431"/>
                  </a:cubicBezTo>
                  <a:cubicBezTo>
                    <a:pt x="4113" y="6464"/>
                    <a:pt x="4187" y="6497"/>
                    <a:pt x="4208" y="6506"/>
                  </a:cubicBezTo>
                  <a:cubicBezTo>
                    <a:pt x="4072" y="6684"/>
                    <a:pt x="4072" y="6684"/>
                    <a:pt x="4072" y="6684"/>
                  </a:cubicBezTo>
                  <a:lnTo>
                    <a:pt x="3806" y="6530"/>
                  </a:lnTo>
                  <a:close/>
                  <a:moveTo>
                    <a:pt x="4053" y="6422"/>
                  </a:moveTo>
                  <a:cubicBezTo>
                    <a:pt x="3982" y="6390"/>
                    <a:pt x="3909" y="6356"/>
                    <a:pt x="3882" y="6342"/>
                  </a:cubicBezTo>
                  <a:cubicBezTo>
                    <a:pt x="3884" y="6338"/>
                    <a:pt x="3884" y="6338"/>
                    <a:pt x="3884" y="6338"/>
                  </a:cubicBezTo>
                  <a:cubicBezTo>
                    <a:pt x="3884" y="6337"/>
                    <a:pt x="3884" y="6337"/>
                    <a:pt x="3884" y="6337"/>
                  </a:cubicBezTo>
                  <a:cubicBezTo>
                    <a:pt x="3884" y="6337"/>
                    <a:pt x="3889" y="6275"/>
                    <a:pt x="3889" y="6232"/>
                  </a:cubicBezTo>
                  <a:cubicBezTo>
                    <a:pt x="3889" y="6221"/>
                    <a:pt x="3889" y="6211"/>
                    <a:pt x="3888" y="6203"/>
                  </a:cubicBezTo>
                  <a:cubicBezTo>
                    <a:pt x="3888" y="6203"/>
                    <a:pt x="3888" y="6203"/>
                    <a:pt x="3888" y="6202"/>
                  </a:cubicBezTo>
                  <a:cubicBezTo>
                    <a:pt x="4242" y="6315"/>
                    <a:pt x="4242" y="6315"/>
                    <a:pt x="4242" y="6315"/>
                  </a:cubicBezTo>
                  <a:cubicBezTo>
                    <a:pt x="4402" y="6339"/>
                    <a:pt x="4402" y="6339"/>
                    <a:pt x="4402" y="6339"/>
                  </a:cubicBezTo>
                  <a:cubicBezTo>
                    <a:pt x="4387" y="6423"/>
                    <a:pt x="4387" y="6423"/>
                    <a:pt x="4387" y="6423"/>
                  </a:cubicBezTo>
                  <a:cubicBezTo>
                    <a:pt x="4541" y="6448"/>
                    <a:pt x="4541" y="6448"/>
                    <a:pt x="4541" y="6448"/>
                  </a:cubicBezTo>
                  <a:cubicBezTo>
                    <a:pt x="4557" y="6362"/>
                    <a:pt x="4557" y="6362"/>
                    <a:pt x="4557" y="6362"/>
                  </a:cubicBezTo>
                  <a:cubicBezTo>
                    <a:pt x="4605" y="6369"/>
                    <a:pt x="4605" y="6369"/>
                    <a:pt x="4605" y="6369"/>
                  </a:cubicBezTo>
                  <a:cubicBezTo>
                    <a:pt x="4581" y="6492"/>
                    <a:pt x="4558" y="6610"/>
                    <a:pt x="4539" y="6710"/>
                  </a:cubicBezTo>
                  <a:cubicBezTo>
                    <a:pt x="4376" y="6630"/>
                    <a:pt x="4376" y="6630"/>
                    <a:pt x="4376" y="6630"/>
                  </a:cubicBezTo>
                  <a:cubicBezTo>
                    <a:pt x="4376" y="6630"/>
                    <a:pt x="4376" y="6630"/>
                    <a:pt x="4376" y="6630"/>
                  </a:cubicBezTo>
                  <a:cubicBezTo>
                    <a:pt x="4332" y="6543"/>
                    <a:pt x="4332" y="6543"/>
                    <a:pt x="4332" y="6543"/>
                  </a:cubicBezTo>
                  <a:cubicBezTo>
                    <a:pt x="4218" y="6493"/>
                    <a:pt x="4218" y="6493"/>
                    <a:pt x="4218" y="6493"/>
                  </a:cubicBezTo>
                  <a:cubicBezTo>
                    <a:pt x="4217" y="6495"/>
                    <a:pt x="4217" y="6495"/>
                    <a:pt x="4217" y="6495"/>
                  </a:cubicBezTo>
                  <a:cubicBezTo>
                    <a:pt x="4201" y="6488"/>
                    <a:pt x="4128" y="6456"/>
                    <a:pt x="4053" y="6422"/>
                  </a:cubicBezTo>
                  <a:close/>
                  <a:moveTo>
                    <a:pt x="4536" y="6724"/>
                  </a:moveTo>
                  <a:cubicBezTo>
                    <a:pt x="4517" y="6828"/>
                    <a:pt x="4502" y="6911"/>
                    <a:pt x="4496" y="6957"/>
                  </a:cubicBezTo>
                  <a:cubicBezTo>
                    <a:pt x="4489" y="7010"/>
                    <a:pt x="4480" y="7061"/>
                    <a:pt x="4469" y="7108"/>
                  </a:cubicBezTo>
                  <a:cubicBezTo>
                    <a:pt x="4263" y="7094"/>
                    <a:pt x="4263" y="7094"/>
                    <a:pt x="4263" y="7094"/>
                  </a:cubicBezTo>
                  <a:cubicBezTo>
                    <a:pt x="4201" y="6997"/>
                    <a:pt x="4201" y="6997"/>
                    <a:pt x="4201" y="6997"/>
                  </a:cubicBezTo>
                  <a:cubicBezTo>
                    <a:pt x="4370" y="6642"/>
                    <a:pt x="4370" y="6642"/>
                    <a:pt x="4370" y="6642"/>
                  </a:cubicBezTo>
                  <a:lnTo>
                    <a:pt x="4536" y="6724"/>
                  </a:lnTo>
                  <a:close/>
                  <a:moveTo>
                    <a:pt x="4640" y="7605"/>
                  </a:moveTo>
                  <a:cubicBezTo>
                    <a:pt x="4664" y="7755"/>
                    <a:pt x="4664" y="7755"/>
                    <a:pt x="4664" y="7755"/>
                  </a:cubicBezTo>
                  <a:cubicBezTo>
                    <a:pt x="4420" y="7789"/>
                    <a:pt x="4420" y="7789"/>
                    <a:pt x="4420" y="7789"/>
                  </a:cubicBezTo>
                  <a:cubicBezTo>
                    <a:pt x="4411" y="7750"/>
                    <a:pt x="4411" y="7750"/>
                    <a:pt x="4411" y="7750"/>
                  </a:cubicBezTo>
                  <a:lnTo>
                    <a:pt x="4640" y="7605"/>
                  </a:lnTo>
                  <a:close/>
                  <a:moveTo>
                    <a:pt x="4667" y="7768"/>
                  </a:moveTo>
                  <a:cubicBezTo>
                    <a:pt x="4687" y="7897"/>
                    <a:pt x="4687" y="7897"/>
                    <a:pt x="4687" y="7897"/>
                  </a:cubicBezTo>
                  <a:cubicBezTo>
                    <a:pt x="4451" y="7930"/>
                    <a:pt x="4451" y="7930"/>
                    <a:pt x="4451" y="7930"/>
                  </a:cubicBezTo>
                  <a:cubicBezTo>
                    <a:pt x="4423" y="7802"/>
                    <a:pt x="4423" y="7802"/>
                    <a:pt x="4423" y="7802"/>
                  </a:cubicBezTo>
                  <a:lnTo>
                    <a:pt x="4667" y="7768"/>
                  </a:lnTo>
                  <a:close/>
                  <a:moveTo>
                    <a:pt x="4654" y="7601"/>
                  </a:moveTo>
                  <a:cubicBezTo>
                    <a:pt x="4645" y="7602"/>
                    <a:pt x="4645" y="7602"/>
                    <a:pt x="4645" y="7602"/>
                  </a:cubicBezTo>
                  <a:cubicBezTo>
                    <a:pt x="4751" y="7535"/>
                    <a:pt x="4751" y="7535"/>
                    <a:pt x="4751" y="7535"/>
                  </a:cubicBezTo>
                  <a:cubicBezTo>
                    <a:pt x="4751" y="7538"/>
                    <a:pt x="4752" y="7541"/>
                    <a:pt x="4753" y="7546"/>
                  </a:cubicBezTo>
                  <a:cubicBezTo>
                    <a:pt x="4755" y="7558"/>
                    <a:pt x="4759" y="7576"/>
                    <a:pt x="4762" y="7597"/>
                  </a:cubicBezTo>
                  <a:cubicBezTo>
                    <a:pt x="4769" y="7636"/>
                    <a:pt x="4777" y="7686"/>
                    <a:pt x="4785" y="7738"/>
                  </a:cubicBezTo>
                  <a:cubicBezTo>
                    <a:pt x="4678" y="7753"/>
                    <a:pt x="4678" y="7753"/>
                    <a:pt x="4678" y="7753"/>
                  </a:cubicBezTo>
                  <a:lnTo>
                    <a:pt x="4654" y="7601"/>
                  </a:lnTo>
                  <a:close/>
                  <a:moveTo>
                    <a:pt x="4768" y="7547"/>
                  </a:moveTo>
                  <a:cubicBezTo>
                    <a:pt x="4767" y="7543"/>
                    <a:pt x="4766" y="7539"/>
                    <a:pt x="4765" y="7536"/>
                  </a:cubicBezTo>
                  <a:cubicBezTo>
                    <a:pt x="4890" y="7582"/>
                    <a:pt x="4890" y="7582"/>
                    <a:pt x="4890" y="7582"/>
                  </a:cubicBezTo>
                  <a:cubicBezTo>
                    <a:pt x="4912" y="7720"/>
                    <a:pt x="4912" y="7720"/>
                    <a:pt x="4912" y="7720"/>
                  </a:cubicBezTo>
                  <a:cubicBezTo>
                    <a:pt x="4799" y="7736"/>
                    <a:pt x="4799" y="7736"/>
                    <a:pt x="4799" y="7736"/>
                  </a:cubicBezTo>
                  <a:cubicBezTo>
                    <a:pt x="4787" y="7659"/>
                    <a:pt x="4775" y="7584"/>
                    <a:pt x="4768" y="7547"/>
                  </a:cubicBezTo>
                  <a:close/>
                  <a:moveTo>
                    <a:pt x="4914" y="7733"/>
                  </a:moveTo>
                  <a:cubicBezTo>
                    <a:pt x="4936" y="7862"/>
                    <a:pt x="4936" y="7862"/>
                    <a:pt x="4936" y="7862"/>
                  </a:cubicBezTo>
                  <a:cubicBezTo>
                    <a:pt x="4820" y="7878"/>
                    <a:pt x="4820" y="7878"/>
                    <a:pt x="4820" y="7878"/>
                  </a:cubicBezTo>
                  <a:cubicBezTo>
                    <a:pt x="4815" y="7840"/>
                    <a:pt x="4808" y="7794"/>
                    <a:pt x="4801" y="7749"/>
                  </a:cubicBezTo>
                  <a:lnTo>
                    <a:pt x="4914" y="7733"/>
                  </a:lnTo>
                  <a:close/>
                  <a:moveTo>
                    <a:pt x="4938" y="7875"/>
                  </a:moveTo>
                  <a:cubicBezTo>
                    <a:pt x="4949" y="7947"/>
                    <a:pt x="4949" y="7947"/>
                    <a:pt x="4949" y="7947"/>
                  </a:cubicBezTo>
                  <a:cubicBezTo>
                    <a:pt x="4915" y="7953"/>
                    <a:pt x="4877" y="7961"/>
                    <a:pt x="4837" y="7968"/>
                  </a:cubicBezTo>
                  <a:cubicBezTo>
                    <a:pt x="4836" y="7968"/>
                    <a:pt x="4835" y="7969"/>
                    <a:pt x="4834" y="7969"/>
                  </a:cubicBezTo>
                  <a:cubicBezTo>
                    <a:pt x="4832" y="7955"/>
                    <a:pt x="4828" y="7927"/>
                    <a:pt x="4822" y="7891"/>
                  </a:cubicBezTo>
                  <a:lnTo>
                    <a:pt x="4938" y="7875"/>
                  </a:lnTo>
                  <a:close/>
                  <a:moveTo>
                    <a:pt x="4928" y="7731"/>
                  </a:moveTo>
                  <a:cubicBezTo>
                    <a:pt x="5034" y="7716"/>
                    <a:pt x="5034" y="7716"/>
                    <a:pt x="5034" y="7716"/>
                  </a:cubicBezTo>
                  <a:cubicBezTo>
                    <a:pt x="5055" y="7845"/>
                    <a:pt x="5055" y="7845"/>
                    <a:pt x="5055" y="7845"/>
                  </a:cubicBezTo>
                  <a:cubicBezTo>
                    <a:pt x="4949" y="7860"/>
                    <a:pt x="4949" y="7860"/>
                    <a:pt x="4949" y="7860"/>
                  </a:cubicBezTo>
                  <a:lnTo>
                    <a:pt x="4928" y="7731"/>
                  </a:lnTo>
                  <a:close/>
                  <a:moveTo>
                    <a:pt x="5063" y="7858"/>
                  </a:moveTo>
                  <a:cubicBezTo>
                    <a:pt x="5070" y="7857"/>
                    <a:pt x="5070" y="7857"/>
                    <a:pt x="5070" y="7857"/>
                  </a:cubicBezTo>
                  <a:cubicBezTo>
                    <a:pt x="5045" y="7701"/>
                    <a:pt x="5045" y="7701"/>
                    <a:pt x="5045" y="7701"/>
                  </a:cubicBezTo>
                  <a:cubicBezTo>
                    <a:pt x="4926" y="7718"/>
                    <a:pt x="4926" y="7718"/>
                    <a:pt x="4926" y="7718"/>
                  </a:cubicBezTo>
                  <a:cubicBezTo>
                    <a:pt x="4904" y="7580"/>
                    <a:pt x="4904" y="7580"/>
                    <a:pt x="4904" y="7580"/>
                  </a:cubicBezTo>
                  <a:cubicBezTo>
                    <a:pt x="5028" y="7503"/>
                    <a:pt x="5028" y="7503"/>
                    <a:pt x="5028" y="7503"/>
                  </a:cubicBezTo>
                  <a:cubicBezTo>
                    <a:pt x="5091" y="7918"/>
                    <a:pt x="5091" y="7918"/>
                    <a:pt x="5091" y="7918"/>
                  </a:cubicBezTo>
                  <a:cubicBezTo>
                    <a:pt x="5075" y="7921"/>
                    <a:pt x="5027" y="7931"/>
                    <a:pt x="4963" y="7944"/>
                  </a:cubicBezTo>
                  <a:cubicBezTo>
                    <a:pt x="4951" y="7873"/>
                    <a:pt x="4951" y="7873"/>
                    <a:pt x="4951" y="7873"/>
                  </a:cubicBezTo>
                  <a:lnTo>
                    <a:pt x="5063" y="7858"/>
                  </a:lnTo>
                  <a:close/>
                  <a:moveTo>
                    <a:pt x="5042" y="7499"/>
                  </a:moveTo>
                  <a:cubicBezTo>
                    <a:pt x="5032" y="7500"/>
                    <a:pt x="5032" y="7500"/>
                    <a:pt x="5032" y="7500"/>
                  </a:cubicBezTo>
                  <a:cubicBezTo>
                    <a:pt x="5169" y="7415"/>
                    <a:pt x="5169" y="7415"/>
                    <a:pt x="5169" y="7415"/>
                  </a:cubicBezTo>
                  <a:cubicBezTo>
                    <a:pt x="5170" y="7416"/>
                    <a:pt x="5170" y="7416"/>
                    <a:pt x="5170" y="7416"/>
                  </a:cubicBezTo>
                  <a:cubicBezTo>
                    <a:pt x="5229" y="7923"/>
                    <a:pt x="5229" y="7923"/>
                    <a:pt x="5229" y="7923"/>
                  </a:cubicBezTo>
                  <a:cubicBezTo>
                    <a:pt x="5161" y="7918"/>
                    <a:pt x="5120" y="7915"/>
                    <a:pt x="5119" y="7915"/>
                  </a:cubicBezTo>
                  <a:cubicBezTo>
                    <a:pt x="5109" y="7914"/>
                    <a:pt x="5109" y="7914"/>
                    <a:pt x="5109" y="7914"/>
                  </a:cubicBezTo>
                  <a:cubicBezTo>
                    <a:pt x="5105" y="7915"/>
                    <a:pt x="5105" y="7915"/>
                    <a:pt x="5105" y="7915"/>
                  </a:cubicBezTo>
                  <a:lnTo>
                    <a:pt x="5042" y="7499"/>
                  </a:lnTo>
                  <a:close/>
                  <a:moveTo>
                    <a:pt x="5589" y="7759"/>
                  </a:moveTo>
                  <a:cubicBezTo>
                    <a:pt x="5590" y="7890"/>
                    <a:pt x="5590" y="7890"/>
                    <a:pt x="5590" y="7890"/>
                  </a:cubicBezTo>
                  <a:cubicBezTo>
                    <a:pt x="5400" y="7874"/>
                    <a:pt x="5400" y="7874"/>
                    <a:pt x="5400" y="7874"/>
                  </a:cubicBezTo>
                  <a:cubicBezTo>
                    <a:pt x="5401" y="7743"/>
                    <a:pt x="5401" y="7743"/>
                    <a:pt x="5401" y="7743"/>
                  </a:cubicBezTo>
                  <a:lnTo>
                    <a:pt x="5589" y="7759"/>
                  </a:lnTo>
                  <a:close/>
                  <a:moveTo>
                    <a:pt x="5400" y="7887"/>
                  </a:moveTo>
                  <a:cubicBezTo>
                    <a:pt x="5591" y="7903"/>
                    <a:pt x="5591" y="7903"/>
                    <a:pt x="5591" y="7903"/>
                  </a:cubicBezTo>
                  <a:cubicBezTo>
                    <a:pt x="5591" y="7949"/>
                    <a:pt x="5591" y="7949"/>
                    <a:pt x="5591" y="7949"/>
                  </a:cubicBezTo>
                  <a:cubicBezTo>
                    <a:pt x="5523" y="7944"/>
                    <a:pt x="5458" y="7939"/>
                    <a:pt x="5399" y="7935"/>
                  </a:cubicBezTo>
                  <a:lnTo>
                    <a:pt x="5400" y="7887"/>
                  </a:lnTo>
                  <a:close/>
                  <a:moveTo>
                    <a:pt x="5255" y="7345"/>
                  </a:moveTo>
                  <a:cubicBezTo>
                    <a:pt x="5175" y="7395"/>
                    <a:pt x="5175" y="7395"/>
                    <a:pt x="5175" y="7395"/>
                  </a:cubicBezTo>
                  <a:cubicBezTo>
                    <a:pt x="5106" y="7252"/>
                    <a:pt x="5106" y="7252"/>
                    <a:pt x="5106" y="7252"/>
                  </a:cubicBezTo>
                  <a:cubicBezTo>
                    <a:pt x="5106" y="7240"/>
                    <a:pt x="5105" y="7162"/>
                    <a:pt x="5103" y="7084"/>
                  </a:cubicBezTo>
                  <a:cubicBezTo>
                    <a:pt x="5103" y="7084"/>
                    <a:pt x="5103" y="7084"/>
                    <a:pt x="5103" y="7084"/>
                  </a:cubicBezTo>
                  <a:cubicBezTo>
                    <a:pt x="5105" y="7091"/>
                    <a:pt x="5105" y="7091"/>
                    <a:pt x="5105" y="7091"/>
                  </a:cubicBezTo>
                  <a:cubicBezTo>
                    <a:pt x="5103" y="7085"/>
                    <a:pt x="5103" y="7085"/>
                    <a:pt x="5103" y="7085"/>
                  </a:cubicBezTo>
                  <a:cubicBezTo>
                    <a:pt x="5103" y="7091"/>
                    <a:pt x="5103" y="7091"/>
                    <a:pt x="5103" y="7091"/>
                  </a:cubicBezTo>
                  <a:cubicBezTo>
                    <a:pt x="5103" y="7087"/>
                    <a:pt x="5103" y="7087"/>
                    <a:pt x="5103" y="7087"/>
                  </a:cubicBezTo>
                  <a:cubicBezTo>
                    <a:pt x="5103" y="7091"/>
                    <a:pt x="5103" y="7091"/>
                    <a:pt x="5103" y="7091"/>
                  </a:cubicBezTo>
                  <a:cubicBezTo>
                    <a:pt x="5103" y="7091"/>
                    <a:pt x="5103" y="7091"/>
                    <a:pt x="5103" y="7091"/>
                  </a:cubicBezTo>
                  <a:cubicBezTo>
                    <a:pt x="5117" y="7091"/>
                    <a:pt x="5556" y="7138"/>
                    <a:pt x="5714" y="7156"/>
                  </a:cubicBezTo>
                  <a:cubicBezTo>
                    <a:pt x="5680" y="7351"/>
                    <a:pt x="5680" y="7351"/>
                    <a:pt x="5680" y="7351"/>
                  </a:cubicBezTo>
                  <a:lnTo>
                    <a:pt x="5255" y="7345"/>
                  </a:lnTo>
                  <a:close/>
                  <a:moveTo>
                    <a:pt x="5677" y="7365"/>
                  </a:moveTo>
                  <a:cubicBezTo>
                    <a:pt x="5676" y="7372"/>
                    <a:pt x="5676" y="7372"/>
                    <a:pt x="5676" y="7372"/>
                  </a:cubicBezTo>
                  <a:cubicBezTo>
                    <a:pt x="5740" y="7383"/>
                    <a:pt x="5740" y="7383"/>
                    <a:pt x="5740" y="7383"/>
                  </a:cubicBezTo>
                  <a:cubicBezTo>
                    <a:pt x="5741" y="7381"/>
                    <a:pt x="5741" y="7381"/>
                    <a:pt x="5741" y="7381"/>
                  </a:cubicBezTo>
                  <a:cubicBezTo>
                    <a:pt x="5816" y="7424"/>
                    <a:pt x="5816" y="7424"/>
                    <a:pt x="5816" y="7424"/>
                  </a:cubicBezTo>
                  <a:cubicBezTo>
                    <a:pt x="5779" y="7645"/>
                    <a:pt x="5779" y="7645"/>
                    <a:pt x="5779" y="7645"/>
                  </a:cubicBezTo>
                  <a:cubicBezTo>
                    <a:pt x="5793" y="7763"/>
                    <a:pt x="5793" y="7763"/>
                    <a:pt x="5793" y="7763"/>
                  </a:cubicBezTo>
                  <a:cubicBezTo>
                    <a:pt x="5603" y="7747"/>
                    <a:pt x="5603" y="7747"/>
                    <a:pt x="5603" y="7747"/>
                  </a:cubicBezTo>
                  <a:cubicBezTo>
                    <a:pt x="5599" y="7364"/>
                    <a:pt x="5599" y="7364"/>
                    <a:pt x="5599" y="7364"/>
                  </a:cubicBezTo>
                  <a:lnTo>
                    <a:pt x="5677" y="7365"/>
                  </a:lnTo>
                  <a:close/>
                  <a:moveTo>
                    <a:pt x="5795" y="7776"/>
                  </a:moveTo>
                  <a:cubicBezTo>
                    <a:pt x="5810" y="7909"/>
                    <a:pt x="5810" y="7909"/>
                    <a:pt x="5810" y="7909"/>
                  </a:cubicBezTo>
                  <a:cubicBezTo>
                    <a:pt x="5604" y="7891"/>
                    <a:pt x="5604" y="7891"/>
                    <a:pt x="5604" y="7891"/>
                  </a:cubicBezTo>
                  <a:cubicBezTo>
                    <a:pt x="5603" y="7760"/>
                    <a:pt x="5603" y="7760"/>
                    <a:pt x="5603" y="7760"/>
                  </a:cubicBezTo>
                  <a:lnTo>
                    <a:pt x="5795" y="7776"/>
                  </a:lnTo>
                  <a:close/>
                  <a:moveTo>
                    <a:pt x="5812" y="7922"/>
                  </a:moveTo>
                  <a:cubicBezTo>
                    <a:pt x="5817" y="7965"/>
                    <a:pt x="5817" y="7965"/>
                    <a:pt x="5817" y="7965"/>
                  </a:cubicBezTo>
                  <a:cubicBezTo>
                    <a:pt x="5745" y="7960"/>
                    <a:pt x="5673" y="7955"/>
                    <a:pt x="5605" y="7950"/>
                  </a:cubicBezTo>
                  <a:cubicBezTo>
                    <a:pt x="5605" y="7905"/>
                    <a:pt x="5605" y="7905"/>
                    <a:pt x="5605" y="7905"/>
                  </a:cubicBezTo>
                  <a:lnTo>
                    <a:pt x="5812" y="7922"/>
                  </a:lnTo>
                  <a:close/>
                  <a:moveTo>
                    <a:pt x="5809" y="7778"/>
                  </a:moveTo>
                  <a:cubicBezTo>
                    <a:pt x="5919" y="7787"/>
                    <a:pt x="5919" y="7787"/>
                    <a:pt x="5919" y="7787"/>
                  </a:cubicBezTo>
                  <a:cubicBezTo>
                    <a:pt x="5923" y="7803"/>
                    <a:pt x="5928" y="7821"/>
                    <a:pt x="5932" y="7839"/>
                  </a:cubicBezTo>
                  <a:cubicBezTo>
                    <a:pt x="5939" y="7867"/>
                    <a:pt x="5946" y="7896"/>
                    <a:pt x="5951" y="7921"/>
                  </a:cubicBezTo>
                  <a:cubicBezTo>
                    <a:pt x="5825" y="7910"/>
                    <a:pt x="5825" y="7910"/>
                    <a:pt x="5825" y="7910"/>
                  </a:cubicBezTo>
                  <a:lnTo>
                    <a:pt x="5809" y="7778"/>
                  </a:lnTo>
                  <a:close/>
                  <a:moveTo>
                    <a:pt x="5954" y="7934"/>
                  </a:moveTo>
                  <a:cubicBezTo>
                    <a:pt x="5957" y="7952"/>
                    <a:pt x="5960" y="7966"/>
                    <a:pt x="5961" y="7975"/>
                  </a:cubicBezTo>
                  <a:cubicBezTo>
                    <a:pt x="5920" y="7972"/>
                    <a:pt x="5879" y="7969"/>
                    <a:pt x="5838" y="7966"/>
                  </a:cubicBezTo>
                  <a:cubicBezTo>
                    <a:pt x="5836" y="7966"/>
                    <a:pt x="5833" y="7966"/>
                    <a:pt x="5831" y="7966"/>
                  </a:cubicBezTo>
                  <a:cubicBezTo>
                    <a:pt x="5826" y="7923"/>
                    <a:pt x="5826" y="7923"/>
                    <a:pt x="5826" y="7923"/>
                  </a:cubicBezTo>
                  <a:lnTo>
                    <a:pt x="5954" y="7934"/>
                  </a:lnTo>
                  <a:close/>
                  <a:moveTo>
                    <a:pt x="6193" y="7727"/>
                  </a:moveTo>
                  <a:cubicBezTo>
                    <a:pt x="6202" y="7629"/>
                    <a:pt x="6202" y="7629"/>
                    <a:pt x="6202" y="7629"/>
                  </a:cubicBezTo>
                  <a:cubicBezTo>
                    <a:pt x="6257" y="7567"/>
                    <a:pt x="6257" y="7567"/>
                    <a:pt x="6257" y="7567"/>
                  </a:cubicBezTo>
                  <a:cubicBezTo>
                    <a:pt x="6391" y="7666"/>
                    <a:pt x="6391" y="7666"/>
                    <a:pt x="6391" y="7666"/>
                  </a:cubicBezTo>
                  <a:cubicBezTo>
                    <a:pt x="6252" y="7639"/>
                    <a:pt x="6252" y="7639"/>
                    <a:pt x="6252" y="7639"/>
                  </a:cubicBezTo>
                  <a:cubicBezTo>
                    <a:pt x="6238" y="7713"/>
                    <a:pt x="6238" y="7713"/>
                    <a:pt x="6238" y="7713"/>
                  </a:cubicBezTo>
                  <a:cubicBezTo>
                    <a:pt x="6380" y="7741"/>
                    <a:pt x="6380" y="7741"/>
                    <a:pt x="6380" y="7741"/>
                  </a:cubicBezTo>
                  <a:cubicBezTo>
                    <a:pt x="6386" y="7742"/>
                    <a:pt x="6386" y="7742"/>
                    <a:pt x="6386" y="7742"/>
                  </a:cubicBezTo>
                  <a:cubicBezTo>
                    <a:pt x="6400" y="7672"/>
                    <a:pt x="6400" y="7672"/>
                    <a:pt x="6400" y="7672"/>
                  </a:cubicBezTo>
                  <a:cubicBezTo>
                    <a:pt x="6495" y="7742"/>
                    <a:pt x="6495" y="7742"/>
                    <a:pt x="6495" y="7742"/>
                  </a:cubicBezTo>
                  <a:cubicBezTo>
                    <a:pt x="6471" y="7780"/>
                    <a:pt x="6452" y="7820"/>
                    <a:pt x="6438" y="7860"/>
                  </a:cubicBezTo>
                  <a:lnTo>
                    <a:pt x="6193" y="7727"/>
                  </a:lnTo>
                  <a:close/>
                  <a:moveTo>
                    <a:pt x="6385" y="7678"/>
                  </a:moveTo>
                  <a:cubicBezTo>
                    <a:pt x="6376" y="7727"/>
                    <a:pt x="6376" y="7727"/>
                    <a:pt x="6376" y="7727"/>
                  </a:cubicBezTo>
                  <a:cubicBezTo>
                    <a:pt x="6253" y="7703"/>
                    <a:pt x="6253" y="7703"/>
                    <a:pt x="6253" y="7703"/>
                  </a:cubicBezTo>
                  <a:cubicBezTo>
                    <a:pt x="6262" y="7654"/>
                    <a:pt x="6262" y="7654"/>
                    <a:pt x="6262" y="7654"/>
                  </a:cubicBezTo>
                  <a:lnTo>
                    <a:pt x="6385" y="7678"/>
                  </a:lnTo>
                  <a:close/>
                  <a:moveTo>
                    <a:pt x="7724" y="6853"/>
                  </a:moveTo>
                  <a:cubicBezTo>
                    <a:pt x="7788" y="6756"/>
                    <a:pt x="7788" y="6756"/>
                    <a:pt x="7788" y="6756"/>
                  </a:cubicBezTo>
                  <a:cubicBezTo>
                    <a:pt x="8133" y="6832"/>
                    <a:pt x="8133" y="6832"/>
                    <a:pt x="8133" y="6832"/>
                  </a:cubicBezTo>
                  <a:cubicBezTo>
                    <a:pt x="8132" y="6835"/>
                    <a:pt x="8132" y="6835"/>
                    <a:pt x="8132" y="6835"/>
                  </a:cubicBezTo>
                  <a:cubicBezTo>
                    <a:pt x="8057" y="6965"/>
                    <a:pt x="8057" y="6965"/>
                    <a:pt x="8057" y="6965"/>
                  </a:cubicBezTo>
                  <a:cubicBezTo>
                    <a:pt x="8024" y="6988"/>
                    <a:pt x="8024" y="6988"/>
                    <a:pt x="8024" y="6988"/>
                  </a:cubicBezTo>
                  <a:cubicBezTo>
                    <a:pt x="8025" y="6986"/>
                    <a:pt x="8025" y="6986"/>
                    <a:pt x="8025" y="6986"/>
                  </a:cubicBezTo>
                  <a:lnTo>
                    <a:pt x="7724" y="6853"/>
                  </a:lnTo>
                  <a:close/>
                  <a:moveTo>
                    <a:pt x="7882" y="7063"/>
                  </a:moveTo>
                  <a:cubicBezTo>
                    <a:pt x="7780" y="6991"/>
                    <a:pt x="7780" y="6991"/>
                    <a:pt x="7780" y="6991"/>
                  </a:cubicBezTo>
                  <a:cubicBezTo>
                    <a:pt x="7808" y="6950"/>
                    <a:pt x="7808" y="6950"/>
                    <a:pt x="7808" y="6950"/>
                  </a:cubicBezTo>
                  <a:cubicBezTo>
                    <a:pt x="7911" y="7023"/>
                    <a:pt x="7911" y="7023"/>
                    <a:pt x="7911" y="7023"/>
                  </a:cubicBezTo>
                  <a:lnTo>
                    <a:pt x="7882" y="7063"/>
                  </a:lnTo>
                  <a:close/>
                  <a:moveTo>
                    <a:pt x="8114" y="6524"/>
                  </a:moveTo>
                  <a:cubicBezTo>
                    <a:pt x="8110" y="6584"/>
                    <a:pt x="8110" y="6584"/>
                    <a:pt x="8110" y="6584"/>
                  </a:cubicBezTo>
                  <a:cubicBezTo>
                    <a:pt x="8021" y="6578"/>
                    <a:pt x="8021" y="6578"/>
                    <a:pt x="8021" y="6578"/>
                  </a:cubicBezTo>
                  <a:cubicBezTo>
                    <a:pt x="8043" y="6476"/>
                    <a:pt x="8043" y="6476"/>
                    <a:pt x="8043" y="6476"/>
                  </a:cubicBezTo>
                  <a:cubicBezTo>
                    <a:pt x="8070" y="6478"/>
                    <a:pt x="8070" y="6478"/>
                    <a:pt x="8070" y="6478"/>
                  </a:cubicBezTo>
                  <a:cubicBezTo>
                    <a:pt x="8067" y="6521"/>
                    <a:pt x="8067" y="6521"/>
                    <a:pt x="8067" y="6521"/>
                  </a:cubicBezTo>
                  <a:lnTo>
                    <a:pt x="8114" y="6524"/>
                  </a:lnTo>
                  <a:close/>
                  <a:moveTo>
                    <a:pt x="8007" y="6577"/>
                  </a:moveTo>
                  <a:cubicBezTo>
                    <a:pt x="7926" y="6571"/>
                    <a:pt x="7926" y="6571"/>
                    <a:pt x="7926" y="6571"/>
                  </a:cubicBezTo>
                  <a:cubicBezTo>
                    <a:pt x="7930" y="6511"/>
                    <a:pt x="7930" y="6511"/>
                    <a:pt x="7930" y="6511"/>
                  </a:cubicBezTo>
                  <a:cubicBezTo>
                    <a:pt x="7977" y="6514"/>
                    <a:pt x="7977" y="6514"/>
                    <a:pt x="7977" y="6514"/>
                  </a:cubicBezTo>
                  <a:cubicBezTo>
                    <a:pt x="7980" y="6471"/>
                    <a:pt x="7980" y="6471"/>
                    <a:pt x="7980" y="6471"/>
                  </a:cubicBezTo>
                  <a:cubicBezTo>
                    <a:pt x="8029" y="6475"/>
                    <a:pt x="8029" y="6475"/>
                    <a:pt x="8029" y="6475"/>
                  </a:cubicBezTo>
                  <a:lnTo>
                    <a:pt x="8007" y="6577"/>
                  </a:lnTo>
                  <a:close/>
                  <a:moveTo>
                    <a:pt x="7659" y="6474"/>
                  </a:moveTo>
                  <a:cubicBezTo>
                    <a:pt x="7654" y="6534"/>
                    <a:pt x="7654" y="6534"/>
                    <a:pt x="7654" y="6534"/>
                  </a:cubicBezTo>
                  <a:cubicBezTo>
                    <a:pt x="7590" y="6530"/>
                    <a:pt x="7590" y="6530"/>
                    <a:pt x="7590" y="6530"/>
                  </a:cubicBezTo>
                  <a:cubicBezTo>
                    <a:pt x="7581" y="6490"/>
                    <a:pt x="7573" y="6452"/>
                    <a:pt x="7566" y="6425"/>
                  </a:cubicBezTo>
                  <a:cubicBezTo>
                    <a:pt x="7615" y="6428"/>
                    <a:pt x="7615" y="6428"/>
                    <a:pt x="7615" y="6428"/>
                  </a:cubicBezTo>
                  <a:cubicBezTo>
                    <a:pt x="7612" y="6471"/>
                    <a:pt x="7612" y="6471"/>
                    <a:pt x="7612" y="6471"/>
                  </a:cubicBezTo>
                  <a:lnTo>
                    <a:pt x="7659" y="6474"/>
                  </a:lnTo>
                  <a:close/>
                  <a:moveTo>
                    <a:pt x="7576" y="6529"/>
                  </a:moveTo>
                  <a:cubicBezTo>
                    <a:pt x="7470" y="6521"/>
                    <a:pt x="7470" y="6521"/>
                    <a:pt x="7470" y="6521"/>
                  </a:cubicBezTo>
                  <a:cubicBezTo>
                    <a:pt x="7475" y="6461"/>
                    <a:pt x="7475" y="6461"/>
                    <a:pt x="7475" y="6461"/>
                  </a:cubicBezTo>
                  <a:cubicBezTo>
                    <a:pt x="7522" y="6465"/>
                    <a:pt x="7522" y="6465"/>
                    <a:pt x="7522" y="6465"/>
                  </a:cubicBezTo>
                  <a:cubicBezTo>
                    <a:pt x="7525" y="6422"/>
                    <a:pt x="7525" y="6422"/>
                    <a:pt x="7525" y="6422"/>
                  </a:cubicBezTo>
                  <a:cubicBezTo>
                    <a:pt x="7552" y="6424"/>
                    <a:pt x="7552" y="6424"/>
                    <a:pt x="7552" y="6424"/>
                  </a:cubicBezTo>
                  <a:cubicBezTo>
                    <a:pt x="7558" y="6450"/>
                    <a:pt x="7567" y="6488"/>
                    <a:pt x="7576" y="6529"/>
                  </a:cubicBezTo>
                  <a:close/>
                  <a:moveTo>
                    <a:pt x="7513" y="6408"/>
                  </a:moveTo>
                  <a:cubicBezTo>
                    <a:pt x="7509" y="6451"/>
                    <a:pt x="7509" y="6451"/>
                    <a:pt x="7509" y="6451"/>
                  </a:cubicBezTo>
                  <a:cubicBezTo>
                    <a:pt x="7463" y="6447"/>
                    <a:pt x="7463" y="6447"/>
                    <a:pt x="7463" y="6447"/>
                  </a:cubicBezTo>
                  <a:cubicBezTo>
                    <a:pt x="7457" y="6527"/>
                    <a:pt x="7457" y="6527"/>
                    <a:pt x="7457" y="6527"/>
                  </a:cubicBezTo>
                  <a:cubicBezTo>
                    <a:pt x="7456" y="6533"/>
                    <a:pt x="7456" y="6533"/>
                    <a:pt x="7456" y="6533"/>
                  </a:cubicBezTo>
                  <a:cubicBezTo>
                    <a:pt x="7579" y="6542"/>
                    <a:pt x="7579" y="6542"/>
                    <a:pt x="7579" y="6542"/>
                  </a:cubicBezTo>
                  <a:cubicBezTo>
                    <a:pt x="7591" y="6595"/>
                    <a:pt x="7602" y="6649"/>
                    <a:pt x="7607" y="6674"/>
                  </a:cubicBezTo>
                  <a:cubicBezTo>
                    <a:pt x="7604" y="6672"/>
                    <a:pt x="7604" y="6672"/>
                    <a:pt x="7604" y="6672"/>
                  </a:cubicBezTo>
                  <a:cubicBezTo>
                    <a:pt x="7596" y="6683"/>
                    <a:pt x="7596" y="6683"/>
                    <a:pt x="7596" y="6683"/>
                  </a:cubicBezTo>
                  <a:cubicBezTo>
                    <a:pt x="7597" y="6684"/>
                    <a:pt x="7597" y="6684"/>
                    <a:pt x="7597" y="6684"/>
                  </a:cubicBezTo>
                  <a:cubicBezTo>
                    <a:pt x="7565" y="6686"/>
                    <a:pt x="7502" y="6691"/>
                    <a:pt x="7486" y="6692"/>
                  </a:cubicBezTo>
                  <a:cubicBezTo>
                    <a:pt x="7207" y="6360"/>
                    <a:pt x="7207" y="6360"/>
                    <a:pt x="7207" y="6360"/>
                  </a:cubicBezTo>
                  <a:cubicBezTo>
                    <a:pt x="7272" y="6367"/>
                    <a:pt x="7397" y="6380"/>
                    <a:pt x="7546" y="6397"/>
                  </a:cubicBezTo>
                  <a:cubicBezTo>
                    <a:pt x="7546" y="6400"/>
                    <a:pt x="7547" y="6405"/>
                    <a:pt x="7549" y="6410"/>
                  </a:cubicBezTo>
                  <a:lnTo>
                    <a:pt x="7513" y="6408"/>
                  </a:lnTo>
                  <a:close/>
                  <a:moveTo>
                    <a:pt x="7475" y="6701"/>
                  </a:moveTo>
                  <a:cubicBezTo>
                    <a:pt x="7446" y="6850"/>
                    <a:pt x="7446" y="6850"/>
                    <a:pt x="7446" y="6850"/>
                  </a:cubicBezTo>
                  <a:cubicBezTo>
                    <a:pt x="7445" y="6850"/>
                    <a:pt x="7445" y="6850"/>
                    <a:pt x="7444" y="6850"/>
                  </a:cubicBezTo>
                  <a:cubicBezTo>
                    <a:pt x="7444" y="6849"/>
                    <a:pt x="7443" y="6849"/>
                    <a:pt x="7443" y="6849"/>
                  </a:cubicBezTo>
                  <a:cubicBezTo>
                    <a:pt x="7442" y="6849"/>
                    <a:pt x="7440" y="6848"/>
                    <a:pt x="7438" y="6846"/>
                  </a:cubicBezTo>
                  <a:cubicBezTo>
                    <a:pt x="7434" y="6844"/>
                    <a:pt x="7428" y="6840"/>
                    <a:pt x="7421" y="6836"/>
                  </a:cubicBezTo>
                  <a:cubicBezTo>
                    <a:pt x="7408" y="6828"/>
                    <a:pt x="7390" y="6816"/>
                    <a:pt x="7373" y="6804"/>
                  </a:cubicBezTo>
                  <a:cubicBezTo>
                    <a:pt x="7339" y="6781"/>
                    <a:pt x="7305" y="6758"/>
                    <a:pt x="7305" y="6758"/>
                  </a:cubicBezTo>
                  <a:cubicBezTo>
                    <a:pt x="7304" y="6758"/>
                    <a:pt x="7304" y="6758"/>
                    <a:pt x="7304" y="6758"/>
                  </a:cubicBezTo>
                  <a:cubicBezTo>
                    <a:pt x="7298" y="6756"/>
                    <a:pt x="7298" y="6756"/>
                    <a:pt x="7298" y="6756"/>
                  </a:cubicBezTo>
                  <a:cubicBezTo>
                    <a:pt x="7318" y="6654"/>
                    <a:pt x="7318" y="6654"/>
                    <a:pt x="7318" y="6654"/>
                  </a:cubicBezTo>
                  <a:cubicBezTo>
                    <a:pt x="7233" y="6637"/>
                    <a:pt x="7233" y="6637"/>
                    <a:pt x="7233" y="6637"/>
                  </a:cubicBezTo>
                  <a:cubicBezTo>
                    <a:pt x="7224" y="6683"/>
                    <a:pt x="7224" y="6683"/>
                    <a:pt x="7224" y="6683"/>
                  </a:cubicBezTo>
                  <a:cubicBezTo>
                    <a:pt x="7182" y="6674"/>
                    <a:pt x="7182" y="6674"/>
                    <a:pt x="7182" y="6674"/>
                  </a:cubicBezTo>
                  <a:cubicBezTo>
                    <a:pt x="7174" y="6716"/>
                    <a:pt x="7174" y="6716"/>
                    <a:pt x="7174" y="6716"/>
                  </a:cubicBezTo>
                  <a:cubicBezTo>
                    <a:pt x="7140" y="6705"/>
                    <a:pt x="7140" y="6705"/>
                    <a:pt x="7140" y="6705"/>
                  </a:cubicBezTo>
                  <a:cubicBezTo>
                    <a:pt x="7190" y="6361"/>
                    <a:pt x="7190" y="6361"/>
                    <a:pt x="7190" y="6361"/>
                  </a:cubicBezTo>
                  <a:lnTo>
                    <a:pt x="7475" y="6701"/>
                  </a:lnTo>
                  <a:close/>
                  <a:moveTo>
                    <a:pt x="7167" y="6289"/>
                  </a:moveTo>
                  <a:cubicBezTo>
                    <a:pt x="7167" y="6289"/>
                    <a:pt x="7167" y="6289"/>
                    <a:pt x="7167" y="6289"/>
                  </a:cubicBezTo>
                  <a:cubicBezTo>
                    <a:pt x="7011" y="6270"/>
                    <a:pt x="7011" y="6270"/>
                    <a:pt x="7011" y="6270"/>
                  </a:cubicBezTo>
                  <a:cubicBezTo>
                    <a:pt x="7014" y="6245"/>
                    <a:pt x="7014" y="6245"/>
                    <a:pt x="7014" y="6245"/>
                  </a:cubicBezTo>
                  <a:cubicBezTo>
                    <a:pt x="7140" y="6259"/>
                    <a:pt x="7140" y="6259"/>
                    <a:pt x="7140" y="6259"/>
                  </a:cubicBezTo>
                  <a:cubicBezTo>
                    <a:pt x="7146" y="6259"/>
                    <a:pt x="7146" y="6259"/>
                    <a:pt x="7146" y="6259"/>
                  </a:cubicBezTo>
                  <a:cubicBezTo>
                    <a:pt x="7164" y="6107"/>
                    <a:pt x="7164" y="6107"/>
                    <a:pt x="7164" y="6107"/>
                  </a:cubicBezTo>
                  <a:cubicBezTo>
                    <a:pt x="7029" y="6093"/>
                    <a:pt x="7029" y="6093"/>
                    <a:pt x="7029" y="6093"/>
                  </a:cubicBezTo>
                  <a:cubicBezTo>
                    <a:pt x="7068" y="5704"/>
                    <a:pt x="7068" y="5704"/>
                    <a:pt x="7068" y="5704"/>
                  </a:cubicBezTo>
                  <a:cubicBezTo>
                    <a:pt x="7220" y="5720"/>
                    <a:pt x="7220" y="5720"/>
                    <a:pt x="7220" y="5720"/>
                  </a:cubicBezTo>
                  <a:cubicBezTo>
                    <a:pt x="7216" y="5767"/>
                    <a:pt x="7192" y="6045"/>
                    <a:pt x="7177" y="6197"/>
                  </a:cubicBezTo>
                  <a:cubicBezTo>
                    <a:pt x="7173" y="6242"/>
                    <a:pt x="7169" y="6278"/>
                    <a:pt x="7167" y="6289"/>
                  </a:cubicBezTo>
                  <a:close/>
                  <a:moveTo>
                    <a:pt x="7015" y="6232"/>
                  </a:moveTo>
                  <a:cubicBezTo>
                    <a:pt x="7028" y="6106"/>
                    <a:pt x="7028" y="6106"/>
                    <a:pt x="7028" y="6106"/>
                  </a:cubicBezTo>
                  <a:cubicBezTo>
                    <a:pt x="7149" y="6119"/>
                    <a:pt x="7149" y="6119"/>
                    <a:pt x="7149" y="6119"/>
                  </a:cubicBezTo>
                  <a:cubicBezTo>
                    <a:pt x="7135" y="6245"/>
                    <a:pt x="7135" y="6245"/>
                    <a:pt x="7135" y="6245"/>
                  </a:cubicBezTo>
                  <a:lnTo>
                    <a:pt x="7015" y="6232"/>
                  </a:lnTo>
                  <a:close/>
                  <a:moveTo>
                    <a:pt x="7015" y="6091"/>
                  </a:moveTo>
                  <a:cubicBezTo>
                    <a:pt x="6884" y="6077"/>
                    <a:pt x="6884" y="6077"/>
                    <a:pt x="6884" y="6077"/>
                  </a:cubicBezTo>
                  <a:cubicBezTo>
                    <a:pt x="6922" y="5689"/>
                    <a:pt x="6922" y="5689"/>
                    <a:pt x="6922" y="5689"/>
                  </a:cubicBezTo>
                  <a:cubicBezTo>
                    <a:pt x="7054" y="5703"/>
                    <a:pt x="7054" y="5703"/>
                    <a:pt x="7054" y="5703"/>
                  </a:cubicBezTo>
                  <a:lnTo>
                    <a:pt x="7015" y="6091"/>
                  </a:lnTo>
                  <a:close/>
                  <a:moveTo>
                    <a:pt x="6870" y="6076"/>
                  </a:moveTo>
                  <a:cubicBezTo>
                    <a:pt x="6727" y="6061"/>
                    <a:pt x="6727" y="6061"/>
                    <a:pt x="6727" y="6061"/>
                  </a:cubicBezTo>
                  <a:cubicBezTo>
                    <a:pt x="6766" y="5672"/>
                    <a:pt x="6766" y="5672"/>
                    <a:pt x="6766" y="5672"/>
                  </a:cubicBezTo>
                  <a:cubicBezTo>
                    <a:pt x="6909" y="5687"/>
                    <a:pt x="6909" y="5687"/>
                    <a:pt x="6909" y="5687"/>
                  </a:cubicBezTo>
                  <a:lnTo>
                    <a:pt x="6870" y="6076"/>
                  </a:lnTo>
                  <a:close/>
                  <a:moveTo>
                    <a:pt x="6714" y="6059"/>
                  </a:moveTo>
                  <a:cubicBezTo>
                    <a:pt x="6574" y="6044"/>
                    <a:pt x="6574" y="6044"/>
                    <a:pt x="6574" y="6044"/>
                  </a:cubicBezTo>
                  <a:cubicBezTo>
                    <a:pt x="6612" y="5659"/>
                    <a:pt x="6612" y="5659"/>
                    <a:pt x="6612" y="5659"/>
                  </a:cubicBezTo>
                  <a:cubicBezTo>
                    <a:pt x="6598" y="5658"/>
                    <a:pt x="6598" y="5658"/>
                    <a:pt x="6598" y="5658"/>
                  </a:cubicBezTo>
                  <a:cubicBezTo>
                    <a:pt x="6560" y="6043"/>
                    <a:pt x="6560" y="6043"/>
                    <a:pt x="6560" y="6043"/>
                  </a:cubicBezTo>
                  <a:cubicBezTo>
                    <a:pt x="6429" y="6029"/>
                    <a:pt x="6429" y="6029"/>
                    <a:pt x="6429" y="6029"/>
                  </a:cubicBezTo>
                  <a:cubicBezTo>
                    <a:pt x="6467" y="5640"/>
                    <a:pt x="6467" y="5640"/>
                    <a:pt x="6467" y="5640"/>
                  </a:cubicBezTo>
                  <a:cubicBezTo>
                    <a:pt x="6752" y="5670"/>
                    <a:pt x="6752" y="5670"/>
                    <a:pt x="6752" y="5670"/>
                  </a:cubicBezTo>
                  <a:lnTo>
                    <a:pt x="6714" y="6059"/>
                  </a:lnTo>
                  <a:close/>
                  <a:moveTo>
                    <a:pt x="6415" y="6027"/>
                  </a:moveTo>
                  <a:cubicBezTo>
                    <a:pt x="6284" y="6013"/>
                    <a:pt x="6284" y="6013"/>
                    <a:pt x="6284" y="6013"/>
                  </a:cubicBezTo>
                  <a:cubicBezTo>
                    <a:pt x="6323" y="5625"/>
                    <a:pt x="6323" y="5625"/>
                    <a:pt x="6323" y="5625"/>
                  </a:cubicBezTo>
                  <a:cubicBezTo>
                    <a:pt x="6309" y="5624"/>
                    <a:pt x="6309" y="5624"/>
                    <a:pt x="6309" y="5624"/>
                  </a:cubicBezTo>
                  <a:cubicBezTo>
                    <a:pt x="6271" y="6012"/>
                    <a:pt x="6271" y="6012"/>
                    <a:pt x="6271" y="6012"/>
                  </a:cubicBezTo>
                  <a:cubicBezTo>
                    <a:pt x="6134" y="5997"/>
                    <a:pt x="6134" y="5997"/>
                    <a:pt x="6134" y="5997"/>
                  </a:cubicBezTo>
                  <a:cubicBezTo>
                    <a:pt x="6172" y="5613"/>
                    <a:pt x="6172" y="5613"/>
                    <a:pt x="6172" y="5613"/>
                  </a:cubicBezTo>
                  <a:cubicBezTo>
                    <a:pt x="6158" y="5612"/>
                    <a:pt x="6158" y="5612"/>
                    <a:pt x="6158" y="5612"/>
                  </a:cubicBezTo>
                  <a:cubicBezTo>
                    <a:pt x="6120" y="5995"/>
                    <a:pt x="6120" y="5995"/>
                    <a:pt x="6120" y="5995"/>
                  </a:cubicBezTo>
                  <a:cubicBezTo>
                    <a:pt x="5994" y="5982"/>
                    <a:pt x="5994" y="5982"/>
                    <a:pt x="5994" y="5982"/>
                  </a:cubicBezTo>
                  <a:cubicBezTo>
                    <a:pt x="5977" y="6134"/>
                    <a:pt x="5977" y="6134"/>
                    <a:pt x="5977" y="6134"/>
                  </a:cubicBezTo>
                  <a:cubicBezTo>
                    <a:pt x="6105" y="6148"/>
                    <a:pt x="6105" y="6148"/>
                    <a:pt x="6105" y="6148"/>
                  </a:cubicBezTo>
                  <a:cubicBezTo>
                    <a:pt x="6104" y="6162"/>
                    <a:pt x="6104" y="6162"/>
                    <a:pt x="6104" y="6162"/>
                  </a:cubicBezTo>
                  <a:cubicBezTo>
                    <a:pt x="5956" y="6144"/>
                    <a:pt x="5956" y="6144"/>
                    <a:pt x="5956" y="6144"/>
                  </a:cubicBezTo>
                  <a:cubicBezTo>
                    <a:pt x="6047" y="5596"/>
                    <a:pt x="6047" y="5596"/>
                    <a:pt x="6047" y="5596"/>
                  </a:cubicBezTo>
                  <a:cubicBezTo>
                    <a:pt x="6453" y="5639"/>
                    <a:pt x="6453" y="5639"/>
                    <a:pt x="6453" y="5639"/>
                  </a:cubicBezTo>
                  <a:lnTo>
                    <a:pt x="6415" y="6027"/>
                  </a:lnTo>
                  <a:close/>
                  <a:moveTo>
                    <a:pt x="6058" y="6222"/>
                  </a:moveTo>
                  <a:cubicBezTo>
                    <a:pt x="6054" y="6239"/>
                    <a:pt x="6054" y="6239"/>
                    <a:pt x="6054" y="6239"/>
                  </a:cubicBezTo>
                  <a:cubicBezTo>
                    <a:pt x="6015" y="6236"/>
                    <a:pt x="6015" y="6236"/>
                    <a:pt x="6015" y="6236"/>
                  </a:cubicBezTo>
                  <a:cubicBezTo>
                    <a:pt x="6011" y="6279"/>
                    <a:pt x="6011" y="6279"/>
                    <a:pt x="6011" y="6279"/>
                  </a:cubicBezTo>
                  <a:cubicBezTo>
                    <a:pt x="5965" y="6275"/>
                    <a:pt x="5965" y="6275"/>
                    <a:pt x="5965" y="6275"/>
                  </a:cubicBezTo>
                  <a:cubicBezTo>
                    <a:pt x="5958" y="6355"/>
                    <a:pt x="5958" y="6355"/>
                    <a:pt x="5958" y="6355"/>
                  </a:cubicBezTo>
                  <a:cubicBezTo>
                    <a:pt x="5958" y="6361"/>
                    <a:pt x="5958" y="6361"/>
                    <a:pt x="5958" y="6361"/>
                  </a:cubicBezTo>
                  <a:cubicBezTo>
                    <a:pt x="6029" y="6367"/>
                    <a:pt x="6029" y="6367"/>
                    <a:pt x="6029" y="6367"/>
                  </a:cubicBezTo>
                  <a:cubicBezTo>
                    <a:pt x="6011" y="6455"/>
                    <a:pt x="6011" y="6455"/>
                    <a:pt x="6011" y="6455"/>
                  </a:cubicBezTo>
                  <a:cubicBezTo>
                    <a:pt x="5904" y="6442"/>
                    <a:pt x="5904" y="6442"/>
                    <a:pt x="5904" y="6442"/>
                  </a:cubicBezTo>
                  <a:cubicBezTo>
                    <a:pt x="5945" y="6209"/>
                    <a:pt x="5945" y="6209"/>
                    <a:pt x="5945" y="6209"/>
                  </a:cubicBezTo>
                  <a:lnTo>
                    <a:pt x="6058" y="6222"/>
                  </a:lnTo>
                  <a:close/>
                  <a:moveTo>
                    <a:pt x="5372" y="5675"/>
                  </a:moveTo>
                  <a:cubicBezTo>
                    <a:pt x="5330" y="6030"/>
                    <a:pt x="5330" y="6030"/>
                    <a:pt x="5330" y="6030"/>
                  </a:cubicBezTo>
                  <a:cubicBezTo>
                    <a:pt x="4762" y="5924"/>
                    <a:pt x="4762" y="5924"/>
                    <a:pt x="4762" y="5924"/>
                  </a:cubicBezTo>
                  <a:cubicBezTo>
                    <a:pt x="4784" y="5819"/>
                    <a:pt x="4803" y="5727"/>
                    <a:pt x="4818" y="5657"/>
                  </a:cubicBezTo>
                  <a:lnTo>
                    <a:pt x="5372" y="5675"/>
                  </a:lnTo>
                  <a:close/>
                  <a:moveTo>
                    <a:pt x="4785" y="5441"/>
                  </a:moveTo>
                  <a:cubicBezTo>
                    <a:pt x="4111" y="5409"/>
                    <a:pt x="4111" y="5409"/>
                    <a:pt x="4111" y="5409"/>
                  </a:cubicBezTo>
                  <a:cubicBezTo>
                    <a:pt x="4169" y="5316"/>
                    <a:pt x="4169" y="5316"/>
                    <a:pt x="4169" y="5316"/>
                  </a:cubicBezTo>
                  <a:cubicBezTo>
                    <a:pt x="4202" y="5316"/>
                    <a:pt x="4425" y="5311"/>
                    <a:pt x="4425" y="5311"/>
                  </a:cubicBezTo>
                  <a:cubicBezTo>
                    <a:pt x="4428" y="5310"/>
                    <a:pt x="4428" y="5310"/>
                    <a:pt x="4428" y="5310"/>
                  </a:cubicBezTo>
                  <a:cubicBezTo>
                    <a:pt x="4624" y="5041"/>
                    <a:pt x="4624" y="5041"/>
                    <a:pt x="4624" y="5041"/>
                  </a:cubicBezTo>
                  <a:cubicBezTo>
                    <a:pt x="4683" y="5077"/>
                    <a:pt x="4721" y="5132"/>
                    <a:pt x="4746" y="5194"/>
                  </a:cubicBezTo>
                  <a:cubicBezTo>
                    <a:pt x="4778" y="5276"/>
                    <a:pt x="4785" y="5367"/>
                    <a:pt x="4785" y="5431"/>
                  </a:cubicBezTo>
                  <a:cubicBezTo>
                    <a:pt x="4785" y="5434"/>
                    <a:pt x="4785" y="5438"/>
                    <a:pt x="4785" y="5441"/>
                  </a:cubicBezTo>
                  <a:close/>
                  <a:moveTo>
                    <a:pt x="4421" y="5297"/>
                  </a:moveTo>
                  <a:cubicBezTo>
                    <a:pt x="4392" y="5297"/>
                    <a:pt x="4182" y="5302"/>
                    <a:pt x="4166" y="5303"/>
                  </a:cubicBezTo>
                  <a:cubicBezTo>
                    <a:pt x="4166" y="5302"/>
                    <a:pt x="4165" y="5302"/>
                    <a:pt x="4165" y="5302"/>
                  </a:cubicBezTo>
                  <a:cubicBezTo>
                    <a:pt x="4163" y="5302"/>
                    <a:pt x="4161" y="5301"/>
                    <a:pt x="4159" y="5300"/>
                  </a:cubicBezTo>
                  <a:cubicBezTo>
                    <a:pt x="4154" y="5298"/>
                    <a:pt x="4146" y="5295"/>
                    <a:pt x="4137" y="5291"/>
                  </a:cubicBezTo>
                  <a:cubicBezTo>
                    <a:pt x="4118" y="5283"/>
                    <a:pt x="4091" y="5273"/>
                    <a:pt x="4060" y="5259"/>
                  </a:cubicBezTo>
                  <a:cubicBezTo>
                    <a:pt x="3997" y="5233"/>
                    <a:pt x="3913" y="5198"/>
                    <a:pt x="3828" y="5162"/>
                  </a:cubicBezTo>
                  <a:cubicBezTo>
                    <a:pt x="3773" y="5139"/>
                    <a:pt x="3718" y="5115"/>
                    <a:pt x="3668" y="5094"/>
                  </a:cubicBezTo>
                  <a:cubicBezTo>
                    <a:pt x="3765" y="4797"/>
                    <a:pt x="3765" y="4797"/>
                    <a:pt x="3765" y="4797"/>
                  </a:cubicBezTo>
                  <a:cubicBezTo>
                    <a:pt x="4004" y="4849"/>
                    <a:pt x="4312" y="4931"/>
                    <a:pt x="4562" y="5012"/>
                  </a:cubicBezTo>
                  <a:cubicBezTo>
                    <a:pt x="4581" y="5018"/>
                    <a:pt x="4597" y="5025"/>
                    <a:pt x="4612" y="5034"/>
                  </a:cubicBezTo>
                  <a:lnTo>
                    <a:pt x="4421" y="5297"/>
                  </a:lnTo>
                  <a:close/>
                  <a:moveTo>
                    <a:pt x="3655" y="5088"/>
                  </a:moveTo>
                  <a:cubicBezTo>
                    <a:pt x="3567" y="5051"/>
                    <a:pt x="3497" y="5020"/>
                    <a:pt x="3477" y="5011"/>
                  </a:cubicBezTo>
                  <a:cubicBezTo>
                    <a:pt x="3573" y="4758"/>
                    <a:pt x="3573" y="4758"/>
                    <a:pt x="3573" y="4758"/>
                  </a:cubicBezTo>
                  <a:cubicBezTo>
                    <a:pt x="3594" y="4762"/>
                    <a:pt x="3617" y="4767"/>
                    <a:pt x="3641" y="4772"/>
                  </a:cubicBezTo>
                  <a:cubicBezTo>
                    <a:pt x="3676" y="4778"/>
                    <a:pt x="3713" y="4786"/>
                    <a:pt x="3751" y="4794"/>
                  </a:cubicBezTo>
                  <a:lnTo>
                    <a:pt x="3655" y="5088"/>
                  </a:lnTo>
                  <a:close/>
                  <a:moveTo>
                    <a:pt x="2789" y="5163"/>
                  </a:moveTo>
                  <a:cubicBezTo>
                    <a:pt x="2814" y="5108"/>
                    <a:pt x="2834" y="5064"/>
                    <a:pt x="2845" y="5041"/>
                  </a:cubicBezTo>
                  <a:cubicBezTo>
                    <a:pt x="2940" y="5071"/>
                    <a:pt x="2940" y="5071"/>
                    <a:pt x="2940" y="5071"/>
                  </a:cubicBezTo>
                  <a:cubicBezTo>
                    <a:pt x="3070" y="5172"/>
                    <a:pt x="3070" y="5172"/>
                    <a:pt x="3070" y="5172"/>
                  </a:cubicBezTo>
                  <a:cubicBezTo>
                    <a:pt x="2646" y="5977"/>
                    <a:pt x="2646" y="5977"/>
                    <a:pt x="2646" y="5977"/>
                  </a:cubicBezTo>
                  <a:cubicBezTo>
                    <a:pt x="2544" y="5936"/>
                    <a:pt x="2544" y="5936"/>
                    <a:pt x="2544" y="5936"/>
                  </a:cubicBezTo>
                  <a:cubicBezTo>
                    <a:pt x="2491" y="5843"/>
                    <a:pt x="2491" y="5843"/>
                    <a:pt x="2491" y="5843"/>
                  </a:cubicBezTo>
                  <a:cubicBezTo>
                    <a:pt x="2499" y="5824"/>
                    <a:pt x="2544" y="5720"/>
                    <a:pt x="2600" y="5593"/>
                  </a:cubicBezTo>
                  <a:cubicBezTo>
                    <a:pt x="2662" y="5451"/>
                    <a:pt x="2737" y="5280"/>
                    <a:pt x="2789" y="5163"/>
                  </a:cubicBezTo>
                  <a:close/>
                  <a:moveTo>
                    <a:pt x="2640" y="5466"/>
                  </a:moveTo>
                  <a:cubicBezTo>
                    <a:pt x="2612" y="5529"/>
                    <a:pt x="2586" y="5590"/>
                    <a:pt x="2562" y="5645"/>
                  </a:cubicBezTo>
                  <a:cubicBezTo>
                    <a:pt x="2349" y="5536"/>
                    <a:pt x="2349" y="5536"/>
                    <a:pt x="2349" y="5536"/>
                  </a:cubicBezTo>
                  <a:cubicBezTo>
                    <a:pt x="2364" y="5460"/>
                    <a:pt x="2364" y="5460"/>
                    <a:pt x="2364" y="5460"/>
                  </a:cubicBezTo>
                  <a:cubicBezTo>
                    <a:pt x="2336" y="5439"/>
                    <a:pt x="2336" y="5439"/>
                    <a:pt x="2336" y="5439"/>
                  </a:cubicBezTo>
                  <a:cubicBezTo>
                    <a:pt x="2392" y="5330"/>
                    <a:pt x="2392" y="5330"/>
                    <a:pt x="2392" y="5330"/>
                  </a:cubicBezTo>
                  <a:cubicBezTo>
                    <a:pt x="2492" y="5385"/>
                    <a:pt x="2609" y="5450"/>
                    <a:pt x="2640" y="5466"/>
                  </a:cubicBezTo>
                  <a:close/>
                  <a:moveTo>
                    <a:pt x="2325" y="5431"/>
                  </a:moveTo>
                  <a:cubicBezTo>
                    <a:pt x="2241" y="5367"/>
                    <a:pt x="2241" y="5367"/>
                    <a:pt x="2241" y="5367"/>
                  </a:cubicBezTo>
                  <a:cubicBezTo>
                    <a:pt x="2288" y="5272"/>
                    <a:pt x="2288" y="5272"/>
                    <a:pt x="2288" y="5272"/>
                  </a:cubicBezTo>
                  <a:cubicBezTo>
                    <a:pt x="2313" y="5285"/>
                    <a:pt x="2345" y="5303"/>
                    <a:pt x="2380" y="5323"/>
                  </a:cubicBezTo>
                  <a:lnTo>
                    <a:pt x="2325" y="5431"/>
                  </a:lnTo>
                  <a:close/>
                  <a:moveTo>
                    <a:pt x="2319" y="5444"/>
                  </a:moveTo>
                  <a:cubicBezTo>
                    <a:pt x="2307" y="5468"/>
                    <a:pt x="2307" y="5468"/>
                    <a:pt x="2307" y="5468"/>
                  </a:cubicBezTo>
                  <a:cubicBezTo>
                    <a:pt x="2213" y="5422"/>
                    <a:pt x="2213" y="5422"/>
                    <a:pt x="2213" y="5422"/>
                  </a:cubicBezTo>
                  <a:cubicBezTo>
                    <a:pt x="2234" y="5379"/>
                    <a:pt x="2234" y="5379"/>
                    <a:pt x="2234" y="5379"/>
                  </a:cubicBezTo>
                  <a:lnTo>
                    <a:pt x="2319" y="5444"/>
                  </a:lnTo>
                  <a:close/>
                  <a:moveTo>
                    <a:pt x="2195" y="5428"/>
                  </a:moveTo>
                  <a:cubicBezTo>
                    <a:pt x="2313" y="5485"/>
                    <a:pt x="2313" y="5485"/>
                    <a:pt x="2313" y="5485"/>
                  </a:cubicBezTo>
                  <a:cubicBezTo>
                    <a:pt x="2330" y="5452"/>
                    <a:pt x="2330" y="5452"/>
                    <a:pt x="2330" y="5452"/>
                  </a:cubicBezTo>
                  <a:cubicBezTo>
                    <a:pt x="2348" y="5466"/>
                    <a:pt x="2348" y="5466"/>
                    <a:pt x="2348" y="5466"/>
                  </a:cubicBezTo>
                  <a:cubicBezTo>
                    <a:pt x="2333" y="5544"/>
                    <a:pt x="2333" y="5544"/>
                    <a:pt x="2333" y="5544"/>
                  </a:cubicBezTo>
                  <a:cubicBezTo>
                    <a:pt x="2556" y="5658"/>
                    <a:pt x="2556" y="5658"/>
                    <a:pt x="2556" y="5658"/>
                  </a:cubicBezTo>
                  <a:cubicBezTo>
                    <a:pt x="2517" y="5748"/>
                    <a:pt x="2487" y="5816"/>
                    <a:pt x="2479" y="5835"/>
                  </a:cubicBezTo>
                  <a:cubicBezTo>
                    <a:pt x="2459" y="5830"/>
                    <a:pt x="2412" y="5822"/>
                    <a:pt x="2364" y="5814"/>
                  </a:cubicBezTo>
                  <a:cubicBezTo>
                    <a:pt x="2317" y="5807"/>
                    <a:pt x="2272" y="5801"/>
                    <a:pt x="2260" y="5799"/>
                  </a:cubicBezTo>
                  <a:cubicBezTo>
                    <a:pt x="2252" y="5785"/>
                    <a:pt x="2218" y="5726"/>
                    <a:pt x="2200" y="5702"/>
                  </a:cubicBezTo>
                  <a:cubicBezTo>
                    <a:pt x="2263" y="5578"/>
                    <a:pt x="2263" y="5578"/>
                    <a:pt x="2263" y="5578"/>
                  </a:cubicBezTo>
                  <a:cubicBezTo>
                    <a:pt x="2266" y="5572"/>
                    <a:pt x="2266" y="5572"/>
                    <a:pt x="2266" y="5572"/>
                  </a:cubicBezTo>
                  <a:cubicBezTo>
                    <a:pt x="2146" y="5514"/>
                    <a:pt x="2146" y="5514"/>
                    <a:pt x="2146" y="5514"/>
                  </a:cubicBezTo>
                  <a:cubicBezTo>
                    <a:pt x="2084" y="5638"/>
                    <a:pt x="2084" y="5638"/>
                    <a:pt x="2084" y="5638"/>
                  </a:cubicBezTo>
                  <a:cubicBezTo>
                    <a:pt x="2076" y="5634"/>
                    <a:pt x="2068" y="5630"/>
                    <a:pt x="2062" y="5626"/>
                  </a:cubicBezTo>
                  <a:cubicBezTo>
                    <a:pt x="2210" y="5361"/>
                    <a:pt x="2210" y="5361"/>
                    <a:pt x="2210" y="5361"/>
                  </a:cubicBezTo>
                  <a:cubicBezTo>
                    <a:pt x="2224" y="5371"/>
                    <a:pt x="2224" y="5371"/>
                    <a:pt x="2224" y="5371"/>
                  </a:cubicBezTo>
                  <a:lnTo>
                    <a:pt x="2195" y="5428"/>
                  </a:lnTo>
                  <a:close/>
                  <a:moveTo>
                    <a:pt x="2158" y="5321"/>
                  </a:moveTo>
                  <a:cubicBezTo>
                    <a:pt x="2109" y="5294"/>
                    <a:pt x="2109" y="5294"/>
                    <a:pt x="2109" y="5294"/>
                  </a:cubicBezTo>
                  <a:cubicBezTo>
                    <a:pt x="2158" y="5207"/>
                    <a:pt x="2158" y="5207"/>
                    <a:pt x="2158" y="5207"/>
                  </a:cubicBezTo>
                  <a:cubicBezTo>
                    <a:pt x="2206" y="5235"/>
                    <a:pt x="2206" y="5235"/>
                    <a:pt x="2206" y="5235"/>
                  </a:cubicBezTo>
                  <a:lnTo>
                    <a:pt x="2158" y="5321"/>
                  </a:lnTo>
                  <a:close/>
                  <a:moveTo>
                    <a:pt x="2151" y="5334"/>
                  </a:moveTo>
                  <a:cubicBezTo>
                    <a:pt x="2099" y="5426"/>
                    <a:pt x="2099" y="5426"/>
                    <a:pt x="2099" y="5426"/>
                  </a:cubicBezTo>
                  <a:cubicBezTo>
                    <a:pt x="2050" y="5398"/>
                    <a:pt x="2050" y="5398"/>
                    <a:pt x="2050" y="5398"/>
                  </a:cubicBezTo>
                  <a:cubicBezTo>
                    <a:pt x="2102" y="5306"/>
                    <a:pt x="2102" y="5306"/>
                    <a:pt x="2102" y="5306"/>
                  </a:cubicBezTo>
                  <a:lnTo>
                    <a:pt x="2151" y="5334"/>
                  </a:lnTo>
                  <a:close/>
                  <a:moveTo>
                    <a:pt x="2039" y="5391"/>
                  </a:moveTo>
                  <a:cubicBezTo>
                    <a:pt x="1925" y="5326"/>
                    <a:pt x="1925" y="5326"/>
                    <a:pt x="1925" y="5326"/>
                  </a:cubicBezTo>
                  <a:cubicBezTo>
                    <a:pt x="1977" y="5234"/>
                    <a:pt x="1977" y="5234"/>
                    <a:pt x="1977" y="5234"/>
                  </a:cubicBezTo>
                  <a:cubicBezTo>
                    <a:pt x="2091" y="5299"/>
                    <a:pt x="2091" y="5299"/>
                    <a:pt x="2091" y="5299"/>
                  </a:cubicBezTo>
                  <a:lnTo>
                    <a:pt x="2039" y="5391"/>
                  </a:lnTo>
                  <a:close/>
                  <a:moveTo>
                    <a:pt x="1913" y="5320"/>
                  </a:moveTo>
                  <a:cubicBezTo>
                    <a:pt x="1551" y="5113"/>
                    <a:pt x="1551" y="5113"/>
                    <a:pt x="1551" y="5113"/>
                  </a:cubicBezTo>
                  <a:cubicBezTo>
                    <a:pt x="1586" y="5011"/>
                    <a:pt x="1586" y="5011"/>
                    <a:pt x="1586" y="5011"/>
                  </a:cubicBezTo>
                  <a:cubicBezTo>
                    <a:pt x="1965" y="5228"/>
                    <a:pt x="1965" y="5228"/>
                    <a:pt x="1965" y="5228"/>
                  </a:cubicBezTo>
                  <a:lnTo>
                    <a:pt x="1913" y="5320"/>
                  </a:lnTo>
                  <a:close/>
                  <a:moveTo>
                    <a:pt x="1906" y="5332"/>
                  </a:moveTo>
                  <a:cubicBezTo>
                    <a:pt x="1846" y="5438"/>
                    <a:pt x="1846" y="5438"/>
                    <a:pt x="1846" y="5438"/>
                  </a:cubicBezTo>
                  <a:cubicBezTo>
                    <a:pt x="1505" y="5244"/>
                    <a:pt x="1505" y="5244"/>
                    <a:pt x="1505" y="5244"/>
                  </a:cubicBezTo>
                  <a:cubicBezTo>
                    <a:pt x="1546" y="5126"/>
                    <a:pt x="1546" y="5126"/>
                    <a:pt x="1546" y="5126"/>
                  </a:cubicBezTo>
                  <a:lnTo>
                    <a:pt x="1906" y="5332"/>
                  </a:lnTo>
                  <a:close/>
                  <a:moveTo>
                    <a:pt x="1839" y="5450"/>
                  </a:moveTo>
                  <a:cubicBezTo>
                    <a:pt x="1781" y="5554"/>
                    <a:pt x="1781" y="5554"/>
                    <a:pt x="1781" y="5554"/>
                  </a:cubicBezTo>
                  <a:cubicBezTo>
                    <a:pt x="1421" y="5348"/>
                    <a:pt x="1421" y="5348"/>
                    <a:pt x="1421" y="5348"/>
                  </a:cubicBezTo>
                  <a:cubicBezTo>
                    <a:pt x="1500" y="5257"/>
                    <a:pt x="1500" y="5257"/>
                    <a:pt x="1500" y="5257"/>
                  </a:cubicBezTo>
                  <a:cubicBezTo>
                    <a:pt x="1500" y="5257"/>
                    <a:pt x="1500" y="5257"/>
                    <a:pt x="1500" y="5257"/>
                  </a:cubicBezTo>
                  <a:lnTo>
                    <a:pt x="1839" y="5450"/>
                  </a:lnTo>
                  <a:close/>
                  <a:moveTo>
                    <a:pt x="1774" y="5566"/>
                  </a:moveTo>
                  <a:cubicBezTo>
                    <a:pt x="1720" y="5661"/>
                    <a:pt x="1720" y="5661"/>
                    <a:pt x="1720" y="5661"/>
                  </a:cubicBezTo>
                  <a:cubicBezTo>
                    <a:pt x="1387" y="5471"/>
                    <a:pt x="1387" y="5471"/>
                    <a:pt x="1387" y="5471"/>
                  </a:cubicBezTo>
                  <a:cubicBezTo>
                    <a:pt x="1417" y="5362"/>
                    <a:pt x="1417" y="5362"/>
                    <a:pt x="1417" y="5362"/>
                  </a:cubicBezTo>
                  <a:lnTo>
                    <a:pt x="1774" y="5566"/>
                  </a:lnTo>
                  <a:close/>
                  <a:moveTo>
                    <a:pt x="1713" y="5673"/>
                  </a:moveTo>
                  <a:cubicBezTo>
                    <a:pt x="1647" y="5790"/>
                    <a:pt x="1647" y="5790"/>
                    <a:pt x="1647" y="5790"/>
                  </a:cubicBezTo>
                  <a:cubicBezTo>
                    <a:pt x="1345" y="5618"/>
                    <a:pt x="1345" y="5618"/>
                    <a:pt x="1345" y="5618"/>
                  </a:cubicBezTo>
                  <a:cubicBezTo>
                    <a:pt x="1383" y="5484"/>
                    <a:pt x="1383" y="5484"/>
                    <a:pt x="1383" y="5484"/>
                  </a:cubicBezTo>
                  <a:lnTo>
                    <a:pt x="1713" y="5673"/>
                  </a:lnTo>
                  <a:close/>
                  <a:moveTo>
                    <a:pt x="1640" y="5802"/>
                  </a:moveTo>
                  <a:cubicBezTo>
                    <a:pt x="1586" y="5896"/>
                    <a:pt x="1586" y="5896"/>
                    <a:pt x="1586" y="5896"/>
                  </a:cubicBezTo>
                  <a:cubicBezTo>
                    <a:pt x="1226" y="5691"/>
                    <a:pt x="1226" y="5691"/>
                    <a:pt x="1226" y="5691"/>
                  </a:cubicBezTo>
                  <a:cubicBezTo>
                    <a:pt x="1336" y="5628"/>
                    <a:pt x="1336" y="5628"/>
                    <a:pt x="1336" y="5628"/>
                  </a:cubicBezTo>
                  <a:lnTo>
                    <a:pt x="1640" y="5802"/>
                  </a:lnTo>
                  <a:close/>
                  <a:moveTo>
                    <a:pt x="1579" y="5908"/>
                  </a:moveTo>
                  <a:cubicBezTo>
                    <a:pt x="1519" y="6014"/>
                    <a:pt x="1519" y="6014"/>
                    <a:pt x="1519" y="6014"/>
                  </a:cubicBezTo>
                  <a:cubicBezTo>
                    <a:pt x="1165" y="5812"/>
                    <a:pt x="1165" y="5812"/>
                    <a:pt x="1165" y="5812"/>
                  </a:cubicBezTo>
                  <a:cubicBezTo>
                    <a:pt x="1199" y="5707"/>
                    <a:pt x="1199" y="5707"/>
                    <a:pt x="1199" y="5707"/>
                  </a:cubicBezTo>
                  <a:cubicBezTo>
                    <a:pt x="1212" y="5699"/>
                    <a:pt x="1212" y="5699"/>
                    <a:pt x="1212" y="5699"/>
                  </a:cubicBezTo>
                  <a:lnTo>
                    <a:pt x="1579" y="5908"/>
                  </a:lnTo>
                  <a:close/>
                  <a:moveTo>
                    <a:pt x="1513" y="6026"/>
                  </a:moveTo>
                  <a:cubicBezTo>
                    <a:pt x="1460" y="6118"/>
                    <a:pt x="1460" y="6118"/>
                    <a:pt x="1460" y="6118"/>
                  </a:cubicBezTo>
                  <a:cubicBezTo>
                    <a:pt x="1128" y="5928"/>
                    <a:pt x="1128" y="5928"/>
                    <a:pt x="1128" y="5928"/>
                  </a:cubicBezTo>
                  <a:cubicBezTo>
                    <a:pt x="1161" y="5825"/>
                    <a:pt x="1161" y="5825"/>
                    <a:pt x="1161" y="5825"/>
                  </a:cubicBezTo>
                  <a:lnTo>
                    <a:pt x="1513" y="6026"/>
                  </a:lnTo>
                  <a:close/>
                  <a:moveTo>
                    <a:pt x="1453" y="6130"/>
                  </a:moveTo>
                  <a:cubicBezTo>
                    <a:pt x="1393" y="6236"/>
                    <a:pt x="1393" y="6236"/>
                    <a:pt x="1393" y="6236"/>
                  </a:cubicBezTo>
                  <a:cubicBezTo>
                    <a:pt x="1081" y="6058"/>
                    <a:pt x="1081" y="6058"/>
                    <a:pt x="1081" y="6058"/>
                  </a:cubicBezTo>
                  <a:cubicBezTo>
                    <a:pt x="1087" y="6055"/>
                    <a:pt x="1087" y="6055"/>
                    <a:pt x="1087" y="6055"/>
                  </a:cubicBezTo>
                  <a:cubicBezTo>
                    <a:pt x="1123" y="5942"/>
                    <a:pt x="1123" y="5942"/>
                    <a:pt x="1123" y="5942"/>
                  </a:cubicBezTo>
                  <a:lnTo>
                    <a:pt x="1453" y="6130"/>
                  </a:lnTo>
                  <a:close/>
                  <a:moveTo>
                    <a:pt x="1386" y="6249"/>
                  </a:moveTo>
                  <a:cubicBezTo>
                    <a:pt x="1328" y="6352"/>
                    <a:pt x="1328" y="6352"/>
                    <a:pt x="1328" y="6352"/>
                  </a:cubicBezTo>
                  <a:cubicBezTo>
                    <a:pt x="955" y="6139"/>
                    <a:pt x="955" y="6139"/>
                    <a:pt x="955" y="6139"/>
                  </a:cubicBezTo>
                  <a:cubicBezTo>
                    <a:pt x="957" y="6135"/>
                    <a:pt x="957" y="6135"/>
                    <a:pt x="957" y="6135"/>
                  </a:cubicBezTo>
                  <a:cubicBezTo>
                    <a:pt x="1068" y="6067"/>
                    <a:pt x="1068" y="6067"/>
                    <a:pt x="1068" y="6067"/>
                  </a:cubicBezTo>
                  <a:lnTo>
                    <a:pt x="1386" y="6249"/>
                  </a:lnTo>
                  <a:close/>
                  <a:moveTo>
                    <a:pt x="1398" y="6255"/>
                  </a:moveTo>
                  <a:cubicBezTo>
                    <a:pt x="1512" y="6320"/>
                    <a:pt x="1512" y="6320"/>
                    <a:pt x="1512" y="6320"/>
                  </a:cubicBezTo>
                  <a:cubicBezTo>
                    <a:pt x="1453" y="6423"/>
                    <a:pt x="1453" y="6423"/>
                    <a:pt x="1453" y="6423"/>
                  </a:cubicBezTo>
                  <a:cubicBezTo>
                    <a:pt x="1339" y="6358"/>
                    <a:pt x="1339" y="6358"/>
                    <a:pt x="1339" y="6358"/>
                  </a:cubicBezTo>
                  <a:lnTo>
                    <a:pt x="1398" y="6255"/>
                  </a:lnTo>
                  <a:close/>
                  <a:moveTo>
                    <a:pt x="1523" y="6327"/>
                  </a:moveTo>
                  <a:cubicBezTo>
                    <a:pt x="1577" y="6358"/>
                    <a:pt x="1577" y="6358"/>
                    <a:pt x="1577" y="6358"/>
                  </a:cubicBezTo>
                  <a:cubicBezTo>
                    <a:pt x="1519" y="6461"/>
                    <a:pt x="1519" y="6461"/>
                    <a:pt x="1519" y="6461"/>
                  </a:cubicBezTo>
                  <a:cubicBezTo>
                    <a:pt x="1465" y="6430"/>
                    <a:pt x="1465" y="6430"/>
                    <a:pt x="1465" y="6430"/>
                  </a:cubicBezTo>
                  <a:lnTo>
                    <a:pt x="1523" y="6327"/>
                  </a:lnTo>
                  <a:close/>
                  <a:moveTo>
                    <a:pt x="1719" y="6238"/>
                  </a:moveTo>
                  <a:cubicBezTo>
                    <a:pt x="1997" y="6396"/>
                    <a:pt x="1997" y="6396"/>
                    <a:pt x="1997" y="6396"/>
                  </a:cubicBezTo>
                  <a:cubicBezTo>
                    <a:pt x="1997" y="6397"/>
                    <a:pt x="1996" y="6397"/>
                    <a:pt x="1996" y="6397"/>
                  </a:cubicBezTo>
                  <a:cubicBezTo>
                    <a:pt x="2007" y="6406"/>
                    <a:pt x="2007" y="6406"/>
                    <a:pt x="2007" y="6406"/>
                  </a:cubicBezTo>
                  <a:cubicBezTo>
                    <a:pt x="2007" y="6406"/>
                    <a:pt x="2008" y="6405"/>
                    <a:pt x="2009" y="6403"/>
                  </a:cubicBezTo>
                  <a:cubicBezTo>
                    <a:pt x="2265" y="6549"/>
                    <a:pt x="2265" y="6549"/>
                    <a:pt x="2265" y="6549"/>
                  </a:cubicBezTo>
                  <a:cubicBezTo>
                    <a:pt x="2244" y="6582"/>
                    <a:pt x="2222" y="6617"/>
                    <a:pt x="2199" y="6652"/>
                  </a:cubicBezTo>
                  <a:cubicBezTo>
                    <a:pt x="2117" y="6778"/>
                    <a:pt x="2034" y="6906"/>
                    <a:pt x="1996" y="6962"/>
                  </a:cubicBezTo>
                  <a:cubicBezTo>
                    <a:pt x="1933" y="6925"/>
                    <a:pt x="1825" y="6862"/>
                    <a:pt x="1723" y="6802"/>
                  </a:cubicBezTo>
                  <a:cubicBezTo>
                    <a:pt x="1623" y="6743"/>
                    <a:pt x="1528" y="6687"/>
                    <a:pt x="1483" y="6660"/>
                  </a:cubicBezTo>
                  <a:lnTo>
                    <a:pt x="1719" y="6238"/>
                  </a:lnTo>
                  <a:close/>
                  <a:moveTo>
                    <a:pt x="1944" y="7007"/>
                  </a:moveTo>
                  <a:cubicBezTo>
                    <a:pt x="1977" y="7026"/>
                    <a:pt x="2002" y="7041"/>
                    <a:pt x="2015" y="7047"/>
                  </a:cubicBezTo>
                  <a:cubicBezTo>
                    <a:pt x="2048" y="7065"/>
                    <a:pt x="2129" y="7121"/>
                    <a:pt x="2210" y="7179"/>
                  </a:cubicBezTo>
                  <a:cubicBezTo>
                    <a:pt x="2211" y="7180"/>
                    <a:pt x="2211" y="7180"/>
                    <a:pt x="2212" y="7180"/>
                  </a:cubicBezTo>
                  <a:cubicBezTo>
                    <a:pt x="1867" y="7558"/>
                    <a:pt x="1867" y="7558"/>
                    <a:pt x="1867" y="7558"/>
                  </a:cubicBezTo>
                  <a:cubicBezTo>
                    <a:pt x="1854" y="7541"/>
                    <a:pt x="1823" y="7504"/>
                    <a:pt x="1792" y="7465"/>
                  </a:cubicBezTo>
                  <a:cubicBezTo>
                    <a:pt x="1752" y="7417"/>
                    <a:pt x="1711" y="7366"/>
                    <a:pt x="1707" y="7359"/>
                  </a:cubicBezTo>
                  <a:cubicBezTo>
                    <a:pt x="1706" y="7358"/>
                    <a:pt x="1706" y="7357"/>
                    <a:pt x="1705" y="7356"/>
                  </a:cubicBezTo>
                  <a:cubicBezTo>
                    <a:pt x="1705" y="7356"/>
                    <a:pt x="1704" y="7356"/>
                    <a:pt x="1704" y="7356"/>
                  </a:cubicBezTo>
                  <a:cubicBezTo>
                    <a:pt x="1706" y="7354"/>
                    <a:pt x="1707" y="7352"/>
                    <a:pt x="1709" y="7349"/>
                  </a:cubicBezTo>
                  <a:cubicBezTo>
                    <a:pt x="1724" y="7328"/>
                    <a:pt x="1744" y="7299"/>
                    <a:pt x="1766" y="7267"/>
                  </a:cubicBezTo>
                  <a:cubicBezTo>
                    <a:pt x="1810" y="7203"/>
                    <a:pt x="1862" y="7124"/>
                    <a:pt x="1901" y="7068"/>
                  </a:cubicBezTo>
                  <a:cubicBezTo>
                    <a:pt x="1919" y="7042"/>
                    <a:pt x="1935" y="7020"/>
                    <a:pt x="1944" y="7007"/>
                  </a:cubicBezTo>
                  <a:close/>
                  <a:moveTo>
                    <a:pt x="1876" y="7572"/>
                  </a:moveTo>
                  <a:cubicBezTo>
                    <a:pt x="1876" y="7569"/>
                    <a:pt x="1876" y="7569"/>
                    <a:pt x="1876" y="7569"/>
                  </a:cubicBezTo>
                  <a:cubicBezTo>
                    <a:pt x="1876" y="7568"/>
                    <a:pt x="1876" y="7568"/>
                    <a:pt x="1876" y="7568"/>
                  </a:cubicBezTo>
                  <a:cubicBezTo>
                    <a:pt x="2223" y="7189"/>
                    <a:pt x="2223" y="7189"/>
                    <a:pt x="2223" y="7189"/>
                  </a:cubicBezTo>
                  <a:cubicBezTo>
                    <a:pt x="2286" y="7234"/>
                    <a:pt x="2347" y="7279"/>
                    <a:pt x="2391" y="7310"/>
                  </a:cubicBezTo>
                  <a:cubicBezTo>
                    <a:pt x="2391" y="7311"/>
                    <a:pt x="2390" y="7312"/>
                    <a:pt x="2390" y="7313"/>
                  </a:cubicBezTo>
                  <a:cubicBezTo>
                    <a:pt x="2384" y="7326"/>
                    <a:pt x="2377" y="7344"/>
                    <a:pt x="2369" y="7366"/>
                  </a:cubicBezTo>
                  <a:cubicBezTo>
                    <a:pt x="2353" y="7408"/>
                    <a:pt x="2331" y="7465"/>
                    <a:pt x="2311" y="7522"/>
                  </a:cubicBezTo>
                  <a:cubicBezTo>
                    <a:pt x="2273" y="7625"/>
                    <a:pt x="2236" y="7728"/>
                    <a:pt x="2229" y="7745"/>
                  </a:cubicBezTo>
                  <a:cubicBezTo>
                    <a:pt x="2216" y="7753"/>
                    <a:pt x="2146" y="7789"/>
                    <a:pt x="2075" y="7826"/>
                  </a:cubicBezTo>
                  <a:cubicBezTo>
                    <a:pt x="2011" y="7859"/>
                    <a:pt x="1945" y="7894"/>
                    <a:pt x="1918" y="7908"/>
                  </a:cubicBezTo>
                  <a:cubicBezTo>
                    <a:pt x="1911" y="7905"/>
                    <a:pt x="1895" y="7898"/>
                    <a:pt x="1879" y="7891"/>
                  </a:cubicBezTo>
                  <a:cubicBezTo>
                    <a:pt x="1863" y="7884"/>
                    <a:pt x="1846" y="7877"/>
                    <a:pt x="1838" y="7873"/>
                  </a:cubicBezTo>
                  <a:cubicBezTo>
                    <a:pt x="1838" y="7871"/>
                    <a:pt x="1839" y="7869"/>
                    <a:pt x="1839" y="7865"/>
                  </a:cubicBezTo>
                  <a:cubicBezTo>
                    <a:pt x="1841" y="7857"/>
                    <a:pt x="1842" y="7845"/>
                    <a:pt x="1844" y="7831"/>
                  </a:cubicBezTo>
                  <a:cubicBezTo>
                    <a:pt x="1848" y="7802"/>
                    <a:pt x="1853" y="7763"/>
                    <a:pt x="1858" y="7725"/>
                  </a:cubicBezTo>
                  <a:cubicBezTo>
                    <a:pt x="1867" y="7649"/>
                    <a:pt x="1876" y="7572"/>
                    <a:pt x="1876" y="7572"/>
                  </a:cubicBezTo>
                  <a:close/>
                  <a:moveTo>
                    <a:pt x="1839" y="7892"/>
                  </a:moveTo>
                  <a:cubicBezTo>
                    <a:pt x="1847" y="7895"/>
                    <a:pt x="1859" y="7900"/>
                    <a:pt x="1870" y="7905"/>
                  </a:cubicBezTo>
                  <a:cubicBezTo>
                    <a:pt x="1884" y="7911"/>
                    <a:pt x="1897" y="7917"/>
                    <a:pt x="1906" y="7920"/>
                  </a:cubicBezTo>
                  <a:cubicBezTo>
                    <a:pt x="1906" y="7927"/>
                    <a:pt x="1906" y="7927"/>
                    <a:pt x="1906" y="7927"/>
                  </a:cubicBezTo>
                  <a:cubicBezTo>
                    <a:pt x="1906" y="7927"/>
                    <a:pt x="1906" y="7927"/>
                    <a:pt x="1907" y="7927"/>
                  </a:cubicBezTo>
                  <a:cubicBezTo>
                    <a:pt x="1865" y="8067"/>
                    <a:pt x="1865" y="8067"/>
                    <a:pt x="1865" y="8067"/>
                  </a:cubicBezTo>
                  <a:cubicBezTo>
                    <a:pt x="2103" y="8179"/>
                    <a:pt x="2103" y="8179"/>
                    <a:pt x="2103" y="8179"/>
                  </a:cubicBezTo>
                  <a:cubicBezTo>
                    <a:pt x="1990" y="8255"/>
                    <a:pt x="1990" y="8255"/>
                    <a:pt x="1990" y="8255"/>
                  </a:cubicBezTo>
                  <a:cubicBezTo>
                    <a:pt x="1665" y="8280"/>
                    <a:pt x="1665" y="8280"/>
                    <a:pt x="1665" y="8280"/>
                  </a:cubicBezTo>
                  <a:cubicBezTo>
                    <a:pt x="1538" y="8123"/>
                    <a:pt x="1538" y="8123"/>
                    <a:pt x="1538" y="8123"/>
                  </a:cubicBezTo>
                  <a:cubicBezTo>
                    <a:pt x="1547" y="8116"/>
                    <a:pt x="1558" y="8106"/>
                    <a:pt x="1571" y="8095"/>
                  </a:cubicBezTo>
                  <a:cubicBezTo>
                    <a:pt x="1601" y="8071"/>
                    <a:pt x="1639" y="8039"/>
                    <a:pt x="1678" y="8008"/>
                  </a:cubicBezTo>
                  <a:cubicBezTo>
                    <a:pt x="1745" y="7954"/>
                    <a:pt x="1812" y="7901"/>
                    <a:pt x="1829" y="7887"/>
                  </a:cubicBezTo>
                  <a:cubicBezTo>
                    <a:pt x="1832" y="7888"/>
                    <a:pt x="1835" y="7890"/>
                    <a:pt x="1839" y="7892"/>
                  </a:cubicBezTo>
                  <a:close/>
                  <a:moveTo>
                    <a:pt x="1669" y="8325"/>
                  </a:moveTo>
                  <a:cubicBezTo>
                    <a:pt x="1871" y="8309"/>
                    <a:pt x="1871" y="8309"/>
                    <a:pt x="1871" y="8309"/>
                  </a:cubicBezTo>
                  <a:cubicBezTo>
                    <a:pt x="2030" y="8655"/>
                    <a:pt x="2030" y="8655"/>
                    <a:pt x="2030" y="8655"/>
                  </a:cubicBezTo>
                  <a:cubicBezTo>
                    <a:pt x="1695" y="8796"/>
                    <a:pt x="1695" y="8796"/>
                    <a:pt x="1695" y="8796"/>
                  </a:cubicBezTo>
                  <a:cubicBezTo>
                    <a:pt x="1608" y="8903"/>
                    <a:pt x="1608" y="8903"/>
                    <a:pt x="1608" y="8903"/>
                  </a:cubicBezTo>
                  <a:cubicBezTo>
                    <a:pt x="1551" y="8780"/>
                    <a:pt x="1497" y="8662"/>
                    <a:pt x="1487" y="8638"/>
                  </a:cubicBezTo>
                  <a:cubicBezTo>
                    <a:pt x="1501" y="8613"/>
                    <a:pt x="1516" y="8587"/>
                    <a:pt x="1532" y="8561"/>
                  </a:cubicBezTo>
                  <a:cubicBezTo>
                    <a:pt x="1591" y="8459"/>
                    <a:pt x="1650" y="8357"/>
                    <a:pt x="1669" y="8325"/>
                  </a:cubicBezTo>
                  <a:close/>
                  <a:moveTo>
                    <a:pt x="1996" y="8849"/>
                  </a:moveTo>
                  <a:cubicBezTo>
                    <a:pt x="1903" y="8898"/>
                    <a:pt x="1903" y="8898"/>
                    <a:pt x="1903" y="8898"/>
                  </a:cubicBezTo>
                  <a:cubicBezTo>
                    <a:pt x="1870" y="8829"/>
                    <a:pt x="1840" y="8767"/>
                    <a:pt x="1834" y="8756"/>
                  </a:cubicBezTo>
                  <a:cubicBezTo>
                    <a:pt x="1935" y="8713"/>
                    <a:pt x="1935" y="8713"/>
                    <a:pt x="1935" y="8713"/>
                  </a:cubicBezTo>
                  <a:cubicBezTo>
                    <a:pt x="1999" y="8847"/>
                    <a:pt x="1999" y="8847"/>
                    <a:pt x="1999" y="8847"/>
                  </a:cubicBezTo>
                  <a:cubicBezTo>
                    <a:pt x="1996" y="8849"/>
                    <a:pt x="1996" y="8849"/>
                    <a:pt x="1996" y="8849"/>
                  </a:cubicBezTo>
                  <a:close/>
                  <a:moveTo>
                    <a:pt x="1712" y="8807"/>
                  </a:moveTo>
                  <a:cubicBezTo>
                    <a:pt x="1819" y="8762"/>
                    <a:pt x="1819" y="8762"/>
                    <a:pt x="1819" y="8762"/>
                  </a:cubicBezTo>
                  <a:cubicBezTo>
                    <a:pt x="1823" y="8771"/>
                    <a:pt x="1859" y="8844"/>
                    <a:pt x="1896" y="8921"/>
                  </a:cubicBezTo>
                  <a:cubicBezTo>
                    <a:pt x="1789" y="8972"/>
                    <a:pt x="1789" y="8972"/>
                    <a:pt x="1789" y="8972"/>
                  </a:cubicBezTo>
                  <a:lnTo>
                    <a:pt x="1712" y="8807"/>
                  </a:lnTo>
                  <a:close/>
                  <a:moveTo>
                    <a:pt x="1762" y="8952"/>
                  </a:moveTo>
                  <a:cubicBezTo>
                    <a:pt x="1756" y="8943"/>
                    <a:pt x="1756" y="8943"/>
                    <a:pt x="1756" y="8943"/>
                  </a:cubicBezTo>
                  <a:cubicBezTo>
                    <a:pt x="1650" y="8993"/>
                    <a:pt x="1650" y="8993"/>
                    <a:pt x="1650" y="8993"/>
                  </a:cubicBezTo>
                  <a:cubicBezTo>
                    <a:pt x="1641" y="8974"/>
                    <a:pt x="1632" y="8955"/>
                    <a:pt x="1623" y="8935"/>
                  </a:cubicBezTo>
                  <a:cubicBezTo>
                    <a:pt x="1621" y="8930"/>
                    <a:pt x="1618" y="8925"/>
                    <a:pt x="1616" y="8919"/>
                  </a:cubicBezTo>
                  <a:cubicBezTo>
                    <a:pt x="1699" y="8818"/>
                    <a:pt x="1699" y="8818"/>
                    <a:pt x="1699" y="8818"/>
                  </a:cubicBezTo>
                  <a:lnTo>
                    <a:pt x="1762" y="8952"/>
                  </a:lnTo>
                  <a:close/>
                  <a:moveTo>
                    <a:pt x="1950" y="8707"/>
                  </a:moveTo>
                  <a:cubicBezTo>
                    <a:pt x="2037" y="8670"/>
                    <a:pt x="2037" y="8670"/>
                    <a:pt x="2037" y="8670"/>
                  </a:cubicBezTo>
                  <a:cubicBezTo>
                    <a:pt x="2091" y="8788"/>
                    <a:pt x="2091" y="8788"/>
                    <a:pt x="2091" y="8788"/>
                  </a:cubicBezTo>
                  <a:cubicBezTo>
                    <a:pt x="2009" y="8829"/>
                    <a:pt x="2009" y="8829"/>
                    <a:pt x="2009" y="8829"/>
                  </a:cubicBezTo>
                  <a:lnTo>
                    <a:pt x="1950" y="8707"/>
                  </a:lnTo>
                  <a:close/>
                  <a:moveTo>
                    <a:pt x="1605" y="8935"/>
                  </a:moveTo>
                  <a:cubicBezTo>
                    <a:pt x="1618" y="8962"/>
                    <a:pt x="1630" y="8989"/>
                    <a:pt x="1642" y="9015"/>
                  </a:cubicBezTo>
                  <a:cubicBezTo>
                    <a:pt x="1547" y="9063"/>
                    <a:pt x="1547" y="9063"/>
                    <a:pt x="1547" y="9063"/>
                  </a:cubicBezTo>
                  <a:cubicBezTo>
                    <a:pt x="1512" y="8988"/>
                    <a:pt x="1512" y="8988"/>
                    <a:pt x="1512" y="8988"/>
                  </a:cubicBezTo>
                  <a:cubicBezTo>
                    <a:pt x="1603" y="8931"/>
                    <a:pt x="1603" y="8931"/>
                    <a:pt x="1603" y="8931"/>
                  </a:cubicBezTo>
                  <a:cubicBezTo>
                    <a:pt x="1604" y="8932"/>
                    <a:pt x="1605" y="8934"/>
                    <a:pt x="1605" y="8935"/>
                  </a:cubicBezTo>
                  <a:close/>
                  <a:moveTo>
                    <a:pt x="1532" y="9070"/>
                  </a:moveTo>
                  <a:cubicBezTo>
                    <a:pt x="1531" y="9071"/>
                    <a:pt x="1531" y="9071"/>
                    <a:pt x="1531" y="9071"/>
                  </a:cubicBezTo>
                  <a:cubicBezTo>
                    <a:pt x="1536" y="9086"/>
                    <a:pt x="1536" y="9086"/>
                    <a:pt x="1536" y="9086"/>
                  </a:cubicBezTo>
                  <a:cubicBezTo>
                    <a:pt x="1533" y="9088"/>
                    <a:pt x="1533" y="9088"/>
                    <a:pt x="1533" y="9088"/>
                  </a:cubicBezTo>
                  <a:cubicBezTo>
                    <a:pt x="1533" y="9088"/>
                    <a:pt x="1533" y="9088"/>
                    <a:pt x="1533" y="9088"/>
                  </a:cubicBezTo>
                  <a:cubicBezTo>
                    <a:pt x="1427" y="9139"/>
                    <a:pt x="1427" y="9139"/>
                    <a:pt x="1427" y="9139"/>
                  </a:cubicBezTo>
                  <a:cubicBezTo>
                    <a:pt x="1391" y="9063"/>
                    <a:pt x="1391" y="9063"/>
                    <a:pt x="1391" y="9063"/>
                  </a:cubicBezTo>
                  <a:cubicBezTo>
                    <a:pt x="1498" y="8996"/>
                    <a:pt x="1498" y="8996"/>
                    <a:pt x="1498" y="8996"/>
                  </a:cubicBezTo>
                  <a:lnTo>
                    <a:pt x="1532" y="9070"/>
                  </a:lnTo>
                  <a:close/>
                  <a:moveTo>
                    <a:pt x="1419" y="9161"/>
                  </a:moveTo>
                  <a:cubicBezTo>
                    <a:pt x="1310" y="9215"/>
                    <a:pt x="1310" y="9215"/>
                    <a:pt x="1310" y="9215"/>
                  </a:cubicBezTo>
                  <a:cubicBezTo>
                    <a:pt x="1274" y="9136"/>
                    <a:pt x="1274" y="9136"/>
                    <a:pt x="1274" y="9136"/>
                  </a:cubicBezTo>
                  <a:cubicBezTo>
                    <a:pt x="1377" y="9072"/>
                    <a:pt x="1377" y="9072"/>
                    <a:pt x="1377" y="9072"/>
                  </a:cubicBezTo>
                  <a:lnTo>
                    <a:pt x="1419" y="9161"/>
                  </a:lnTo>
                  <a:close/>
                  <a:moveTo>
                    <a:pt x="1301" y="9251"/>
                  </a:moveTo>
                  <a:cubicBezTo>
                    <a:pt x="1341" y="9323"/>
                    <a:pt x="1341" y="9323"/>
                    <a:pt x="1341" y="9323"/>
                  </a:cubicBezTo>
                  <a:cubicBezTo>
                    <a:pt x="1352" y="9348"/>
                    <a:pt x="1352" y="9348"/>
                    <a:pt x="1352" y="9348"/>
                  </a:cubicBezTo>
                  <a:cubicBezTo>
                    <a:pt x="1347" y="9350"/>
                    <a:pt x="1347" y="9350"/>
                    <a:pt x="1347" y="9350"/>
                  </a:cubicBezTo>
                  <a:cubicBezTo>
                    <a:pt x="1353" y="9363"/>
                    <a:pt x="1353" y="9363"/>
                    <a:pt x="1353" y="9363"/>
                  </a:cubicBezTo>
                  <a:cubicBezTo>
                    <a:pt x="1354" y="9364"/>
                    <a:pt x="1354" y="9364"/>
                    <a:pt x="1354" y="9364"/>
                  </a:cubicBezTo>
                  <a:cubicBezTo>
                    <a:pt x="1260" y="9411"/>
                    <a:pt x="1260" y="9411"/>
                    <a:pt x="1260" y="9411"/>
                  </a:cubicBezTo>
                  <a:cubicBezTo>
                    <a:pt x="1206" y="9299"/>
                    <a:pt x="1206" y="9299"/>
                    <a:pt x="1206" y="9299"/>
                  </a:cubicBezTo>
                  <a:lnTo>
                    <a:pt x="1301" y="9251"/>
                  </a:lnTo>
                  <a:close/>
                  <a:moveTo>
                    <a:pt x="1316" y="9227"/>
                  </a:moveTo>
                  <a:cubicBezTo>
                    <a:pt x="1425" y="9174"/>
                    <a:pt x="1425" y="9174"/>
                    <a:pt x="1425" y="9174"/>
                  </a:cubicBezTo>
                  <a:cubicBezTo>
                    <a:pt x="1477" y="9287"/>
                    <a:pt x="1477" y="9287"/>
                    <a:pt x="1477" y="9287"/>
                  </a:cubicBezTo>
                  <a:cubicBezTo>
                    <a:pt x="1367" y="9341"/>
                    <a:pt x="1367" y="9341"/>
                    <a:pt x="1367" y="9341"/>
                  </a:cubicBezTo>
                  <a:lnTo>
                    <a:pt x="1316" y="9227"/>
                  </a:lnTo>
                  <a:close/>
                  <a:moveTo>
                    <a:pt x="1439" y="9167"/>
                  </a:moveTo>
                  <a:cubicBezTo>
                    <a:pt x="1440" y="9166"/>
                    <a:pt x="1440" y="9166"/>
                    <a:pt x="1440" y="9166"/>
                  </a:cubicBezTo>
                  <a:cubicBezTo>
                    <a:pt x="1437" y="9155"/>
                    <a:pt x="1437" y="9155"/>
                    <a:pt x="1437" y="9155"/>
                  </a:cubicBezTo>
                  <a:cubicBezTo>
                    <a:pt x="1436" y="9151"/>
                    <a:pt x="1436" y="9151"/>
                    <a:pt x="1436" y="9151"/>
                  </a:cubicBezTo>
                  <a:cubicBezTo>
                    <a:pt x="1540" y="9100"/>
                    <a:pt x="1540" y="9100"/>
                    <a:pt x="1540" y="9100"/>
                  </a:cubicBezTo>
                  <a:cubicBezTo>
                    <a:pt x="1577" y="9166"/>
                    <a:pt x="1577" y="9166"/>
                    <a:pt x="1577" y="9166"/>
                  </a:cubicBezTo>
                  <a:cubicBezTo>
                    <a:pt x="1591" y="9196"/>
                    <a:pt x="1591" y="9196"/>
                    <a:pt x="1591" y="9196"/>
                  </a:cubicBezTo>
                  <a:cubicBezTo>
                    <a:pt x="1587" y="9198"/>
                    <a:pt x="1587" y="9198"/>
                    <a:pt x="1587" y="9198"/>
                  </a:cubicBezTo>
                  <a:cubicBezTo>
                    <a:pt x="1590" y="9209"/>
                    <a:pt x="1590" y="9209"/>
                    <a:pt x="1590" y="9209"/>
                  </a:cubicBezTo>
                  <a:cubicBezTo>
                    <a:pt x="1592" y="9213"/>
                    <a:pt x="1592" y="9213"/>
                    <a:pt x="1592" y="9213"/>
                  </a:cubicBezTo>
                  <a:cubicBezTo>
                    <a:pt x="1486" y="9265"/>
                    <a:pt x="1486" y="9265"/>
                    <a:pt x="1486" y="9265"/>
                  </a:cubicBezTo>
                  <a:cubicBezTo>
                    <a:pt x="1485" y="9265"/>
                    <a:pt x="1485" y="9265"/>
                    <a:pt x="1485" y="9265"/>
                  </a:cubicBezTo>
                  <a:cubicBezTo>
                    <a:pt x="1484" y="9262"/>
                    <a:pt x="1484" y="9262"/>
                    <a:pt x="1484" y="9262"/>
                  </a:cubicBezTo>
                  <a:lnTo>
                    <a:pt x="1439" y="9167"/>
                  </a:lnTo>
                  <a:close/>
                  <a:moveTo>
                    <a:pt x="1553" y="9075"/>
                  </a:moveTo>
                  <a:cubicBezTo>
                    <a:pt x="1648" y="9028"/>
                    <a:pt x="1648" y="9028"/>
                    <a:pt x="1648" y="9028"/>
                  </a:cubicBezTo>
                  <a:cubicBezTo>
                    <a:pt x="1665" y="9063"/>
                    <a:pt x="1680" y="9096"/>
                    <a:pt x="1694" y="9125"/>
                  </a:cubicBezTo>
                  <a:cubicBezTo>
                    <a:pt x="1691" y="9126"/>
                    <a:pt x="1691" y="9126"/>
                    <a:pt x="1691" y="9126"/>
                  </a:cubicBezTo>
                  <a:cubicBezTo>
                    <a:pt x="1698" y="9139"/>
                    <a:pt x="1698" y="9139"/>
                    <a:pt x="1698" y="9139"/>
                  </a:cubicBezTo>
                  <a:cubicBezTo>
                    <a:pt x="1699" y="9141"/>
                    <a:pt x="1699" y="9141"/>
                    <a:pt x="1699" y="9141"/>
                  </a:cubicBezTo>
                  <a:cubicBezTo>
                    <a:pt x="1605" y="9188"/>
                    <a:pt x="1605" y="9188"/>
                    <a:pt x="1605" y="9188"/>
                  </a:cubicBezTo>
                  <a:lnTo>
                    <a:pt x="1553" y="9075"/>
                  </a:lnTo>
                  <a:close/>
                  <a:moveTo>
                    <a:pt x="1663" y="9020"/>
                  </a:moveTo>
                  <a:cubicBezTo>
                    <a:pt x="1665" y="9019"/>
                    <a:pt x="1665" y="9019"/>
                    <a:pt x="1665" y="9019"/>
                  </a:cubicBezTo>
                  <a:cubicBezTo>
                    <a:pt x="1658" y="9006"/>
                    <a:pt x="1658" y="9006"/>
                    <a:pt x="1658" y="9006"/>
                  </a:cubicBezTo>
                  <a:cubicBezTo>
                    <a:pt x="1657" y="9005"/>
                    <a:pt x="1657" y="9005"/>
                    <a:pt x="1657" y="9005"/>
                  </a:cubicBezTo>
                  <a:cubicBezTo>
                    <a:pt x="1750" y="8961"/>
                    <a:pt x="1750" y="8961"/>
                    <a:pt x="1750" y="8961"/>
                  </a:cubicBezTo>
                  <a:cubicBezTo>
                    <a:pt x="1765" y="8985"/>
                    <a:pt x="1765" y="8985"/>
                    <a:pt x="1765" y="8985"/>
                  </a:cubicBezTo>
                  <a:cubicBezTo>
                    <a:pt x="1771" y="8996"/>
                    <a:pt x="1771" y="8996"/>
                    <a:pt x="1771" y="8996"/>
                  </a:cubicBezTo>
                  <a:cubicBezTo>
                    <a:pt x="1778" y="8993"/>
                    <a:pt x="1778" y="8993"/>
                    <a:pt x="1778" y="8993"/>
                  </a:cubicBezTo>
                  <a:cubicBezTo>
                    <a:pt x="1802" y="9039"/>
                    <a:pt x="1802" y="9039"/>
                    <a:pt x="1802" y="9039"/>
                  </a:cubicBezTo>
                  <a:cubicBezTo>
                    <a:pt x="1816" y="9068"/>
                    <a:pt x="1816" y="9068"/>
                    <a:pt x="1816" y="9068"/>
                  </a:cubicBezTo>
                  <a:cubicBezTo>
                    <a:pt x="1709" y="9118"/>
                    <a:pt x="1709" y="9118"/>
                    <a:pt x="1709" y="9118"/>
                  </a:cubicBezTo>
                  <a:cubicBezTo>
                    <a:pt x="1695" y="9089"/>
                    <a:pt x="1680" y="9056"/>
                    <a:pt x="1663" y="9020"/>
                  </a:cubicBezTo>
                  <a:close/>
                  <a:moveTo>
                    <a:pt x="1795" y="8985"/>
                  </a:moveTo>
                  <a:cubicBezTo>
                    <a:pt x="1902" y="8933"/>
                    <a:pt x="1902" y="8933"/>
                    <a:pt x="1902" y="8933"/>
                  </a:cubicBezTo>
                  <a:cubicBezTo>
                    <a:pt x="1918" y="8968"/>
                    <a:pt x="1935" y="9002"/>
                    <a:pt x="1948" y="9030"/>
                  </a:cubicBezTo>
                  <a:cubicBezTo>
                    <a:pt x="1948" y="9030"/>
                    <a:pt x="1948" y="9030"/>
                    <a:pt x="1948" y="9030"/>
                  </a:cubicBezTo>
                  <a:cubicBezTo>
                    <a:pt x="1950" y="9035"/>
                    <a:pt x="1950" y="9035"/>
                    <a:pt x="1950" y="9035"/>
                  </a:cubicBezTo>
                  <a:cubicBezTo>
                    <a:pt x="1952" y="9039"/>
                    <a:pt x="1954" y="9042"/>
                    <a:pt x="1955" y="9046"/>
                  </a:cubicBezTo>
                  <a:cubicBezTo>
                    <a:pt x="1855" y="9094"/>
                    <a:pt x="1855" y="9094"/>
                    <a:pt x="1855" y="9094"/>
                  </a:cubicBezTo>
                  <a:cubicBezTo>
                    <a:pt x="1841" y="9070"/>
                    <a:pt x="1841" y="9070"/>
                    <a:pt x="1841" y="9070"/>
                  </a:cubicBezTo>
                  <a:cubicBezTo>
                    <a:pt x="1834" y="9059"/>
                    <a:pt x="1834" y="9059"/>
                    <a:pt x="1834" y="9059"/>
                  </a:cubicBezTo>
                  <a:cubicBezTo>
                    <a:pt x="1831" y="9061"/>
                    <a:pt x="1831" y="9061"/>
                    <a:pt x="1831" y="9061"/>
                  </a:cubicBezTo>
                  <a:lnTo>
                    <a:pt x="1795" y="8985"/>
                  </a:lnTo>
                  <a:close/>
                  <a:moveTo>
                    <a:pt x="1953" y="9004"/>
                  </a:moveTo>
                  <a:cubicBezTo>
                    <a:pt x="1942" y="8980"/>
                    <a:pt x="1929" y="8953"/>
                    <a:pt x="1916" y="8926"/>
                  </a:cubicBezTo>
                  <a:cubicBezTo>
                    <a:pt x="1921" y="8924"/>
                    <a:pt x="1921" y="8924"/>
                    <a:pt x="1921" y="8924"/>
                  </a:cubicBezTo>
                  <a:cubicBezTo>
                    <a:pt x="1914" y="8911"/>
                    <a:pt x="1914" y="8911"/>
                    <a:pt x="1914" y="8911"/>
                  </a:cubicBezTo>
                  <a:cubicBezTo>
                    <a:pt x="1913" y="8908"/>
                    <a:pt x="1913" y="8908"/>
                    <a:pt x="1913" y="8908"/>
                  </a:cubicBezTo>
                  <a:cubicBezTo>
                    <a:pt x="2003" y="8861"/>
                    <a:pt x="2003" y="8861"/>
                    <a:pt x="2003" y="8861"/>
                  </a:cubicBezTo>
                  <a:cubicBezTo>
                    <a:pt x="2022" y="8895"/>
                    <a:pt x="2022" y="8895"/>
                    <a:pt x="2022" y="8895"/>
                  </a:cubicBezTo>
                  <a:cubicBezTo>
                    <a:pt x="2054" y="8961"/>
                    <a:pt x="2054" y="8961"/>
                    <a:pt x="2054" y="8961"/>
                  </a:cubicBezTo>
                  <a:cubicBezTo>
                    <a:pt x="2052" y="8962"/>
                    <a:pt x="2052" y="8962"/>
                    <a:pt x="2052" y="8962"/>
                  </a:cubicBezTo>
                  <a:cubicBezTo>
                    <a:pt x="2056" y="8974"/>
                    <a:pt x="2056" y="8974"/>
                    <a:pt x="2056" y="8974"/>
                  </a:cubicBezTo>
                  <a:cubicBezTo>
                    <a:pt x="2056" y="8974"/>
                    <a:pt x="2056" y="8974"/>
                    <a:pt x="2056" y="8974"/>
                  </a:cubicBezTo>
                  <a:cubicBezTo>
                    <a:pt x="1963" y="9022"/>
                    <a:pt x="1963" y="9022"/>
                    <a:pt x="1963" y="9022"/>
                  </a:cubicBezTo>
                  <a:lnTo>
                    <a:pt x="1953" y="9004"/>
                  </a:lnTo>
                  <a:close/>
                  <a:moveTo>
                    <a:pt x="2015" y="8841"/>
                  </a:moveTo>
                  <a:cubicBezTo>
                    <a:pt x="2095" y="8801"/>
                    <a:pt x="2095" y="8801"/>
                    <a:pt x="2095" y="8801"/>
                  </a:cubicBezTo>
                  <a:cubicBezTo>
                    <a:pt x="2110" y="8830"/>
                    <a:pt x="2110" y="8830"/>
                    <a:pt x="2110" y="8830"/>
                  </a:cubicBezTo>
                  <a:cubicBezTo>
                    <a:pt x="2149" y="8914"/>
                    <a:pt x="2149" y="8914"/>
                    <a:pt x="2149" y="8914"/>
                  </a:cubicBezTo>
                  <a:cubicBezTo>
                    <a:pt x="2069" y="8954"/>
                    <a:pt x="2069" y="8954"/>
                    <a:pt x="2069" y="8954"/>
                  </a:cubicBezTo>
                  <a:lnTo>
                    <a:pt x="2015" y="8841"/>
                  </a:lnTo>
                  <a:close/>
                  <a:moveTo>
                    <a:pt x="2141" y="8857"/>
                  </a:moveTo>
                  <a:cubicBezTo>
                    <a:pt x="2022" y="8599"/>
                    <a:pt x="2022" y="8599"/>
                    <a:pt x="2022" y="8599"/>
                  </a:cubicBezTo>
                  <a:cubicBezTo>
                    <a:pt x="2028" y="8596"/>
                    <a:pt x="2035" y="8592"/>
                    <a:pt x="2044" y="8588"/>
                  </a:cubicBezTo>
                  <a:cubicBezTo>
                    <a:pt x="2056" y="8582"/>
                    <a:pt x="2070" y="8575"/>
                    <a:pt x="2085" y="8568"/>
                  </a:cubicBezTo>
                  <a:cubicBezTo>
                    <a:pt x="2134" y="8665"/>
                    <a:pt x="2134" y="8665"/>
                    <a:pt x="2134" y="8665"/>
                  </a:cubicBezTo>
                  <a:cubicBezTo>
                    <a:pt x="2157" y="8656"/>
                    <a:pt x="2157" y="8656"/>
                    <a:pt x="2157" y="8656"/>
                  </a:cubicBezTo>
                  <a:cubicBezTo>
                    <a:pt x="2180" y="8700"/>
                    <a:pt x="2180" y="8700"/>
                    <a:pt x="2180" y="8700"/>
                  </a:cubicBezTo>
                  <a:cubicBezTo>
                    <a:pt x="2264" y="8661"/>
                    <a:pt x="2264" y="8661"/>
                    <a:pt x="2264" y="8661"/>
                  </a:cubicBezTo>
                  <a:cubicBezTo>
                    <a:pt x="2280" y="8696"/>
                    <a:pt x="2280" y="8696"/>
                    <a:pt x="2280" y="8696"/>
                  </a:cubicBezTo>
                  <a:cubicBezTo>
                    <a:pt x="2310" y="8678"/>
                    <a:pt x="2310" y="8678"/>
                    <a:pt x="2310" y="8678"/>
                  </a:cubicBezTo>
                  <a:cubicBezTo>
                    <a:pt x="2284" y="8629"/>
                    <a:pt x="2284" y="8629"/>
                    <a:pt x="2284" y="8629"/>
                  </a:cubicBezTo>
                  <a:cubicBezTo>
                    <a:pt x="2299" y="8619"/>
                    <a:pt x="2299" y="8619"/>
                    <a:pt x="2299" y="8619"/>
                  </a:cubicBezTo>
                  <a:cubicBezTo>
                    <a:pt x="2292" y="8590"/>
                    <a:pt x="2292" y="8590"/>
                    <a:pt x="2292" y="8590"/>
                  </a:cubicBezTo>
                  <a:cubicBezTo>
                    <a:pt x="2408" y="8536"/>
                    <a:pt x="2408" y="8536"/>
                    <a:pt x="2408" y="8536"/>
                  </a:cubicBezTo>
                  <a:cubicBezTo>
                    <a:pt x="2360" y="8435"/>
                    <a:pt x="2360" y="8435"/>
                    <a:pt x="2360" y="8435"/>
                  </a:cubicBezTo>
                  <a:cubicBezTo>
                    <a:pt x="2373" y="8429"/>
                    <a:pt x="2383" y="8424"/>
                    <a:pt x="2388" y="8421"/>
                  </a:cubicBezTo>
                  <a:cubicBezTo>
                    <a:pt x="2388" y="8421"/>
                    <a:pt x="2389" y="8422"/>
                    <a:pt x="2389" y="8422"/>
                  </a:cubicBezTo>
                  <a:cubicBezTo>
                    <a:pt x="2507" y="8666"/>
                    <a:pt x="2507" y="8666"/>
                    <a:pt x="2507" y="8666"/>
                  </a:cubicBezTo>
                  <a:cubicBezTo>
                    <a:pt x="2482" y="8680"/>
                    <a:pt x="2305" y="8781"/>
                    <a:pt x="2209" y="8838"/>
                  </a:cubicBezTo>
                  <a:cubicBezTo>
                    <a:pt x="2179" y="8856"/>
                    <a:pt x="2159" y="8868"/>
                    <a:pt x="2150" y="8874"/>
                  </a:cubicBezTo>
                  <a:lnTo>
                    <a:pt x="2141" y="8857"/>
                  </a:lnTo>
                  <a:close/>
                  <a:moveTo>
                    <a:pt x="2278" y="8594"/>
                  </a:moveTo>
                  <a:cubicBezTo>
                    <a:pt x="2283" y="8613"/>
                    <a:pt x="2283" y="8613"/>
                    <a:pt x="2283" y="8613"/>
                  </a:cubicBezTo>
                  <a:cubicBezTo>
                    <a:pt x="2276" y="8618"/>
                    <a:pt x="2276" y="8618"/>
                    <a:pt x="2276" y="8618"/>
                  </a:cubicBezTo>
                  <a:cubicBezTo>
                    <a:pt x="2266" y="8625"/>
                    <a:pt x="2266" y="8625"/>
                    <a:pt x="2266" y="8625"/>
                  </a:cubicBezTo>
                  <a:cubicBezTo>
                    <a:pt x="2272" y="8636"/>
                    <a:pt x="2272" y="8636"/>
                    <a:pt x="2272" y="8636"/>
                  </a:cubicBezTo>
                  <a:cubicBezTo>
                    <a:pt x="2292" y="8673"/>
                    <a:pt x="2292" y="8673"/>
                    <a:pt x="2292" y="8673"/>
                  </a:cubicBezTo>
                  <a:cubicBezTo>
                    <a:pt x="2286" y="8676"/>
                    <a:pt x="2286" y="8676"/>
                    <a:pt x="2286" y="8676"/>
                  </a:cubicBezTo>
                  <a:cubicBezTo>
                    <a:pt x="2276" y="8655"/>
                    <a:pt x="2276" y="8655"/>
                    <a:pt x="2276" y="8655"/>
                  </a:cubicBezTo>
                  <a:cubicBezTo>
                    <a:pt x="2271" y="8643"/>
                    <a:pt x="2271" y="8643"/>
                    <a:pt x="2271" y="8643"/>
                  </a:cubicBezTo>
                  <a:cubicBezTo>
                    <a:pt x="2258" y="8649"/>
                    <a:pt x="2258" y="8649"/>
                    <a:pt x="2258" y="8649"/>
                  </a:cubicBezTo>
                  <a:cubicBezTo>
                    <a:pt x="2186" y="8682"/>
                    <a:pt x="2186" y="8682"/>
                    <a:pt x="2186" y="8682"/>
                  </a:cubicBezTo>
                  <a:cubicBezTo>
                    <a:pt x="2170" y="8650"/>
                    <a:pt x="2170" y="8650"/>
                    <a:pt x="2170" y="8650"/>
                  </a:cubicBezTo>
                  <a:cubicBezTo>
                    <a:pt x="2164" y="8638"/>
                    <a:pt x="2164" y="8638"/>
                    <a:pt x="2164" y="8638"/>
                  </a:cubicBezTo>
                  <a:cubicBezTo>
                    <a:pt x="2152" y="8643"/>
                    <a:pt x="2152" y="8643"/>
                    <a:pt x="2152" y="8643"/>
                  </a:cubicBezTo>
                  <a:cubicBezTo>
                    <a:pt x="2140" y="8648"/>
                    <a:pt x="2140" y="8648"/>
                    <a:pt x="2140" y="8648"/>
                  </a:cubicBezTo>
                  <a:cubicBezTo>
                    <a:pt x="2099" y="8565"/>
                    <a:pt x="2099" y="8565"/>
                    <a:pt x="2099" y="8565"/>
                  </a:cubicBezTo>
                  <a:cubicBezTo>
                    <a:pt x="2349" y="8443"/>
                    <a:pt x="2349" y="8443"/>
                    <a:pt x="2349" y="8443"/>
                  </a:cubicBezTo>
                  <a:cubicBezTo>
                    <a:pt x="2390" y="8529"/>
                    <a:pt x="2390" y="8529"/>
                    <a:pt x="2390" y="8529"/>
                  </a:cubicBezTo>
                  <a:cubicBezTo>
                    <a:pt x="2286" y="8578"/>
                    <a:pt x="2286" y="8578"/>
                    <a:pt x="2286" y="8578"/>
                  </a:cubicBezTo>
                  <a:cubicBezTo>
                    <a:pt x="2275" y="8583"/>
                    <a:pt x="2275" y="8583"/>
                    <a:pt x="2275" y="8583"/>
                  </a:cubicBezTo>
                  <a:lnTo>
                    <a:pt x="2278" y="8594"/>
                  </a:lnTo>
                  <a:close/>
                  <a:moveTo>
                    <a:pt x="2380" y="8407"/>
                  </a:moveTo>
                  <a:cubicBezTo>
                    <a:pt x="2378" y="8408"/>
                    <a:pt x="2376" y="8409"/>
                    <a:pt x="2373" y="8411"/>
                  </a:cubicBezTo>
                  <a:cubicBezTo>
                    <a:pt x="2368" y="8414"/>
                    <a:pt x="2359" y="8418"/>
                    <a:pt x="2349" y="8423"/>
                  </a:cubicBezTo>
                  <a:cubicBezTo>
                    <a:pt x="2328" y="8433"/>
                    <a:pt x="2298" y="8448"/>
                    <a:pt x="2266" y="8463"/>
                  </a:cubicBezTo>
                  <a:cubicBezTo>
                    <a:pt x="2200" y="8495"/>
                    <a:pt x="2122" y="8532"/>
                    <a:pt x="2068" y="8558"/>
                  </a:cubicBezTo>
                  <a:cubicBezTo>
                    <a:pt x="2044" y="8570"/>
                    <a:pt x="2027" y="8578"/>
                    <a:pt x="2015" y="8584"/>
                  </a:cubicBezTo>
                  <a:cubicBezTo>
                    <a:pt x="1888" y="8308"/>
                    <a:pt x="1888" y="8308"/>
                    <a:pt x="1888" y="8308"/>
                  </a:cubicBezTo>
                  <a:cubicBezTo>
                    <a:pt x="2004" y="8299"/>
                    <a:pt x="2004" y="8299"/>
                    <a:pt x="2004" y="8299"/>
                  </a:cubicBezTo>
                  <a:cubicBezTo>
                    <a:pt x="2250" y="8132"/>
                    <a:pt x="2250" y="8132"/>
                    <a:pt x="2250" y="8132"/>
                  </a:cubicBezTo>
                  <a:cubicBezTo>
                    <a:pt x="2382" y="8406"/>
                    <a:pt x="2382" y="8406"/>
                    <a:pt x="2382" y="8406"/>
                  </a:cubicBezTo>
                  <a:cubicBezTo>
                    <a:pt x="2381" y="8406"/>
                    <a:pt x="2380" y="8406"/>
                    <a:pt x="2380" y="8407"/>
                  </a:cubicBezTo>
                  <a:close/>
                  <a:moveTo>
                    <a:pt x="2119" y="8168"/>
                  </a:moveTo>
                  <a:cubicBezTo>
                    <a:pt x="1885" y="8058"/>
                    <a:pt x="1885" y="8058"/>
                    <a:pt x="1885" y="8058"/>
                  </a:cubicBezTo>
                  <a:cubicBezTo>
                    <a:pt x="1926" y="7919"/>
                    <a:pt x="1926" y="7919"/>
                    <a:pt x="1926" y="7919"/>
                  </a:cubicBezTo>
                  <a:cubicBezTo>
                    <a:pt x="1936" y="7914"/>
                    <a:pt x="1949" y="7908"/>
                    <a:pt x="1964" y="7900"/>
                  </a:cubicBezTo>
                  <a:cubicBezTo>
                    <a:pt x="1995" y="7884"/>
                    <a:pt x="2037" y="7862"/>
                    <a:pt x="2078" y="7841"/>
                  </a:cubicBezTo>
                  <a:cubicBezTo>
                    <a:pt x="2158" y="7798"/>
                    <a:pt x="2238" y="7756"/>
                    <a:pt x="2238" y="7756"/>
                  </a:cubicBezTo>
                  <a:cubicBezTo>
                    <a:pt x="2241" y="7755"/>
                    <a:pt x="2241" y="7755"/>
                    <a:pt x="2241" y="7755"/>
                  </a:cubicBezTo>
                  <a:cubicBezTo>
                    <a:pt x="2242" y="7753"/>
                    <a:pt x="2242" y="7753"/>
                    <a:pt x="2242" y="7753"/>
                  </a:cubicBezTo>
                  <a:cubicBezTo>
                    <a:pt x="2242" y="7752"/>
                    <a:pt x="2330" y="7507"/>
                    <a:pt x="2380" y="7377"/>
                  </a:cubicBezTo>
                  <a:cubicBezTo>
                    <a:pt x="2389" y="7353"/>
                    <a:pt x="2397" y="7332"/>
                    <a:pt x="2403" y="7319"/>
                  </a:cubicBezTo>
                  <a:cubicBezTo>
                    <a:pt x="2409" y="7323"/>
                    <a:pt x="2414" y="7327"/>
                    <a:pt x="2419" y="7330"/>
                  </a:cubicBezTo>
                  <a:cubicBezTo>
                    <a:pt x="2480" y="7373"/>
                    <a:pt x="2559" y="7436"/>
                    <a:pt x="2664" y="7478"/>
                  </a:cubicBezTo>
                  <a:cubicBezTo>
                    <a:pt x="2459" y="7940"/>
                    <a:pt x="2459" y="7940"/>
                    <a:pt x="2459" y="7940"/>
                  </a:cubicBezTo>
                  <a:lnTo>
                    <a:pt x="2119" y="8168"/>
                  </a:lnTo>
                  <a:close/>
                  <a:moveTo>
                    <a:pt x="2890" y="7516"/>
                  </a:moveTo>
                  <a:cubicBezTo>
                    <a:pt x="3045" y="7498"/>
                    <a:pt x="3176" y="7390"/>
                    <a:pt x="3245" y="7344"/>
                  </a:cubicBezTo>
                  <a:cubicBezTo>
                    <a:pt x="3246" y="7343"/>
                    <a:pt x="3247" y="7342"/>
                    <a:pt x="3248" y="7342"/>
                  </a:cubicBezTo>
                  <a:cubicBezTo>
                    <a:pt x="3419" y="7543"/>
                    <a:pt x="3419" y="7543"/>
                    <a:pt x="3419" y="7543"/>
                  </a:cubicBezTo>
                  <a:cubicBezTo>
                    <a:pt x="3045" y="7834"/>
                    <a:pt x="3045" y="7834"/>
                    <a:pt x="3045" y="7834"/>
                  </a:cubicBezTo>
                  <a:cubicBezTo>
                    <a:pt x="3006" y="7796"/>
                    <a:pt x="2979" y="7769"/>
                    <a:pt x="2979" y="7769"/>
                  </a:cubicBezTo>
                  <a:cubicBezTo>
                    <a:pt x="2974" y="7764"/>
                    <a:pt x="2974" y="7764"/>
                    <a:pt x="2974" y="7764"/>
                  </a:cubicBezTo>
                  <a:cubicBezTo>
                    <a:pt x="2974" y="7764"/>
                    <a:pt x="2974" y="7764"/>
                    <a:pt x="2974" y="7764"/>
                  </a:cubicBezTo>
                  <a:lnTo>
                    <a:pt x="2890" y="7516"/>
                  </a:lnTo>
                  <a:close/>
                  <a:moveTo>
                    <a:pt x="3261" y="7335"/>
                  </a:moveTo>
                  <a:cubicBezTo>
                    <a:pt x="3298" y="7315"/>
                    <a:pt x="3365" y="7297"/>
                    <a:pt x="3422" y="7286"/>
                  </a:cubicBezTo>
                  <a:cubicBezTo>
                    <a:pt x="3471" y="7276"/>
                    <a:pt x="3514" y="7270"/>
                    <a:pt x="3534" y="7267"/>
                  </a:cubicBezTo>
                  <a:cubicBezTo>
                    <a:pt x="3546" y="7280"/>
                    <a:pt x="3558" y="7292"/>
                    <a:pt x="3570" y="7304"/>
                  </a:cubicBezTo>
                  <a:cubicBezTo>
                    <a:pt x="3615" y="7352"/>
                    <a:pt x="3632" y="7376"/>
                    <a:pt x="3637" y="7382"/>
                  </a:cubicBezTo>
                  <a:cubicBezTo>
                    <a:pt x="3636" y="7383"/>
                    <a:pt x="3636" y="7383"/>
                    <a:pt x="3636" y="7383"/>
                  </a:cubicBezTo>
                  <a:cubicBezTo>
                    <a:pt x="3636" y="7383"/>
                    <a:pt x="3636" y="7383"/>
                    <a:pt x="3636" y="7383"/>
                  </a:cubicBezTo>
                  <a:cubicBezTo>
                    <a:pt x="3544" y="7428"/>
                    <a:pt x="3544" y="7428"/>
                    <a:pt x="3544" y="7428"/>
                  </a:cubicBezTo>
                  <a:cubicBezTo>
                    <a:pt x="3512" y="7553"/>
                    <a:pt x="3512" y="7553"/>
                    <a:pt x="3512" y="7553"/>
                  </a:cubicBezTo>
                  <a:cubicBezTo>
                    <a:pt x="3431" y="7534"/>
                    <a:pt x="3431" y="7534"/>
                    <a:pt x="3431" y="7534"/>
                  </a:cubicBezTo>
                  <a:cubicBezTo>
                    <a:pt x="3430" y="7534"/>
                    <a:pt x="3430" y="7534"/>
                    <a:pt x="3430" y="7534"/>
                  </a:cubicBezTo>
                  <a:cubicBezTo>
                    <a:pt x="3430" y="7533"/>
                    <a:pt x="3430" y="7533"/>
                    <a:pt x="3430" y="7533"/>
                  </a:cubicBezTo>
                  <a:lnTo>
                    <a:pt x="3261" y="7335"/>
                  </a:lnTo>
                  <a:close/>
                  <a:moveTo>
                    <a:pt x="3558" y="7439"/>
                  </a:moveTo>
                  <a:cubicBezTo>
                    <a:pt x="3648" y="7396"/>
                    <a:pt x="3648" y="7396"/>
                    <a:pt x="3648" y="7396"/>
                  </a:cubicBezTo>
                  <a:cubicBezTo>
                    <a:pt x="3848" y="7627"/>
                    <a:pt x="3848" y="7627"/>
                    <a:pt x="3848" y="7627"/>
                  </a:cubicBezTo>
                  <a:cubicBezTo>
                    <a:pt x="3849" y="7629"/>
                    <a:pt x="3850" y="7633"/>
                    <a:pt x="3851" y="7638"/>
                  </a:cubicBezTo>
                  <a:cubicBezTo>
                    <a:pt x="3853" y="7645"/>
                    <a:pt x="3854" y="7654"/>
                    <a:pt x="3855" y="7662"/>
                  </a:cubicBezTo>
                  <a:cubicBezTo>
                    <a:pt x="3585" y="7717"/>
                    <a:pt x="3585" y="7717"/>
                    <a:pt x="3585" y="7717"/>
                  </a:cubicBezTo>
                  <a:cubicBezTo>
                    <a:pt x="3527" y="7562"/>
                    <a:pt x="3527" y="7562"/>
                    <a:pt x="3527" y="7562"/>
                  </a:cubicBezTo>
                  <a:lnTo>
                    <a:pt x="3558" y="7439"/>
                  </a:lnTo>
                  <a:close/>
                  <a:moveTo>
                    <a:pt x="4105" y="7410"/>
                  </a:moveTo>
                  <a:cubicBezTo>
                    <a:pt x="4114" y="7404"/>
                    <a:pt x="4126" y="7397"/>
                    <a:pt x="4137" y="7389"/>
                  </a:cubicBezTo>
                  <a:cubicBezTo>
                    <a:pt x="4160" y="7374"/>
                    <a:pt x="4182" y="7359"/>
                    <a:pt x="4182" y="7359"/>
                  </a:cubicBezTo>
                  <a:cubicBezTo>
                    <a:pt x="4184" y="7357"/>
                    <a:pt x="4184" y="7357"/>
                    <a:pt x="4184" y="7357"/>
                  </a:cubicBezTo>
                  <a:cubicBezTo>
                    <a:pt x="4268" y="7108"/>
                    <a:pt x="4268" y="7108"/>
                    <a:pt x="4268" y="7108"/>
                  </a:cubicBezTo>
                  <a:cubicBezTo>
                    <a:pt x="4466" y="7122"/>
                    <a:pt x="4466" y="7122"/>
                    <a:pt x="4466" y="7122"/>
                  </a:cubicBezTo>
                  <a:cubicBezTo>
                    <a:pt x="4455" y="7171"/>
                    <a:pt x="4442" y="7216"/>
                    <a:pt x="4428" y="7256"/>
                  </a:cubicBezTo>
                  <a:cubicBezTo>
                    <a:pt x="4399" y="7337"/>
                    <a:pt x="4365" y="7396"/>
                    <a:pt x="4340" y="7420"/>
                  </a:cubicBezTo>
                  <a:cubicBezTo>
                    <a:pt x="4312" y="7446"/>
                    <a:pt x="4262" y="7475"/>
                    <a:pt x="4220" y="7496"/>
                  </a:cubicBezTo>
                  <a:cubicBezTo>
                    <a:pt x="4212" y="7500"/>
                    <a:pt x="4205" y="7504"/>
                    <a:pt x="4199" y="7507"/>
                  </a:cubicBezTo>
                  <a:cubicBezTo>
                    <a:pt x="4192" y="7501"/>
                    <a:pt x="4150" y="7462"/>
                    <a:pt x="4099" y="7414"/>
                  </a:cubicBezTo>
                  <a:cubicBezTo>
                    <a:pt x="4101" y="7413"/>
                    <a:pt x="4103" y="7412"/>
                    <a:pt x="4105" y="7410"/>
                  </a:cubicBezTo>
                  <a:close/>
                  <a:moveTo>
                    <a:pt x="4200" y="7581"/>
                  </a:moveTo>
                  <a:cubicBezTo>
                    <a:pt x="4212" y="7576"/>
                    <a:pt x="4225" y="7569"/>
                    <a:pt x="4241" y="7561"/>
                  </a:cubicBezTo>
                  <a:cubicBezTo>
                    <a:pt x="4292" y="7807"/>
                    <a:pt x="4292" y="7807"/>
                    <a:pt x="4292" y="7807"/>
                  </a:cubicBezTo>
                  <a:cubicBezTo>
                    <a:pt x="4187" y="7822"/>
                    <a:pt x="4187" y="7822"/>
                    <a:pt x="4187" y="7822"/>
                  </a:cubicBezTo>
                  <a:cubicBezTo>
                    <a:pt x="4140" y="7612"/>
                    <a:pt x="4140" y="7612"/>
                    <a:pt x="4140" y="7612"/>
                  </a:cubicBezTo>
                  <a:lnTo>
                    <a:pt x="4200" y="7581"/>
                  </a:lnTo>
                  <a:close/>
                  <a:moveTo>
                    <a:pt x="4202" y="7965"/>
                  </a:moveTo>
                  <a:cubicBezTo>
                    <a:pt x="4129" y="7975"/>
                    <a:pt x="4129" y="7975"/>
                    <a:pt x="4129" y="7975"/>
                  </a:cubicBezTo>
                  <a:cubicBezTo>
                    <a:pt x="4109" y="7847"/>
                    <a:pt x="4109" y="7847"/>
                    <a:pt x="4109" y="7847"/>
                  </a:cubicBezTo>
                  <a:cubicBezTo>
                    <a:pt x="4173" y="7837"/>
                    <a:pt x="4173" y="7837"/>
                    <a:pt x="4173" y="7837"/>
                  </a:cubicBezTo>
                  <a:lnTo>
                    <a:pt x="4202" y="7965"/>
                  </a:lnTo>
                  <a:close/>
                  <a:moveTo>
                    <a:pt x="4190" y="7835"/>
                  </a:moveTo>
                  <a:cubicBezTo>
                    <a:pt x="4294" y="7820"/>
                    <a:pt x="4294" y="7820"/>
                    <a:pt x="4294" y="7820"/>
                  </a:cubicBezTo>
                  <a:cubicBezTo>
                    <a:pt x="4321" y="7948"/>
                    <a:pt x="4321" y="7948"/>
                    <a:pt x="4321" y="7948"/>
                  </a:cubicBezTo>
                  <a:cubicBezTo>
                    <a:pt x="4218" y="7963"/>
                    <a:pt x="4218" y="7963"/>
                    <a:pt x="4218" y="7963"/>
                  </a:cubicBezTo>
                  <a:lnTo>
                    <a:pt x="4190" y="7835"/>
                  </a:lnTo>
                  <a:close/>
                  <a:moveTo>
                    <a:pt x="4323" y="7961"/>
                  </a:moveTo>
                  <a:cubicBezTo>
                    <a:pt x="4338" y="8034"/>
                    <a:pt x="4338" y="8034"/>
                    <a:pt x="4338" y="8034"/>
                  </a:cubicBezTo>
                  <a:cubicBezTo>
                    <a:pt x="4302" y="8034"/>
                    <a:pt x="4267" y="8032"/>
                    <a:pt x="4233" y="8029"/>
                  </a:cubicBezTo>
                  <a:cubicBezTo>
                    <a:pt x="4221" y="7975"/>
                    <a:pt x="4221" y="7975"/>
                    <a:pt x="4221" y="7975"/>
                  </a:cubicBezTo>
                  <a:lnTo>
                    <a:pt x="4323" y="7961"/>
                  </a:lnTo>
                  <a:close/>
                  <a:moveTo>
                    <a:pt x="4337" y="7946"/>
                  </a:moveTo>
                  <a:cubicBezTo>
                    <a:pt x="4311" y="7818"/>
                    <a:pt x="4311" y="7818"/>
                    <a:pt x="4311" y="7818"/>
                  </a:cubicBezTo>
                  <a:cubicBezTo>
                    <a:pt x="4406" y="7804"/>
                    <a:pt x="4406" y="7804"/>
                    <a:pt x="4406" y="7804"/>
                  </a:cubicBezTo>
                  <a:cubicBezTo>
                    <a:pt x="4434" y="7932"/>
                    <a:pt x="4434" y="7932"/>
                    <a:pt x="4434" y="7932"/>
                  </a:cubicBezTo>
                  <a:lnTo>
                    <a:pt x="4337" y="7946"/>
                  </a:lnTo>
                  <a:close/>
                  <a:moveTo>
                    <a:pt x="4437" y="7945"/>
                  </a:moveTo>
                  <a:cubicBezTo>
                    <a:pt x="4455" y="8028"/>
                    <a:pt x="4455" y="8028"/>
                    <a:pt x="4455" y="8028"/>
                  </a:cubicBezTo>
                  <a:cubicBezTo>
                    <a:pt x="4445" y="8029"/>
                    <a:pt x="4435" y="8030"/>
                    <a:pt x="4426" y="8031"/>
                  </a:cubicBezTo>
                  <a:cubicBezTo>
                    <a:pt x="4401" y="8033"/>
                    <a:pt x="4378" y="8033"/>
                    <a:pt x="4355" y="8034"/>
                  </a:cubicBezTo>
                  <a:cubicBezTo>
                    <a:pt x="4340" y="7959"/>
                    <a:pt x="4340" y="7959"/>
                    <a:pt x="4340" y="7959"/>
                  </a:cubicBezTo>
                  <a:lnTo>
                    <a:pt x="4437" y="7945"/>
                  </a:lnTo>
                  <a:close/>
                  <a:moveTo>
                    <a:pt x="4701" y="7895"/>
                  </a:moveTo>
                  <a:cubicBezTo>
                    <a:pt x="4680" y="7766"/>
                    <a:pt x="4680" y="7766"/>
                    <a:pt x="4680" y="7766"/>
                  </a:cubicBezTo>
                  <a:cubicBezTo>
                    <a:pt x="4787" y="7751"/>
                    <a:pt x="4787" y="7751"/>
                    <a:pt x="4787" y="7751"/>
                  </a:cubicBezTo>
                  <a:cubicBezTo>
                    <a:pt x="4787" y="7752"/>
                    <a:pt x="4787" y="7753"/>
                    <a:pt x="4787" y="7754"/>
                  </a:cubicBezTo>
                  <a:cubicBezTo>
                    <a:pt x="4794" y="7798"/>
                    <a:pt x="4801" y="7843"/>
                    <a:pt x="4807" y="7880"/>
                  </a:cubicBezTo>
                  <a:lnTo>
                    <a:pt x="4701" y="7895"/>
                  </a:lnTo>
                  <a:close/>
                  <a:moveTo>
                    <a:pt x="4808" y="7893"/>
                  </a:moveTo>
                  <a:cubicBezTo>
                    <a:pt x="4814" y="7929"/>
                    <a:pt x="4818" y="7957"/>
                    <a:pt x="4820" y="7971"/>
                  </a:cubicBezTo>
                  <a:cubicBezTo>
                    <a:pt x="4786" y="7978"/>
                    <a:pt x="4752" y="7984"/>
                    <a:pt x="4717" y="7990"/>
                  </a:cubicBezTo>
                  <a:cubicBezTo>
                    <a:pt x="4703" y="7908"/>
                    <a:pt x="4703" y="7908"/>
                    <a:pt x="4703" y="7908"/>
                  </a:cubicBezTo>
                  <a:lnTo>
                    <a:pt x="4808" y="7893"/>
                  </a:lnTo>
                  <a:close/>
                  <a:moveTo>
                    <a:pt x="5119" y="8068"/>
                  </a:moveTo>
                  <a:cubicBezTo>
                    <a:pt x="5216" y="8075"/>
                    <a:pt x="5956" y="8128"/>
                    <a:pt x="6345" y="8155"/>
                  </a:cubicBezTo>
                  <a:cubicBezTo>
                    <a:pt x="6333" y="8179"/>
                    <a:pt x="6322" y="8188"/>
                    <a:pt x="6315" y="8191"/>
                  </a:cubicBezTo>
                  <a:cubicBezTo>
                    <a:pt x="6314" y="8191"/>
                    <a:pt x="6314" y="8191"/>
                    <a:pt x="6314" y="8191"/>
                  </a:cubicBezTo>
                  <a:cubicBezTo>
                    <a:pt x="6314" y="8191"/>
                    <a:pt x="6314" y="8191"/>
                    <a:pt x="6314" y="8191"/>
                  </a:cubicBezTo>
                  <a:cubicBezTo>
                    <a:pt x="6313" y="8192"/>
                    <a:pt x="6313" y="8192"/>
                    <a:pt x="6312" y="8192"/>
                  </a:cubicBezTo>
                  <a:cubicBezTo>
                    <a:pt x="6310" y="8193"/>
                    <a:pt x="6306" y="8193"/>
                    <a:pt x="6303" y="8194"/>
                  </a:cubicBezTo>
                  <a:cubicBezTo>
                    <a:pt x="6295" y="8196"/>
                    <a:pt x="6284" y="8198"/>
                    <a:pt x="6271" y="8199"/>
                  </a:cubicBezTo>
                  <a:cubicBezTo>
                    <a:pt x="6245" y="8201"/>
                    <a:pt x="6211" y="8202"/>
                    <a:pt x="6171" y="8202"/>
                  </a:cubicBezTo>
                  <a:cubicBezTo>
                    <a:pt x="6170" y="8202"/>
                    <a:pt x="6170" y="8202"/>
                    <a:pt x="6170" y="8202"/>
                  </a:cubicBezTo>
                  <a:cubicBezTo>
                    <a:pt x="5902" y="8202"/>
                    <a:pt x="5404" y="8147"/>
                    <a:pt x="5156" y="8136"/>
                  </a:cubicBezTo>
                  <a:cubicBezTo>
                    <a:pt x="5076" y="8132"/>
                    <a:pt x="4976" y="8128"/>
                    <a:pt x="4865" y="8128"/>
                  </a:cubicBezTo>
                  <a:cubicBezTo>
                    <a:pt x="4846" y="8128"/>
                    <a:pt x="4826" y="8129"/>
                    <a:pt x="4806" y="8129"/>
                  </a:cubicBezTo>
                  <a:cubicBezTo>
                    <a:pt x="4951" y="8103"/>
                    <a:pt x="5081" y="8076"/>
                    <a:pt x="5119" y="8068"/>
                  </a:cubicBezTo>
                  <a:close/>
                  <a:moveTo>
                    <a:pt x="6309" y="8000"/>
                  </a:moveTo>
                  <a:cubicBezTo>
                    <a:pt x="6310" y="7998"/>
                    <a:pt x="6311" y="7996"/>
                    <a:pt x="6312" y="7993"/>
                  </a:cubicBezTo>
                  <a:cubicBezTo>
                    <a:pt x="6314" y="7987"/>
                    <a:pt x="6315" y="7979"/>
                    <a:pt x="6317" y="7970"/>
                  </a:cubicBezTo>
                  <a:cubicBezTo>
                    <a:pt x="6320" y="7952"/>
                    <a:pt x="6323" y="7928"/>
                    <a:pt x="6326" y="7904"/>
                  </a:cubicBezTo>
                  <a:cubicBezTo>
                    <a:pt x="6330" y="7870"/>
                    <a:pt x="6333" y="7836"/>
                    <a:pt x="6334" y="7820"/>
                  </a:cubicBezTo>
                  <a:cubicBezTo>
                    <a:pt x="6433" y="7874"/>
                    <a:pt x="6433" y="7874"/>
                    <a:pt x="6433" y="7874"/>
                  </a:cubicBezTo>
                  <a:cubicBezTo>
                    <a:pt x="6424" y="7902"/>
                    <a:pt x="6415" y="7930"/>
                    <a:pt x="6408" y="7958"/>
                  </a:cubicBezTo>
                  <a:cubicBezTo>
                    <a:pt x="6403" y="7974"/>
                    <a:pt x="6399" y="7990"/>
                    <a:pt x="6395" y="8006"/>
                  </a:cubicBezTo>
                  <a:cubicBezTo>
                    <a:pt x="6368" y="8004"/>
                    <a:pt x="6339" y="8002"/>
                    <a:pt x="6309" y="8000"/>
                  </a:cubicBezTo>
                  <a:close/>
                  <a:moveTo>
                    <a:pt x="6424" y="7962"/>
                  </a:moveTo>
                  <a:cubicBezTo>
                    <a:pt x="6431" y="7936"/>
                    <a:pt x="6439" y="7909"/>
                    <a:pt x="6448" y="7882"/>
                  </a:cubicBezTo>
                  <a:cubicBezTo>
                    <a:pt x="6448" y="7882"/>
                    <a:pt x="6448" y="7882"/>
                    <a:pt x="6448" y="7882"/>
                  </a:cubicBezTo>
                  <a:cubicBezTo>
                    <a:pt x="6455" y="7870"/>
                    <a:pt x="6455" y="7870"/>
                    <a:pt x="6455" y="7870"/>
                  </a:cubicBezTo>
                  <a:cubicBezTo>
                    <a:pt x="6452" y="7868"/>
                    <a:pt x="6452" y="7868"/>
                    <a:pt x="6452" y="7868"/>
                  </a:cubicBezTo>
                  <a:cubicBezTo>
                    <a:pt x="6467" y="7828"/>
                    <a:pt x="6484" y="7789"/>
                    <a:pt x="6508" y="7751"/>
                  </a:cubicBezTo>
                  <a:cubicBezTo>
                    <a:pt x="6509" y="7752"/>
                    <a:pt x="6509" y="7752"/>
                    <a:pt x="6509" y="7752"/>
                  </a:cubicBezTo>
                  <a:cubicBezTo>
                    <a:pt x="6517" y="7741"/>
                    <a:pt x="6517" y="7741"/>
                    <a:pt x="6517" y="7741"/>
                  </a:cubicBezTo>
                  <a:cubicBezTo>
                    <a:pt x="6516" y="7740"/>
                    <a:pt x="6516" y="7740"/>
                    <a:pt x="6516" y="7740"/>
                  </a:cubicBezTo>
                  <a:cubicBezTo>
                    <a:pt x="6518" y="7736"/>
                    <a:pt x="6521" y="7733"/>
                    <a:pt x="6523" y="7729"/>
                  </a:cubicBezTo>
                  <a:cubicBezTo>
                    <a:pt x="6553" y="7689"/>
                    <a:pt x="6578" y="7655"/>
                    <a:pt x="6610" y="7624"/>
                  </a:cubicBezTo>
                  <a:cubicBezTo>
                    <a:pt x="6659" y="7578"/>
                    <a:pt x="6721" y="7546"/>
                    <a:pt x="6817" y="7518"/>
                  </a:cubicBezTo>
                  <a:cubicBezTo>
                    <a:pt x="6914" y="7490"/>
                    <a:pt x="7050" y="7463"/>
                    <a:pt x="7262" y="7422"/>
                  </a:cubicBezTo>
                  <a:cubicBezTo>
                    <a:pt x="7813" y="7316"/>
                    <a:pt x="8103" y="7050"/>
                    <a:pt x="8220" y="6848"/>
                  </a:cubicBezTo>
                  <a:cubicBezTo>
                    <a:pt x="8248" y="6803"/>
                    <a:pt x="8268" y="6691"/>
                    <a:pt x="8269" y="6547"/>
                  </a:cubicBezTo>
                  <a:cubicBezTo>
                    <a:pt x="8269" y="6543"/>
                    <a:pt x="8269" y="6540"/>
                    <a:pt x="8269" y="6537"/>
                  </a:cubicBezTo>
                  <a:cubicBezTo>
                    <a:pt x="8269" y="6534"/>
                    <a:pt x="8269" y="6534"/>
                    <a:pt x="8269" y="6534"/>
                  </a:cubicBezTo>
                  <a:cubicBezTo>
                    <a:pt x="8269" y="6516"/>
                    <a:pt x="8268" y="6497"/>
                    <a:pt x="8268" y="6478"/>
                  </a:cubicBezTo>
                  <a:cubicBezTo>
                    <a:pt x="8312" y="6484"/>
                    <a:pt x="8354" y="6488"/>
                    <a:pt x="8391" y="6493"/>
                  </a:cubicBezTo>
                  <a:cubicBezTo>
                    <a:pt x="8391" y="6507"/>
                    <a:pt x="8392" y="6522"/>
                    <a:pt x="8392" y="6536"/>
                  </a:cubicBezTo>
                  <a:cubicBezTo>
                    <a:pt x="8391" y="6697"/>
                    <a:pt x="8375" y="6823"/>
                    <a:pt x="8326" y="6909"/>
                  </a:cubicBezTo>
                  <a:cubicBezTo>
                    <a:pt x="8189" y="7147"/>
                    <a:pt x="7866" y="7431"/>
                    <a:pt x="7285" y="7543"/>
                  </a:cubicBezTo>
                  <a:cubicBezTo>
                    <a:pt x="7003" y="7597"/>
                    <a:pt x="6858" y="7628"/>
                    <a:pt x="6779" y="7661"/>
                  </a:cubicBezTo>
                  <a:cubicBezTo>
                    <a:pt x="6739" y="7678"/>
                    <a:pt x="6716" y="7694"/>
                    <a:pt x="6695" y="7714"/>
                  </a:cubicBezTo>
                  <a:cubicBezTo>
                    <a:pt x="6673" y="7734"/>
                    <a:pt x="6652" y="7762"/>
                    <a:pt x="6622" y="7802"/>
                  </a:cubicBezTo>
                  <a:cubicBezTo>
                    <a:pt x="6582" y="7855"/>
                    <a:pt x="6558" y="7934"/>
                    <a:pt x="6536" y="8016"/>
                  </a:cubicBezTo>
                  <a:cubicBezTo>
                    <a:pt x="6506" y="8014"/>
                    <a:pt x="6463" y="8011"/>
                    <a:pt x="6411" y="8007"/>
                  </a:cubicBezTo>
                  <a:cubicBezTo>
                    <a:pt x="6415" y="7992"/>
                    <a:pt x="6419" y="7977"/>
                    <a:pt x="6424" y="7962"/>
                  </a:cubicBezTo>
                  <a:close/>
                  <a:moveTo>
                    <a:pt x="6582" y="8172"/>
                  </a:moveTo>
                  <a:cubicBezTo>
                    <a:pt x="6590" y="8172"/>
                    <a:pt x="6599" y="8172"/>
                    <a:pt x="6607" y="8173"/>
                  </a:cubicBezTo>
                  <a:cubicBezTo>
                    <a:pt x="6481" y="8529"/>
                    <a:pt x="6481" y="8529"/>
                    <a:pt x="6481" y="8529"/>
                  </a:cubicBezTo>
                  <a:cubicBezTo>
                    <a:pt x="6411" y="8528"/>
                    <a:pt x="6411" y="8528"/>
                    <a:pt x="6411" y="8528"/>
                  </a:cubicBezTo>
                  <a:cubicBezTo>
                    <a:pt x="6446" y="8430"/>
                    <a:pt x="6446" y="8430"/>
                    <a:pt x="6446" y="8430"/>
                  </a:cubicBezTo>
                  <a:cubicBezTo>
                    <a:pt x="6304" y="8375"/>
                    <a:pt x="6304" y="8375"/>
                    <a:pt x="6304" y="8375"/>
                  </a:cubicBezTo>
                  <a:cubicBezTo>
                    <a:pt x="6250" y="8526"/>
                    <a:pt x="6250" y="8526"/>
                    <a:pt x="6250" y="8526"/>
                  </a:cubicBezTo>
                  <a:cubicBezTo>
                    <a:pt x="5900" y="8521"/>
                    <a:pt x="5900" y="8521"/>
                    <a:pt x="5900" y="8521"/>
                  </a:cubicBezTo>
                  <a:cubicBezTo>
                    <a:pt x="5907" y="8495"/>
                    <a:pt x="5913" y="8470"/>
                    <a:pt x="5919" y="8447"/>
                  </a:cubicBezTo>
                  <a:cubicBezTo>
                    <a:pt x="5930" y="8402"/>
                    <a:pt x="5939" y="8367"/>
                    <a:pt x="5944" y="8350"/>
                  </a:cubicBezTo>
                  <a:cubicBezTo>
                    <a:pt x="6027" y="8355"/>
                    <a:pt x="6105" y="8358"/>
                    <a:pt x="6171" y="8358"/>
                  </a:cubicBezTo>
                  <a:cubicBezTo>
                    <a:pt x="6214" y="8358"/>
                    <a:pt x="6253" y="8357"/>
                    <a:pt x="6286" y="8354"/>
                  </a:cubicBezTo>
                  <a:cubicBezTo>
                    <a:pt x="6320" y="8350"/>
                    <a:pt x="6348" y="8346"/>
                    <a:pt x="6378" y="8334"/>
                  </a:cubicBezTo>
                  <a:cubicBezTo>
                    <a:pt x="6433" y="8309"/>
                    <a:pt x="6466" y="8263"/>
                    <a:pt x="6488" y="8218"/>
                  </a:cubicBezTo>
                  <a:cubicBezTo>
                    <a:pt x="6497" y="8201"/>
                    <a:pt x="6503" y="8184"/>
                    <a:pt x="6509" y="8167"/>
                  </a:cubicBezTo>
                  <a:cubicBezTo>
                    <a:pt x="6550" y="8170"/>
                    <a:pt x="6576" y="8172"/>
                    <a:pt x="6582" y="8172"/>
                  </a:cubicBezTo>
                  <a:close/>
                  <a:moveTo>
                    <a:pt x="7884" y="8280"/>
                  </a:moveTo>
                  <a:cubicBezTo>
                    <a:pt x="7814" y="8417"/>
                    <a:pt x="7814" y="8417"/>
                    <a:pt x="7814" y="8417"/>
                  </a:cubicBezTo>
                  <a:cubicBezTo>
                    <a:pt x="7700" y="8364"/>
                    <a:pt x="7700" y="8364"/>
                    <a:pt x="7700" y="8364"/>
                  </a:cubicBezTo>
                  <a:cubicBezTo>
                    <a:pt x="7771" y="8224"/>
                    <a:pt x="7771" y="8224"/>
                    <a:pt x="7771" y="8224"/>
                  </a:cubicBezTo>
                  <a:lnTo>
                    <a:pt x="7884" y="8280"/>
                  </a:lnTo>
                  <a:close/>
                  <a:moveTo>
                    <a:pt x="7777" y="8212"/>
                  </a:moveTo>
                  <a:cubicBezTo>
                    <a:pt x="7841" y="8086"/>
                    <a:pt x="7841" y="8086"/>
                    <a:pt x="7841" y="8086"/>
                  </a:cubicBezTo>
                  <a:cubicBezTo>
                    <a:pt x="7953" y="8145"/>
                    <a:pt x="7953" y="8145"/>
                    <a:pt x="7953" y="8145"/>
                  </a:cubicBezTo>
                  <a:cubicBezTo>
                    <a:pt x="7890" y="8267"/>
                    <a:pt x="7890" y="8267"/>
                    <a:pt x="7890" y="8267"/>
                  </a:cubicBezTo>
                  <a:lnTo>
                    <a:pt x="7777" y="8212"/>
                  </a:lnTo>
                  <a:close/>
                  <a:moveTo>
                    <a:pt x="7060" y="10381"/>
                  </a:moveTo>
                  <a:cubicBezTo>
                    <a:pt x="6960" y="10918"/>
                    <a:pt x="6960" y="10918"/>
                    <a:pt x="6960" y="10918"/>
                  </a:cubicBezTo>
                  <a:cubicBezTo>
                    <a:pt x="6868" y="10893"/>
                    <a:pt x="6799" y="10880"/>
                    <a:pt x="6763" y="10873"/>
                  </a:cubicBezTo>
                  <a:cubicBezTo>
                    <a:pt x="6827" y="10275"/>
                    <a:pt x="6827" y="10275"/>
                    <a:pt x="6827" y="10275"/>
                  </a:cubicBezTo>
                  <a:cubicBezTo>
                    <a:pt x="6870" y="10294"/>
                    <a:pt x="6960" y="10335"/>
                    <a:pt x="7065" y="10382"/>
                  </a:cubicBezTo>
                  <a:lnTo>
                    <a:pt x="7060" y="10381"/>
                  </a:lnTo>
                  <a:close/>
                  <a:moveTo>
                    <a:pt x="7074" y="10386"/>
                  </a:moveTo>
                  <a:cubicBezTo>
                    <a:pt x="7158" y="10423"/>
                    <a:pt x="7250" y="10465"/>
                    <a:pt x="7336" y="10503"/>
                  </a:cubicBezTo>
                  <a:cubicBezTo>
                    <a:pt x="7255" y="11015"/>
                    <a:pt x="7255" y="11015"/>
                    <a:pt x="7255" y="11015"/>
                  </a:cubicBezTo>
                  <a:cubicBezTo>
                    <a:pt x="7148" y="10974"/>
                    <a:pt x="7053" y="10944"/>
                    <a:pt x="6974" y="10922"/>
                  </a:cubicBezTo>
                  <a:lnTo>
                    <a:pt x="7074" y="10386"/>
                  </a:lnTo>
                  <a:close/>
                  <a:moveTo>
                    <a:pt x="7308" y="13742"/>
                  </a:moveTo>
                  <a:cubicBezTo>
                    <a:pt x="7234" y="13746"/>
                    <a:pt x="7049" y="13755"/>
                    <a:pt x="6912" y="13775"/>
                  </a:cubicBezTo>
                  <a:cubicBezTo>
                    <a:pt x="6850" y="13390"/>
                    <a:pt x="6850" y="13390"/>
                    <a:pt x="6850" y="13390"/>
                  </a:cubicBezTo>
                  <a:cubicBezTo>
                    <a:pt x="6858" y="13379"/>
                    <a:pt x="6894" y="13332"/>
                    <a:pt x="6914" y="13304"/>
                  </a:cubicBezTo>
                  <a:cubicBezTo>
                    <a:pt x="6918" y="13297"/>
                    <a:pt x="6922" y="13293"/>
                    <a:pt x="6924" y="13289"/>
                  </a:cubicBezTo>
                  <a:cubicBezTo>
                    <a:pt x="6927" y="13290"/>
                    <a:pt x="6930" y="13291"/>
                    <a:pt x="6934" y="13292"/>
                  </a:cubicBezTo>
                  <a:cubicBezTo>
                    <a:pt x="6945" y="13295"/>
                    <a:pt x="6960" y="13299"/>
                    <a:pt x="6978" y="13303"/>
                  </a:cubicBezTo>
                  <a:cubicBezTo>
                    <a:pt x="7014" y="13312"/>
                    <a:pt x="7062" y="13324"/>
                    <a:pt x="7110" y="13336"/>
                  </a:cubicBezTo>
                  <a:cubicBezTo>
                    <a:pt x="7179" y="13352"/>
                    <a:pt x="7246" y="13369"/>
                    <a:pt x="7280" y="13377"/>
                  </a:cubicBezTo>
                  <a:cubicBezTo>
                    <a:pt x="7276" y="13430"/>
                    <a:pt x="7276" y="13430"/>
                    <a:pt x="7276" y="13430"/>
                  </a:cubicBezTo>
                  <a:cubicBezTo>
                    <a:pt x="7276" y="13431"/>
                    <a:pt x="7276" y="13431"/>
                    <a:pt x="7276" y="13431"/>
                  </a:cubicBezTo>
                  <a:cubicBezTo>
                    <a:pt x="7276" y="13432"/>
                    <a:pt x="7276" y="13568"/>
                    <a:pt x="7308" y="13742"/>
                  </a:cubicBezTo>
                  <a:close/>
                  <a:moveTo>
                    <a:pt x="3410" y="14099"/>
                  </a:moveTo>
                  <a:cubicBezTo>
                    <a:pt x="3402" y="14158"/>
                    <a:pt x="3402" y="14158"/>
                    <a:pt x="3402" y="14158"/>
                  </a:cubicBezTo>
                  <a:cubicBezTo>
                    <a:pt x="3314" y="14146"/>
                    <a:pt x="3314" y="14146"/>
                    <a:pt x="3314" y="14146"/>
                  </a:cubicBezTo>
                  <a:cubicBezTo>
                    <a:pt x="3320" y="14107"/>
                    <a:pt x="3325" y="14072"/>
                    <a:pt x="3329" y="14044"/>
                  </a:cubicBezTo>
                  <a:cubicBezTo>
                    <a:pt x="3369" y="14050"/>
                    <a:pt x="3369" y="14050"/>
                    <a:pt x="3369" y="14050"/>
                  </a:cubicBezTo>
                  <a:cubicBezTo>
                    <a:pt x="3363" y="14092"/>
                    <a:pt x="3363" y="14092"/>
                    <a:pt x="3363" y="14092"/>
                  </a:cubicBezTo>
                  <a:lnTo>
                    <a:pt x="3410" y="14099"/>
                  </a:lnTo>
                  <a:close/>
                  <a:moveTo>
                    <a:pt x="3300" y="14144"/>
                  </a:moveTo>
                  <a:cubicBezTo>
                    <a:pt x="3219" y="14133"/>
                    <a:pt x="3219" y="14133"/>
                    <a:pt x="3219" y="14133"/>
                  </a:cubicBezTo>
                  <a:cubicBezTo>
                    <a:pt x="3227" y="14074"/>
                    <a:pt x="3227" y="14074"/>
                    <a:pt x="3227" y="14074"/>
                  </a:cubicBezTo>
                  <a:cubicBezTo>
                    <a:pt x="3274" y="14080"/>
                    <a:pt x="3274" y="14080"/>
                    <a:pt x="3274" y="14080"/>
                  </a:cubicBezTo>
                  <a:cubicBezTo>
                    <a:pt x="3279" y="14037"/>
                    <a:pt x="3279" y="14037"/>
                    <a:pt x="3279" y="14037"/>
                  </a:cubicBezTo>
                  <a:cubicBezTo>
                    <a:pt x="3315" y="14042"/>
                    <a:pt x="3315" y="14042"/>
                    <a:pt x="3315" y="14042"/>
                  </a:cubicBezTo>
                  <a:cubicBezTo>
                    <a:pt x="3311" y="14070"/>
                    <a:pt x="3306" y="14105"/>
                    <a:pt x="3300" y="14144"/>
                  </a:cubicBezTo>
                  <a:close/>
                  <a:moveTo>
                    <a:pt x="3168" y="14009"/>
                  </a:moveTo>
                  <a:cubicBezTo>
                    <a:pt x="3160" y="14069"/>
                    <a:pt x="3160" y="14069"/>
                    <a:pt x="3160" y="14069"/>
                  </a:cubicBezTo>
                  <a:cubicBezTo>
                    <a:pt x="3085" y="14058"/>
                    <a:pt x="3085" y="14058"/>
                    <a:pt x="3085" y="14058"/>
                  </a:cubicBezTo>
                  <a:cubicBezTo>
                    <a:pt x="3099" y="13956"/>
                    <a:pt x="3099" y="13956"/>
                    <a:pt x="3099" y="13956"/>
                  </a:cubicBezTo>
                  <a:cubicBezTo>
                    <a:pt x="3127" y="13960"/>
                    <a:pt x="3127" y="13960"/>
                    <a:pt x="3127" y="13960"/>
                  </a:cubicBezTo>
                  <a:cubicBezTo>
                    <a:pt x="3122" y="14003"/>
                    <a:pt x="3122" y="14003"/>
                    <a:pt x="3122" y="14003"/>
                  </a:cubicBezTo>
                  <a:lnTo>
                    <a:pt x="3168" y="14009"/>
                  </a:lnTo>
                  <a:close/>
                  <a:moveTo>
                    <a:pt x="1924" y="13824"/>
                  </a:moveTo>
                  <a:cubicBezTo>
                    <a:pt x="2141" y="13958"/>
                    <a:pt x="2141" y="13958"/>
                    <a:pt x="2141" y="13958"/>
                  </a:cubicBezTo>
                  <a:cubicBezTo>
                    <a:pt x="2042" y="14054"/>
                    <a:pt x="2042" y="14054"/>
                    <a:pt x="2042" y="14054"/>
                  </a:cubicBezTo>
                  <a:cubicBezTo>
                    <a:pt x="1824" y="13920"/>
                    <a:pt x="1824" y="13920"/>
                    <a:pt x="1824" y="13920"/>
                  </a:cubicBezTo>
                  <a:cubicBezTo>
                    <a:pt x="1853" y="13892"/>
                    <a:pt x="1887" y="13859"/>
                    <a:pt x="1924" y="13824"/>
                  </a:cubicBezTo>
                  <a:close/>
                  <a:moveTo>
                    <a:pt x="1811" y="13913"/>
                  </a:moveTo>
                  <a:cubicBezTo>
                    <a:pt x="1723" y="13858"/>
                    <a:pt x="1723" y="13858"/>
                    <a:pt x="1723" y="13858"/>
                  </a:cubicBezTo>
                  <a:cubicBezTo>
                    <a:pt x="1791" y="13742"/>
                    <a:pt x="1791" y="13742"/>
                    <a:pt x="1791" y="13742"/>
                  </a:cubicBezTo>
                  <a:cubicBezTo>
                    <a:pt x="1911" y="13816"/>
                    <a:pt x="1911" y="13816"/>
                    <a:pt x="1911" y="13816"/>
                  </a:cubicBezTo>
                  <a:cubicBezTo>
                    <a:pt x="1875" y="13851"/>
                    <a:pt x="1840" y="13884"/>
                    <a:pt x="1811" y="13913"/>
                  </a:cubicBezTo>
                  <a:close/>
                  <a:moveTo>
                    <a:pt x="2057" y="13438"/>
                  </a:moveTo>
                  <a:cubicBezTo>
                    <a:pt x="1958" y="12996"/>
                    <a:pt x="1958" y="12996"/>
                    <a:pt x="1958" y="12996"/>
                  </a:cubicBezTo>
                  <a:cubicBezTo>
                    <a:pt x="2083" y="12716"/>
                    <a:pt x="2083" y="12716"/>
                    <a:pt x="2083" y="12716"/>
                  </a:cubicBezTo>
                  <a:cubicBezTo>
                    <a:pt x="2245" y="12773"/>
                    <a:pt x="2245" y="12773"/>
                    <a:pt x="2245" y="12773"/>
                  </a:cubicBezTo>
                  <a:cubicBezTo>
                    <a:pt x="2350" y="12924"/>
                    <a:pt x="2350" y="12924"/>
                    <a:pt x="2350" y="12924"/>
                  </a:cubicBezTo>
                  <a:cubicBezTo>
                    <a:pt x="2352" y="12925"/>
                    <a:pt x="2352" y="12925"/>
                    <a:pt x="2352" y="12925"/>
                  </a:cubicBezTo>
                  <a:cubicBezTo>
                    <a:pt x="2353" y="12925"/>
                    <a:pt x="2479" y="12959"/>
                    <a:pt x="2607" y="12996"/>
                  </a:cubicBezTo>
                  <a:cubicBezTo>
                    <a:pt x="2387" y="13570"/>
                    <a:pt x="2387" y="13570"/>
                    <a:pt x="2387" y="13570"/>
                  </a:cubicBezTo>
                  <a:cubicBezTo>
                    <a:pt x="2055" y="13450"/>
                    <a:pt x="2055" y="13450"/>
                    <a:pt x="2055" y="13450"/>
                  </a:cubicBezTo>
                  <a:cubicBezTo>
                    <a:pt x="2059" y="13451"/>
                    <a:pt x="2059" y="13451"/>
                    <a:pt x="2059" y="13451"/>
                  </a:cubicBezTo>
                  <a:lnTo>
                    <a:pt x="2057" y="13438"/>
                  </a:lnTo>
                  <a:close/>
                  <a:moveTo>
                    <a:pt x="2572" y="11077"/>
                  </a:moveTo>
                  <a:cubicBezTo>
                    <a:pt x="2586" y="11077"/>
                    <a:pt x="2599" y="11077"/>
                    <a:pt x="2612" y="11077"/>
                  </a:cubicBezTo>
                  <a:cubicBezTo>
                    <a:pt x="2581" y="11119"/>
                    <a:pt x="2554" y="11158"/>
                    <a:pt x="2529" y="11198"/>
                  </a:cubicBezTo>
                  <a:cubicBezTo>
                    <a:pt x="2498" y="11247"/>
                    <a:pt x="2467" y="11297"/>
                    <a:pt x="2432" y="11364"/>
                  </a:cubicBezTo>
                  <a:cubicBezTo>
                    <a:pt x="2431" y="11367"/>
                    <a:pt x="2429" y="11369"/>
                    <a:pt x="2428" y="11372"/>
                  </a:cubicBezTo>
                  <a:cubicBezTo>
                    <a:pt x="2337" y="11329"/>
                    <a:pt x="2337" y="11329"/>
                    <a:pt x="2337" y="11329"/>
                  </a:cubicBezTo>
                  <a:cubicBezTo>
                    <a:pt x="2354" y="11254"/>
                    <a:pt x="2354" y="11254"/>
                    <a:pt x="2354" y="11254"/>
                  </a:cubicBezTo>
                  <a:cubicBezTo>
                    <a:pt x="2473" y="11065"/>
                    <a:pt x="2473" y="11065"/>
                    <a:pt x="2473" y="11065"/>
                  </a:cubicBezTo>
                  <a:cubicBezTo>
                    <a:pt x="2473" y="11077"/>
                    <a:pt x="2473" y="11077"/>
                    <a:pt x="2473" y="11077"/>
                  </a:cubicBezTo>
                  <a:cubicBezTo>
                    <a:pt x="2477" y="11077"/>
                    <a:pt x="2524" y="11077"/>
                    <a:pt x="2572" y="11077"/>
                  </a:cubicBezTo>
                  <a:close/>
                  <a:moveTo>
                    <a:pt x="4529" y="9768"/>
                  </a:moveTo>
                  <a:cubicBezTo>
                    <a:pt x="4526" y="9757"/>
                    <a:pt x="4526" y="9757"/>
                    <a:pt x="4526" y="9757"/>
                  </a:cubicBezTo>
                  <a:cubicBezTo>
                    <a:pt x="4593" y="9735"/>
                    <a:pt x="4593" y="9735"/>
                    <a:pt x="4593" y="9735"/>
                  </a:cubicBezTo>
                  <a:cubicBezTo>
                    <a:pt x="4629" y="9844"/>
                    <a:pt x="4629" y="9844"/>
                    <a:pt x="4629" y="9844"/>
                  </a:cubicBezTo>
                  <a:cubicBezTo>
                    <a:pt x="4559" y="9867"/>
                    <a:pt x="4559" y="9867"/>
                    <a:pt x="4559" y="9867"/>
                  </a:cubicBezTo>
                  <a:cubicBezTo>
                    <a:pt x="4583" y="9939"/>
                    <a:pt x="4583" y="9939"/>
                    <a:pt x="4583" y="9939"/>
                  </a:cubicBezTo>
                  <a:cubicBezTo>
                    <a:pt x="4536" y="9954"/>
                    <a:pt x="4536" y="9954"/>
                    <a:pt x="4536" y="9954"/>
                  </a:cubicBezTo>
                  <a:cubicBezTo>
                    <a:pt x="4484" y="9790"/>
                    <a:pt x="4484" y="9790"/>
                    <a:pt x="4484" y="9790"/>
                  </a:cubicBezTo>
                  <a:cubicBezTo>
                    <a:pt x="4531" y="9774"/>
                    <a:pt x="4531" y="9774"/>
                    <a:pt x="4531" y="9774"/>
                  </a:cubicBezTo>
                  <a:lnTo>
                    <a:pt x="4529" y="9768"/>
                  </a:lnTo>
                  <a:close/>
                  <a:moveTo>
                    <a:pt x="4599" y="9947"/>
                  </a:moveTo>
                  <a:cubicBezTo>
                    <a:pt x="4576" y="9875"/>
                    <a:pt x="4576" y="9875"/>
                    <a:pt x="4576" y="9875"/>
                  </a:cubicBezTo>
                  <a:cubicBezTo>
                    <a:pt x="4645" y="9852"/>
                    <a:pt x="4645" y="9852"/>
                    <a:pt x="4645" y="9852"/>
                  </a:cubicBezTo>
                  <a:cubicBezTo>
                    <a:pt x="4601" y="9718"/>
                    <a:pt x="4601" y="9718"/>
                    <a:pt x="4601" y="9718"/>
                  </a:cubicBezTo>
                  <a:cubicBezTo>
                    <a:pt x="4509" y="9749"/>
                    <a:pt x="4509" y="9749"/>
                    <a:pt x="4509" y="9749"/>
                  </a:cubicBezTo>
                  <a:cubicBezTo>
                    <a:pt x="4511" y="9755"/>
                    <a:pt x="4511" y="9755"/>
                    <a:pt x="4511" y="9755"/>
                  </a:cubicBezTo>
                  <a:cubicBezTo>
                    <a:pt x="4515" y="9766"/>
                    <a:pt x="4515" y="9766"/>
                    <a:pt x="4515" y="9766"/>
                  </a:cubicBezTo>
                  <a:cubicBezTo>
                    <a:pt x="4468" y="9782"/>
                    <a:pt x="4468" y="9782"/>
                    <a:pt x="4468" y="9782"/>
                  </a:cubicBezTo>
                  <a:cubicBezTo>
                    <a:pt x="4525" y="9965"/>
                    <a:pt x="4525" y="9965"/>
                    <a:pt x="4525" y="9965"/>
                  </a:cubicBezTo>
                  <a:cubicBezTo>
                    <a:pt x="4406" y="9703"/>
                    <a:pt x="4406" y="9703"/>
                    <a:pt x="4406" y="9703"/>
                  </a:cubicBezTo>
                  <a:cubicBezTo>
                    <a:pt x="4461" y="9702"/>
                    <a:pt x="4546" y="9700"/>
                    <a:pt x="4642" y="9698"/>
                  </a:cubicBezTo>
                  <a:cubicBezTo>
                    <a:pt x="4728" y="10163"/>
                    <a:pt x="4728" y="10163"/>
                    <a:pt x="4728" y="10163"/>
                  </a:cubicBezTo>
                  <a:cubicBezTo>
                    <a:pt x="4695" y="10171"/>
                    <a:pt x="4662" y="10179"/>
                    <a:pt x="4628" y="10188"/>
                  </a:cubicBezTo>
                  <a:cubicBezTo>
                    <a:pt x="4528" y="9971"/>
                    <a:pt x="4528" y="9971"/>
                    <a:pt x="4528" y="9971"/>
                  </a:cubicBezTo>
                  <a:lnTo>
                    <a:pt x="4599" y="9947"/>
                  </a:lnTo>
                  <a:close/>
                  <a:moveTo>
                    <a:pt x="4954" y="9221"/>
                  </a:moveTo>
                  <a:cubicBezTo>
                    <a:pt x="5110" y="9674"/>
                    <a:pt x="5110" y="9674"/>
                    <a:pt x="5110" y="9674"/>
                  </a:cubicBezTo>
                  <a:cubicBezTo>
                    <a:pt x="4969" y="9677"/>
                    <a:pt x="4799" y="9681"/>
                    <a:pt x="4654" y="9684"/>
                  </a:cubicBezTo>
                  <a:cubicBezTo>
                    <a:pt x="4631" y="9256"/>
                    <a:pt x="4631" y="9256"/>
                    <a:pt x="4631" y="9256"/>
                  </a:cubicBezTo>
                  <a:cubicBezTo>
                    <a:pt x="4751" y="9246"/>
                    <a:pt x="4869" y="9234"/>
                    <a:pt x="4954" y="9221"/>
                  </a:cubicBezTo>
                  <a:close/>
                  <a:moveTo>
                    <a:pt x="4783" y="9197"/>
                  </a:moveTo>
                  <a:cubicBezTo>
                    <a:pt x="4683" y="8657"/>
                    <a:pt x="4683" y="8657"/>
                    <a:pt x="4683" y="8657"/>
                  </a:cubicBezTo>
                  <a:cubicBezTo>
                    <a:pt x="4766" y="8673"/>
                    <a:pt x="4881" y="8695"/>
                    <a:pt x="4959" y="8710"/>
                  </a:cubicBezTo>
                  <a:cubicBezTo>
                    <a:pt x="4949" y="9176"/>
                    <a:pt x="4949" y="9176"/>
                    <a:pt x="4949" y="9176"/>
                  </a:cubicBezTo>
                  <a:cubicBezTo>
                    <a:pt x="4903" y="9183"/>
                    <a:pt x="4845" y="9190"/>
                    <a:pt x="4783" y="9197"/>
                  </a:cubicBezTo>
                  <a:close/>
                  <a:moveTo>
                    <a:pt x="5351" y="9005"/>
                  </a:moveTo>
                  <a:cubicBezTo>
                    <a:pt x="5392" y="9012"/>
                    <a:pt x="5474" y="9026"/>
                    <a:pt x="5553" y="9039"/>
                  </a:cubicBezTo>
                  <a:cubicBezTo>
                    <a:pt x="5660" y="9058"/>
                    <a:pt x="5764" y="9076"/>
                    <a:pt x="5783" y="9078"/>
                  </a:cubicBezTo>
                  <a:cubicBezTo>
                    <a:pt x="5785" y="9082"/>
                    <a:pt x="5786" y="9086"/>
                    <a:pt x="5787" y="9090"/>
                  </a:cubicBezTo>
                  <a:cubicBezTo>
                    <a:pt x="5798" y="9122"/>
                    <a:pt x="5809" y="9153"/>
                    <a:pt x="5812" y="9161"/>
                  </a:cubicBezTo>
                  <a:cubicBezTo>
                    <a:pt x="5793" y="9225"/>
                    <a:pt x="5793" y="9225"/>
                    <a:pt x="5793" y="9225"/>
                  </a:cubicBezTo>
                  <a:cubicBezTo>
                    <a:pt x="5793" y="9224"/>
                    <a:pt x="5793" y="9224"/>
                    <a:pt x="5793" y="9224"/>
                  </a:cubicBezTo>
                  <a:cubicBezTo>
                    <a:pt x="5793" y="9224"/>
                    <a:pt x="5793" y="9224"/>
                    <a:pt x="5793" y="9224"/>
                  </a:cubicBezTo>
                  <a:cubicBezTo>
                    <a:pt x="5786" y="9224"/>
                    <a:pt x="5655" y="9199"/>
                    <a:pt x="5529" y="9175"/>
                  </a:cubicBezTo>
                  <a:cubicBezTo>
                    <a:pt x="5441" y="9159"/>
                    <a:pt x="5354" y="9142"/>
                    <a:pt x="5307" y="9133"/>
                  </a:cubicBezTo>
                  <a:cubicBezTo>
                    <a:pt x="5295" y="9112"/>
                    <a:pt x="5280" y="9092"/>
                    <a:pt x="5269" y="9079"/>
                  </a:cubicBezTo>
                  <a:cubicBezTo>
                    <a:pt x="5301" y="9053"/>
                    <a:pt x="5328" y="9028"/>
                    <a:pt x="5351" y="9005"/>
                  </a:cubicBezTo>
                  <a:close/>
                  <a:moveTo>
                    <a:pt x="5330" y="8960"/>
                  </a:moveTo>
                  <a:cubicBezTo>
                    <a:pt x="5330" y="8961"/>
                    <a:pt x="5330" y="8961"/>
                    <a:pt x="5330" y="8961"/>
                  </a:cubicBezTo>
                  <a:cubicBezTo>
                    <a:pt x="5330" y="8961"/>
                    <a:pt x="5330" y="8961"/>
                    <a:pt x="5330" y="8961"/>
                  </a:cubicBezTo>
                  <a:lnTo>
                    <a:pt x="5330" y="8960"/>
                  </a:lnTo>
                  <a:close/>
                  <a:moveTo>
                    <a:pt x="6437" y="10637"/>
                  </a:moveTo>
                  <a:cubicBezTo>
                    <a:pt x="6429" y="10643"/>
                    <a:pt x="6429" y="10643"/>
                    <a:pt x="6429" y="10643"/>
                  </a:cubicBezTo>
                  <a:cubicBezTo>
                    <a:pt x="6367" y="10572"/>
                    <a:pt x="6367" y="10572"/>
                    <a:pt x="6367" y="10572"/>
                  </a:cubicBezTo>
                  <a:cubicBezTo>
                    <a:pt x="6241" y="10682"/>
                    <a:pt x="6241" y="10682"/>
                    <a:pt x="6241" y="10682"/>
                  </a:cubicBezTo>
                  <a:cubicBezTo>
                    <a:pt x="6351" y="10808"/>
                    <a:pt x="6351" y="10808"/>
                    <a:pt x="6351" y="10808"/>
                  </a:cubicBezTo>
                  <a:cubicBezTo>
                    <a:pt x="6420" y="10747"/>
                    <a:pt x="6420" y="10747"/>
                    <a:pt x="6420" y="10747"/>
                  </a:cubicBezTo>
                  <a:cubicBezTo>
                    <a:pt x="6403" y="10864"/>
                    <a:pt x="6403" y="10864"/>
                    <a:pt x="6403" y="10864"/>
                  </a:cubicBezTo>
                  <a:cubicBezTo>
                    <a:pt x="6141" y="10861"/>
                    <a:pt x="6141" y="10861"/>
                    <a:pt x="6141" y="10861"/>
                  </a:cubicBezTo>
                  <a:cubicBezTo>
                    <a:pt x="6211" y="10499"/>
                    <a:pt x="6211" y="10499"/>
                    <a:pt x="6211" y="10499"/>
                  </a:cubicBezTo>
                  <a:cubicBezTo>
                    <a:pt x="6257" y="10503"/>
                    <a:pt x="6355" y="10511"/>
                    <a:pt x="6455" y="10519"/>
                  </a:cubicBezTo>
                  <a:lnTo>
                    <a:pt x="6437" y="10637"/>
                  </a:lnTo>
                  <a:close/>
                  <a:moveTo>
                    <a:pt x="6450" y="10643"/>
                  </a:moveTo>
                  <a:cubicBezTo>
                    <a:pt x="6507" y="10599"/>
                    <a:pt x="6507" y="10599"/>
                    <a:pt x="6507" y="10599"/>
                  </a:cubicBezTo>
                  <a:cubicBezTo>
                    <a:pt x="6606" y="10713"/>
                    <a:pt x="6606" y="10713"/>
                    <a:pt x="6606" y="10713"/>
                  </a:cubicBezTo>
                  <a:cubicBezTo>
                    <a:pt x="6495" y="10803"/>
                    <a:pt x="6495" y="10803"/>
                    <a:pt x="6495" y="10803"/>
                  </a:cubicBezTo>
                  <a:cubicBezTo>
                    <a:pt x="6436" y="10735"/>
                    <a:pt x="6436" y="10735"/>
                    <a:pt x="6436" y="10735"/>
                  </a:cubicBezTo>
                  <a:lnTo>
                    <a:pt x="6450" y="10643"/>
                  </a:lnTo>
                  <a:close/>
                  <a:moveTo>
                    <a:pt x="6434" y="10656"/>
                  </a:moveTo>
                  <a:cubicBezTo>
                    <a:pt x="6424" y="10727"/>
                    <a:pt x="6424" y="10727"/>
                    <a:pt x="6424" y="10727"/>
                  </a:cubicBezTo>
                  <a:cubicBezTo>
                    <a:pt x="6353" y="10790"/>
                    <a:pt x="6353" y="10790"/>
                    <a:pt x="6353" y="10790"/>
                  </a:cubicBezTo>
                  <a:cubicBezTo>
                    <a:pt x="6260" y="10684"/>
                    <a:pt x="6260" y="10684"/>
                    <a:pt x="6260" y="10684"/>
                  </a:cubicBezTo>
                  <a:cubicBezTo>
                    <a:pt x="6366" y="10591"/>
                    <a:pt x="6366" y="10591"/>
                    <a:pt x="6366" y="10591"/>
                  </a:cubicBezTo>
                  <a:cubicBezTo>
                    <a:pt x="6427" y="10661"/>
                    <a:pt x="6427" y="10661"/>
                    <a:pt x="6427" y="10661"/>
                  </a:cubicBezTo>
                  <a:lnTo>
                    <a:pt x="6434" y="10656"/>
                  </a:lnTo>
                  <a:close/>
                  <a:moveTo>
                    <a:pt x="6065" y="10907"/>
                  </a:moveTo>
                  <a:cubicBezTo>
                    <a:pt x="5967" y="11394"/>
                    <a:pt x="5967" y="11394"/>
                    <a:pt x="5967" y="11394"/>
                  </a:cubicBezTo>
                  <a:cubicBezTo>
                    <a:pt x="5917" y="11542"/>
                    <a:pt x="5917" y="11542"/>
                    <a:pt x="5917" y="11542"/>
                  </a:cubicBezTo>
                  <a:cubicBezTo>
                    <a:pt x="5907" y="11519"/>
                    <a:pt x="5907" y="11519"/>
                    <a:pt x="5907" y="11519"/>
                  </a:cubicBezTo>
                  <a:cubicBezTo>
                    <a:pt x="6018" y="10049"/>
                    <a:pt x="6018" y="10049"/>
                    <a:pt x="6018" y="10049"/>
                  </a:cubicBezTo>
                  <a:cubicBezTo>
                    <a:pt x="6059" y="10047"/>
                    <a:pt x="6096" y="10045"/>
                    <a:pt x="6128" y="10044"/>
                  </a:cubicBezTo>
                  <a:cubicBezTo>
                    <a:pt x="6176" y="10042"/>
                    <a:pt x="6212" y="10041"/>
                    <a:pt x="6233" y="10041"/>
                  </a:cubicBezTo>
                  <a:lnTo>
                    <a:pt x="6065" y="10907"/>
                  </a:lnTo>
                  <a:close/>
                  <a:moveTo>
                    <a:pt x="5729" y="12421"/>
                  </a:moveTo>
                  <a:cubicBezTo>
                    <a:pt x="5583" y="12395"/>
                    <a:pt x="5583" y="12395"/>
                    <a:pt x="5583" y="12395"/>
                  </a:cubicBezTo>
                  <a:cubicBezTo>
                    <a:pt x="5566" y="12491"/>
                    <a:pt x="5566" y="12491"/>
                    <a:pt x="5566" y="12491"/>
                  </a:cubicBezTo>
                  <a:cubicBezTo>
                    <a:pt x="5565" y="12496"/>
                    <a:pt x="5565" y="12496"/>
                    <a:pt x="5565" y="12496"/>
                  </a:cubicBezTo>
                  <a:cubicBezTo>
                    <a:pt x="5467" y="12478"/>
                    <a:pt x="5377" y="12461"/>
                    <a:pt x="5377" y="12461"/>
                  </a:cubicBezTo>
                  <a:cubicBezTo>
                    <a:pt x="5374" y="12474"/>
                    <a:pt x="5374" y="12474"/>
                    <a:pt x="5374" y="12474"/>
                  </a:cubicBezTo>
                  <a:cubicBezTo>
                    <a:pt x="5375" y="12474"/>
                    <a:pt x="5704" y="12537"/>
                    <a:pt x="5784" y="12552"/>
                  </a:cubicBezTo>
                  <a:cubicBezTo>
                    <a:pt x="5753" y="12831"/>
                    <a:pt x="5753" y="12831"/>
                    <a:pt x="5753" y="12831"/>
                  </a:cubicBezTo>
                  <a:cubicBezTo>
                    <a:pt x="5719" y="12824"/>
                    <a:pt x="5636" y="12809"/>
                    <a:pt x="5555" y="12794"/>
                  </a:cubicBezTo>
                  <a:cubicBezTo>
                    <a:pt x="5465" y="12777"/>
                    <a:pt x="5376" y="12760"/>
                    <a:pt x="5351" y="12755"/>
                  </a:cubicBezTo>
                  <a:cubicBezTo>
                    <a:pt x="5338" y="12626"/>
                    <a:pt x="5338" y="12626"/>
                    <a:pt x="5338" y="12626"/>
                  </a:cubicBezTo>
                  <a:cubicBezTo>
                    <a:pt x="5347" y="12628"/>
                    <a:pt x="5756" y="12706"/>
                    <a:pt x="5765" y="12706"/>
                  </a:cubicBezTo>
                  <a:cubicBezTo>
                    <a:pt x="5765" y="12692"/>
                    <a:pt x="5765" y="12692"/>
                    <a:pt x="5765" y="12692"/>
                  </a:cubicBezTo>
                  <a:cubicBezTo>
                    <a:pt x="5764" y="12692"/>
                    <a:pt x="5656" y="12672"/>
                    <a:pt x="5551" y="12652"/>
                  </a:cubicBezTo>
                  <a:cubicBezTo>
                    <a:pt x="5445" y="12632"/>
                    <a:pt x="5340" y="12612"/>
                    <a:pt x="5340" y="12612"/>
                  </a:cubicBezTo>
                  <a:cubicBezTo>
                    <a:pt x="5337" y="12625"/>
                    <a:pt x="5337" y="12625"/>
                    <a:pt x="5337" y="12625"/>
                  </a:cubicBezTo>
                  <a:cubicBezTo>
                    <a:pt x="5337" y="12624"/>
                    <a:pt x="5337" y="12624"/>
                    <a:pt x="5337" y="12624"/>
                  </a:cubicBezTo>
                  <a:cubicBezTo>
                    <a:pt x="5394" y="12344"/>
                    <a:pt x="5394" y="12344"/>
                    <a:pt x="5394" y="12344"/>
                  </a:cubicBezTo>
                  <a:cubicBezTo>
                    <a:pt x="5436" y="12352"/>
                    <a:pt x="5726" y="12407"/>
                    <a:pt x="5799" y="12420"/>
                  </a:cubicBezTo>
                  <a:cubicBezTo>
                    <a:pt x="5786" y="12538"/>
                    <a:pt x="5786" y="12538"/>
                    <a:pt x="5786" y="12538"/>
                  </a:cubicBezTo>
                  <a:cubicBezTo>
                    <a:pt x="5770" y="12535"/>
                    <a:pt x="5743" y="12530"/>
                    <a:pt x="5710" y="12524"/>
                  </a:cubicBezTo>
                  <a:lnTo>
                    <a:pt x="5729" y="12421"/>
                  </a:lnTo>
                  <a:close/>
                  <a:moveTo>
                    <a:pt x="5700" y="12509"/>
                  </a:moveTo>
                  <a:cubicBezTo>
                    <a:pt x="5580" y="12487"/>
                    <a:pt x="5580" y="12487"/>
                    <a:pt x="5580" y="12487"/>
                  </a:cubicBezTo>
                  <a:cubicBezTo>
                    <a:pt x="5594" y="12410"/>
                    <a:pt x="5594" y="12410"/>
                    <a:pt x="5594" y="12410"/>
                  </a:cubicBezTo>
                  <a:cubicBezTo>
                    <a:pt x="5714" y="12431"/>
                    <a:pt x="5714" y="12431"/>
                    <a:pt x="5714" y="12431"/>
                  </a:cubicBezTo>
                  <a:lnTo>
                    <a:pt x="5700" y="12509"/>
                  </a:lnTo>
                  <a:close/>
                  <a:moveTo>
                    <a:pt x="4919" y="12874"/>
                  </a:moveTo>
                  <a:cubicBezTo>
                    <a:pt x="4963" y="12881"/>
                    <a:pt x="5034" y="12891"/>
                    <a:pt x="5105" y="12901"/>
                  </a:cubicBezTo>
                  <a:cubicBezTo>
                    <a:pt x="5220" y="12918"/>
                    <a:pt x="5338" y="12935"/>
                    <a:pt x="5341" y="12936"/>
                  </a:cubicBezTo>
                  <a:cubicBezTo>
                    <a:pt x="5341" y="12936"/>
                    <a:pt x="5347" y="12937"/>
                    <a:pt x="5356" y="12938"/>
                  </a:cubicBezTo>
                  <a:cubicBezTo>
                    <a:pt x="5372" y="13098"/>
                    <a:pt x="5372" y="13098"/>
                    <a:pt x="5372" y="13098"/>
                  </a:cubicBezTo>
                  <a:cubicBezTo>
                    <a:pt x="5370" y="13107"/>
                    <a:pt x="5358" y="13161"/>
                    <a:pt x="5345" y="13218"/>
                  </a:cubicBezTo>
                  <a:cubicBezTo>
                    <a:pt x="5331" y="13274"/>
                    <a:pt x="5316" y="13334"/>
                    <a:pt x="5311" y="13346"/>
                  </a:cubicBezTo>
                  <a:cubicBezTo>
                    <a:pt x="5292" y="13342"/>
                    <a:pt x="5292" y="13342"/>
                    <a:pt x="5292" y="13342"/>
                  </a:cubicBezTo>
                  <a:cubicBezTo>
                    <a:pt x="5048" y="13344"/>
                    <a:pt x="5048" y="13344"/>
                    <a:pt x="5048" y="13344"/>
                  </a:cubicBezTo>
                  <a:cubicBezTo>
                    <a:pt x="5049" y="13336"/>
                    <a:pt x="5049" y="13325"/>
                    <a:pt x="5049" y="13312"/>
                  </a:cubicBezTo>
                  <a:cubicBezTo>
                    <a:pt x="5049" y="13225"/>
                    <a:pt x="5037" y="13037"/>
                    <a:pt x="4919" y="12874"/>
                  </a:cubicBezTo>
                  <a:close/>
                  <a:moveTo>
                    <a:pt x="2400" y="13575"/>
                  </a:moveTo>
                  <a:cubicBezTo>
                    <a:pt x="2621" y="13000"/>
                    <a:pt x="2621" y="13000"/>
                    <a:pt x="2621" y="13000"/>
                  </a:cubicBezTo>
                  <a:cubicBezTo>
                    <a:pt x="2683" y="13018"/>
                    <a:pt x="2745" y="13036"/>
                    <a:pt x="2793" y="13052"/>
                  </a:cubicBezTo>
                  <a:cubicBezTo>
                    <a:pt x="2865" y="13076"/>
                    <a:pt x="2930" y="13140"/>
                    <a:pt x="2976" y="13199"/>
                  </a:cubicBezTo>
                  <a:cubicBezTo>
                    <a:pt x="3002" y="13233"/>
                    <a:pt x="3022" y="13265"/>
                    <a:pt x="3034" y="13286"/>
                  </a:cubicBezTo>
                  <a:cubicBezTo>
                    <a:pt x="3003" y="13292"/>
                    <a:pt x="2974" y="13300"/>
                    <a:pt x="2950" y="13308"/>
                  </a:cubicBezTo>
                  <a:cubicBezTo>
                    <a:pt x="2888" y="13330"/>
                    <a:pt x="2833" y="13349"/>
                    <a:pt x="2800" y="13400"/>
                  </a:cubicBezTo>
                  <a:cubicBezTo>
                    <a:pt x="2745" y="13489"/>
                    <a:pt x="2714" y="13618"/>
                    <a:pt x="2700" y="13684"/>
                  </a:cubicBezTo>
                  <a:lnTo>
                    <a:pt x="2400" y="13575"/>
                  </a:lnTo>
                  <a:close/>
                  <a:moveTo>
                    <a:pt x="2689" y="13750"/>
                  </a:moveTo>
                  <a:cubicBezTo>
                    <a:pt x="2640" y="13796"/>
                    <a:pt x="2481" y="13947"/>
                    <a:pt x="2351" y="14072"/>
                  </a:cubicBezTo>
                  <a:cubicBezTo>
                    <a:pt x="2163" y="13956"/>
                    <a:pt x="2163" y="13956"/>
                    <a:pt x="2163" y="13956"/>
                  </a:cubicBezTo>
                  <a:cubicBezTo>
                    <a:pt x="2459" y="13666"/>
                    <a:pt x="2459" y="13666"/>
                    <a:pt x="2459" y="13666"/>
                  </a:cubicBezTo>
                  <a:lnTo>
                    <a:pt x="2689" y="13750"/>
                  </a:lnTo>
                  <a:close/>
                  <a:moveTo>
                    <a:pt x="2512" y="11762"/>
                  </a:moveTo>
                  <a:cubicBezTo>
                    <a:pt x="2696" y="11709"/>
                    <a:pt x="2696" y="11709"/>
                    <a:pt x="2696" y="11709"/>
                  </a:cubicBezTo>
                  <a:cubicBezTo>
                    <a:pt x="2782" y="11625"/>
                    <a:pt x="2782" y="11625"/>
                    <a:pt x="2782" y="11625"/>
                  </a:cubicBezTo>
                  <a:cubicBezTo>
                    <a:pt x="2876" y="11731"/>
                    <a:pt x="2876" y="11731"/>
                    <a:pt x="2876" y="11731"/>
                  </a:cubicBezTo>
                  <a:cubicBezTo>
                    <a:pt x="3003" y="11775"/>
                    <a:pt x="3003" y="11775"/>
                    <a:pt x="3003" y="11775"/>
                  </a:cubicBezTo>
                  <a:cubicBezTo>
                    <a:pt x="2984" y="11829"/>
                    <a:pt x="2891" y="12094"/>
                    <a:pt x="2875" y="12138"/>
                  </a:cubicBezTo>
                  <a:cubicBezTo>
                    <a:pt x="2856" y="12135"/>
                    <a:pt x="2789" y="12125"/>
                    <a:pt x="2725" y="12115"/>
                  </a:cubicBezTo>
                  <a:cubicBezTo>
                    <a:pt x="2664" y="12105"/>
                    <a:pt x="2605" y="12096"/>
                    <a:pt x="2582" y="12093"/>
                  </a:cubicBezTo>
                  <a:cubicBezTo>
                    <a:pt x="2620" y="11970"/>
                    <a:pt x="2620" y="11970"/>
                    <a:pt x="2620" y="11970"/>
                  </a:cubicBezTo>
                  <a:cubicBezTo>
                    <a:pt x="2375" y="11959"/>
                    <a:pt x="2375" y="11959"/>
                    <a:pt x="2375" y="11959"/>
                  </a:cubicBezTo>
                  <a:cubicBezTo>
                    <a:pt x="2391" y="11912"/>
                    <a:pt x="2430" y="11797"/>
                    <a:pt x="2442" y="11767"/>
                  </a:cubicBezTo>
                  <a:lnTo>
                    <a:pt x="2512" y="11762"/>
                  </a:lnTo>
                  <a:close/>
                  <a:moveTo>
                    <a:pt x="2340" y="11730"/>
                  </a:moveTo>
                  <a:cubicBezTo>
                    <a:pt x="2349" y="11706"/>
                    <a:pt x="2360" y="11681"/>
                    <a:pt x="2371" y="11654"/>
                  </a:cubicBezTo>
                  <a:cubicBezTo>
                    <a:pt x="2399" y="11651"/>
                    <a:pt x="2424" y="11644"/>
                    <a:pt x="2442" y="11634"/>
                  </a:cubicBezTo>
                  <a:cubicBezTo>
                    <a:pt x="2443" y="11638"/>
                    <a:pt x="2445" y="11642"/>
                    <a:pt x="2448" y="11646"/>
                  </a:cubicBezTo>
                  <a:cubicBezTo>
                    <a:pt x="2455" y="11658"/>
                    <a:pt x="2471" y="11669"/>
                    <a:pt x="2496" y="11671"/>
                  </a:cubicBezTo>
                  <a:cubicBezTo>
                    <a:pt x="2505" y="11672"/>
                    <a:pt x="2514" y="11672"/>
                    <a:pt x="2524" y="11672"/>
                  </a:cubicBezTo>
                  <a:cubicBezTo>
                    <a:pt x="2574" y="11671"/>
                    <a:pt x="2636" y="11666"/>
                    <a:pt x="2665" y="11644"/>
                  </a:cubicBezTo>
                  <a:cubicBezTo>
                    <a:pt x="2679" y="11633"/>
                    <a:pt x="2700" y="11612"/>
                    <a:pt x="2721" y="11593"/>
                  </a:cubicBezTo>
                  <a:cubicBezTo>
                    <a:pt x="2742" y="11575"/>
                    <a:pt x="2765" y="11558"/>
                    <a:pt x="2772" y="11558"/>
                  </a:cubicBezTo>
                  <a:cubicBezTo>
                    <a:pt x="2772" y="11558"/>
                    <a:pt x="2772" y="11558"/>
                    <a:pt x="2773" y="11558"/>
                  </a:cubicBezTo>
                  <a:cubicBezTo>
                    <a:pt x="2765" y="11578"/>
                    <a:pt x="2765" y="11578"/>
                    <a:pt x="2765" y="11578"/>
                  </a:cubicBezTo>
                  <a:cubicBezTo>
                    <a:pt x="2673" y="11668"/>
                    <a:pt x="2673" y="11668"/>
                    <a:pt x="2673" y="11668"/>
                  </a:cubicBezTo>
                  <a:cubicBezTo>
                    <a:pt x="2504" y="11717"/>
                    <a:pt x="2504" y="11717"/>
                    <a:pt x="2504" y="11717"/>
                  </a:cubicBezTo>
                  <a:lnTo>
                    <a:pt x="2340" y="11730"/>
                  </a:lnTo>
                  <a:close/>
                  <a:moveTo>
                    <a:pt x="3165" y="11656"/>
                  </a:moveTo>
                  <a:cubicBezTo>
                    <a:pt x="3197" y="11681"/>
                    <a:pt x="3244" y="11738"/>
                    <a:pt x="3282" y="11790"/>
                  </a:cubicBezTo>
                  <a:cubicBezTo>
                    <a:pt x="3301" y="11814"/>
                    <a:pt x="3317" y="11837"/>
                    <a:pt x="3329" y="11855"/>
                  </a:cubicBezTo>
                  <a:cubicBezTo>
                    <a:pt x="3243" y="11811"/>
                    <a:pt x="3243" y="11811"/>
                    <a:pt x="3243" y="11811"/>
                  </a:cubicBezTo>
                  <a:cubicBezTo>
                    <a:pt x="3208" y="11799"/>
                    <a:pt x="3208" y="11799"/>
                    <a:pt x="3208" y="11799"/>
                  </a:cubicBezTo>
                  <a:cubicBezTo>
                    <a:pt x="3211" y="11796"/>
                    <a:pt x="3211" y="11796"/>
                    <a:pt x="3211" y="11796"/>
                  </a:cubicBezTo>
                  <a:cubicBezTo>
                    <a:pt x="3211" y="11796"/>
                    <a:pt x="3171" y="11741"/>
                    <a:pt x="3117" y="11685"/>
                  </a:cubicBezTo>
                  <a:cubicBezTo>
                    <a:pt x="3058" y="11626"/>
                    <a:pt x="2988" y="11617"/>
                    <a:pt x="2917" y="11571"/>
                  </a:cubicBezTo>
                  <a:cubicBezTo>
                    <a:pt x="2883" y="11549"/>
                    <a:pt x="2854" y="11538"/>
                    <a:pt x="2830" y="11533"/>
                  </a:cubicBezTo>
                  <a:cubicBezTo>
                    <a:pt x="2873" y="11423"/>
                    <a:pt x="2873" y="11423"/>
                    <a:pt x="2873" y="11423"/>
                  </a:cubicBezTo>
                  <a:cubicBezTo>
                    <a:pt x="2878" y="11432"/>
                    <a:pt x="2884" y="11444"/>
                    <a:pt x="2890" y="11456"/>
                  </a:cubicBezTo>
                  <a:cubicBezTo>
                    <a:pt x="2904" y="11483"/>
                    <a:pt x="2917" y="11509"/>
                    <a:pt x="2922" y="11515"/>
                  </a:cubicBezTo>
                  <a:cubicBezTo>
                    <a:pt x="2923" y="11516"/>
                    <a:pt x="2922" y="11517"/>
                    <a:pt x="2925" y="11518"/>
                  </a:cubicBezTo>
                  <a:cubicBezTo>
                    <a:pt x="2925" y="11518"/>
                    <a:pt x="2925" y="11518"/>
                    <a:pt x="2925" y="11518"/>
                  </a:cubicBezTo>
                  <a:cubicBezTo>
                    <a:pt x="2975" y="11538"/>
                    <a:pt x="3099" y="11605"/>
                    <a:pt x="3165" y="11656"/>
                  </a:cubicBezTo>
                  <a:close/>
                  <a:moveTo>
                    <a:pt x="3255" y="11384"/>
                  </a:moveTo>
                  <a:cubicBezTo>
                    <a:pt x="3222" y="11418"/>
                    <a:pt x="3222" y="11418"/>
                    <a:pt x="3222" y="11418"/>
                  </a:cubicBezTo>
                  <a:cubicBezTo>
                    <a:pt x="3221" y="11417"/>
                    <a:pt x="3221" y="11417"/>
                    <a:pt x="3221" y="11417"/>
                  </a:cubicBezTo>
                  <a:cubicBezTo>
                    <a:pt x="3221" y="11418"/>
                    <a:pt x="3221" y="11418"/>
                    <a:pt x="3221" y="11418"/>
                  </a:cubicBezTo>
                  <a:cubicBezTo>
                    <a:pt x="3122" y="11340"/>
                    <a:pt x="3122" y="11340"/>
                    <a:pt x="3122" y="11340"/>
                  </a:cubicBezTo>
                  <a:cubicBezTo>
                    <a:pt x="3141" y="11316"/>
                    <a:pt x="3141" y="11316"/>
                    <a:pt x="3141" y="11316"/>
                  </a:cubicBezTo>
                  <a:cubicBezTo>
                    <a:pt x="3138" y="11322"/>
                    <a:pt x="3138" y="11322"/>
                    <a:pt x="3138" y="11322"/>
                  </a:cubicBezTo>
                  <a:lnTo>
                    <a:pt x="3255" y="11384"/>
                  </a:lnTo>
                  <a:close/>
                  <a:moveTo>
                    <a:pt x="4307" y="11635"/>
                  </a:moveTo>
                  <a:cubicBezTo>
                    <a:pt x="4296" y="11901"/>
                    <a:pt x="4296" y="11901"/>
                    <a:pt x="4296" y="11901"/>
                  </a:cubicBezTo>
                  <a:cubicBezTo>
                    <a:pt x="4233" y="11989"/>
                    <a:pt x="4233" y="11989"/>
                    <a:pt x="4233" y="11989"/>
                  </a:cubicBezTo>
                  <a:cubicBezTo>
                    <a:pt x="3632" y="11203"/>
                    <a:pt x="3632" y="11203"/>
                    <a:pt x="3632" y="11203"/>
                  </a:cubicBezTo>
                  <a:cubicBezTo>
                    <a:pt x="3951" y="11093"/>
                    <a:pt x="3951" y="11093"/>
                    <a:pt x="3951" y="11093"/>
                  </a:cubicBezTo>
                  <a:cubicBezTo>
                    <a:pt x="3949" y="11095"/>
                    <a:pt x="3949" y="11095"/>
                    <a:pt x="3949" y="11095"/>
                  </a:cubicBezTo>
                  <a:lnTo>
                    <a:pt x="4307" y="11635"/>
                  </a:lnTo>
                  <a:close/>
                  <a:moveTo>
                    <a:pt x="5824" y="9169"/>
                  </a:moveTo>
                  <a:cubicBezTo>
                    <a:pt x="6007" y="9202"/>
                    <a:pt x="6007" y="9202"/>
                    <a:pt x="6007" y="9202"/>
                  </a:cubicBezTo>
                  <a:cubicBezTo>
                    <a:pt x="5964" y="9320"/>
                    <a:pt x="5964" y="9320"/>
                    <a:pt x="5964" y="9320"/>
                  </a:cubicBezTo>
                  <a:cubicBezTo>
                    <a:pt x="5789" y="9290"/>
                    <a:pt x="5789" y="9290"/>
                    <a:pt x="5789" y="9290"/>
                  </a:cubicBezTo>
                  <a:lnTo>
                    <a:pt x="5824" y="9169"/>
                  </a:lnTo>
                  <a:close/>
                  <a:moveTo>
                    <a:pt x="5792" y="9224"/>
                  </a:moveTo>
                  <a:cubicBezTo>
                    <a:pt x="5793" y="9227"/>
                    <a:pt x="5793" y="9227"/>
                    <a:pt x="5793" y="9227"/>
                  </a:cubicBezTo>
                  <a:cubicBezTo>
                    <a:pt x="5793" y="9227"/>
                    <a:pt x="5793" y="9227"/>
                    <a:pt x="5793" y="9227"/>
                  </a:cubicBezTo>
                  <a:lnTo>
                    <a:pt x="5792" y="9224"/>
                  </a:lnTo>
                  <a:close/>
                  <a:moveTo>
                    <a:pt x="5825" y="9745"/>
                  </a:moveTo>
                  <a:cubicBezTo>
                    <a:pt x="5872" y="9616"/>
                    <a:pt x="5872" y="9616"/>
                    <a:pt x="5872" y="9616"/>
                  </a:cubicBezTo>
                  <a:cubicBezTo>
                    <a:pt x="5999" y="9636"/>
                    <a:pt x="5999" y="9636"/>
                    <a:pt x="5999" y="9636"/>
                  </a:cubicBezTo>
                  <a:cubicBezTo>
                    <a:pt x="5958" y="9751"/>
                    <a:pt x="5958" y="9751"/>
                    <a:pt x="5958" y="9751"/>
                  </a:cubicBezTo>
                  <a:cubicBezTo>
                    <a:pt x="5917" y="9749"/>
                    <a:pt x="5870" y="9747"/>
                    <a:pt x="5825" y="9745"/>
                  </a:cubicBezTo>
                  <a:close/>
                  <a:moveTo>
                    <a:pt x="5953" y="9764"/>
                  </a:moveTo>
                  <a:cubicBezTo>
                    <a:pt x="5894" y="9926"/>
                    <a:pt x="5894" y="9926"/>
                    <a:pt x="5894" y="9926"/>
                  </a:cubicBezTo>
                  <a:cubicBezTo>
                    <a:pt x="5776" y="9881"/>
                    <a:pt x="5776" y="9881"/>
                    <a:pt x="5776" y="9881"/>
                  </a:cubicBezTo>
                  <a:cubicBezTo>
                    <a:pt x="5820" y="9759"/>
                    <a:pt x="5820" y="9759"/>
                    <a:pt x="5820" y="9759"/>
                  </a:cubicBezTo>
                  <a:cubicBezTo>
                    <a:pt x="5864" y="9761"/>
                    <a:pt x="5912" y="9763"/>
                    <a:pt x="5953" y="9764"/>
                  </a:cubicBezTo>
                  <a:close/>
                  <a:moveTo>
                    <a:pt x="5169" y="11616"/>
                  </a:moveTo>
                  <a:cubicBezTo>
                    <a:pt x="5169" y="11613"/>
                    <a:pt x="5169" y="11610"/>
                    <a:pt x="5169" y="11607"/>
                  </a:cubicBezTo>
                  <a:cubicBezTo>
                    <a:pt x="5169" y="11578"/>
                    <a:pt x="5167" y="11550"/>
                    <a:pt x="5161" y="11522"/>
                  </a:cubicBezTo>
                  <a:cubicBezTo>
                    <a:pt x="5155" y="11492"/>
                    <a:pt x="5139" y="11366"/>
                    <a:pt x="5119" y="11203"/>
                  </a:cubicBezTo>
                  <a:cubicBezTo>
                    <a:pt x="5589" y="11144"/>
                    <a:pt x="5589" y="11144"/>
                    <a:pt x="5589" y="11144"/>
                  </a:cubicBezTo>
                  <a:cubicBezTo>
                    <a:pt x="5868" y="11166"/>
                    <a:pt x="5868" y="11166"/>
                    <a:pt x="5868" y="11166"/>
                  </a:cubicBezTo>
                  <a:cubicBezTo>
                    <a:pt x="5848" y="11420"/>
                    <a:pt x="5848" y="11420"/>
                    <a:pt x="5848" y="11420"/>
                  </a:cubicBezTo>
                  <a:cubicBezTo>
                    <a:pt x="5809" y="11423"/>
                    <a:pt x="5728" y="11427"/>
                    <a:pt x="5728" y="11427"/>
                  </a:cubicBezTo>
                  <a:cubicBezTo>
                    <a:pt x="5727" y="11428"/>
                    <a:pt x="5727" y="11428"/>
                    <a:pt x="5727" y="11428"/>
                  </a:cubicBezTo>
                  <a:lnTo>
                    <a:pt x="5169" y="11616"/>
                  </a:lnTo>
                  <a:close/>
                  <a:moveTo>
                    <a:pt x="5424" y="11545"/>
                  </a:moveTo>
                  <a:cubicBezTo>
                    <a:pt x="5625" y="11705"/>
                    <a:pt x="5625" y="11705"/>
                    <a:pt x="5625" y="11705"/>
                  </a:cubicBezTo>
                  <a:cubicBezTo>
                    <a:pt x="5628" y="11724"/>
                    <a:pt x="5643" y="11835"/>
                    <a:pt x="5650" y="11880"/>
                  </a:cubicBezTo>
                  <a:cubicBezTo>
                    <a:pt x="5326" y="11851"/>
                    <a:pt x="5326" y="11851"/>
                    <a:pt x="5326" y="11851"/>
                  </a:cubicBezTo>
                  <a:cubicBezTo>
                    <a:pt x="5325" y="11844"/>
                    <a:pt x="5325" y="11834"/>
                    <a:pt x="5325" y="11822"/>
                  </a:cubicBezTo>
                  <a:cubicBezTo>
                    <a:pt x="5323" y="11797"/>
                    <a:pt x="5322" y="11763"/>
                    <a:pt x="5321" y="11729"/>
                  </a:cubicBezTo>
                  <a:cubicBezTo>
                    <a:pt x="5318" y="11666"/>
                    <a:pt x="5315" y="11603"/>
                    <a:pt x="5312" y="11582"/>
                  </a:cubicBezTo>
                  <a:lnTo>
                    <a:pt x="5424" y="11545"/>
                  </a:lnTo>
                  <a:close/>
                  <a:moveTo>
                    <a:pt x="5312" y="11850"/>
                  </a:moveTo>
                  <a:cubicBezTo>
                    <a:pt x="5137" y="11834"/>
                    <a:pt x="5137" y="11834"/>
                    <a:pt x="5137" y="11834"/>
                  </a:cubicBezTo>
                  <a:cubicBezTo>
                    <a:pt x="5151" y="11774"/>
                    <a:pt x="5165" y="11703"/>
                    <a:pt x="5168" y="11631"/>
                  </a:cubicBezTo>
                  <a:cubicBezTo>
                    <a:pt x="5298" y="11587"/>
                    <a:pt x="5298" y="11587"/>
                    <a:pt x="5298" y="11587"/>
                  </a:cubicBezTo>
                  <a:cubicBezTo>
                    <a:pt x="5299" y="11588"/>
                    <a:pt x="5299" y="11589"/>
                    <a:pt x="5299" y="11590"/>
                  </a:cubicBezTo>
                  <a:cubicBezTo>
                    <a:pt x="5300" y="11597"/>
                    <a:pt x="5300" y="11607"/>
                    <a:pt x="5301" y="11618"/>
                  </a:cubicBezTo>
                  <a:cubicBezTo>
                    <a:pt x="5303" y="11642"/>
                    <a:pt x="5304" y="11674"/>
                    <a:pt x="5306" y="11707"/>
                  </a:cubicBezTo>
                  <a:cubicBezTo>
                    <a:pt x="5308" y="11764"/>
                    <a:pt x="5310" y="11823"/>
                    <a:pt x="5312" y="11850"/>
                  </a:cubicBezTo>
                  <a:close/>
                  <a:moveTo>
                    <a:pt x="5126" y="11882"/>
                  </a:moveTo>
                  <a:cubicBezTo>
                    <a:pt x="5126" y="11881"/>
                    <a:pt x="5126" y="11880"/>
                    <a:pt x="5127" y="11879"/>
                  </a:cubicBezTo>
                  <a:cubicBezTo>
                    <a:pt x="5467" y="11909"/>
                    <a:pt x="5467" y="11909"/>
                    <a:pt x="5467" y="11909"/>
                  </a:cubicBezTo>
                  <a:cubicBezTo>
                    <a:pt x="5448" y="12001"/>
                    <a:pt x="5448" y="12001"/>
                    <a:pt x="5448" y="12001"/>
                  </a:cubicBezTo>
                  <a:cubicBezTo>
                    <a:pt x="5410" y="12000"/>
                    <a:pt x="5108" y="11978"/>
                    <a:pt x="5089" y="11977"/>
                  </a:cubicBezTo>
                  <a:cubicBezTo>
                    <a:pt x="5105" y="11945"/>
                    <a:pt x="5118" y="11914"/>
                    <a:pt x="5126" y="11882"/>
                  </a:cubicBezTo>
                  <a:close/>
                  <a:moveTo>
                    <a:pt x="5261" y="12117"/>
                  </a:moveTo>
                  <a:cubicBezTo>
                    <a:pt x="5266" y="12013"/>
                    <a:pt x="5266" y="12013"/>
                    <a:pt x="5266" y="12013"/>
                  </a:cubicBezTo>
                  <a:cubicBezTo>
                    <a:pt x="5118" y="12006"/>
                    <a:pt x="5118" y="12006"/>
                    <a:pt x="5118" y="12006"/>
                  </a:cubicBezTo>
                  <a:cubicBezTo>
                    <a:pt x="5114" y="12103"/>
                    <a:pt x="5114" y="12103"/>
                    <a:pt x="5114" y="12103"/>
                  </a:cubicBezTo>
                  <a:cubicBezTo>
                    <a:pt x="5113" y="12109"/>
                    <a:pt x="5113" y="12109"/>
                    <a:pt x="5113" y="12109"/>
                  </a:cubicBezTo>
                  <a:cubicBezTo>
                    <a:pt x="5072" y="12106"/>
                    <a:pt x="5035" y="12104"/>
                    <a:pt x="5011" y="12102"/>
                  </a:cubicBezTo>
                  <a:cubicBezTo>
                    <a:pt x="5038" y="12063"/>
                    <a:pt x="5065" y="12022"/>
                    <a:pt x="5087" y="11981"/>
                  </a:cubicBezTo>
                  <a:cubicBezTo>
                    <a:pt x="5086" y="11991"/>
                    <a:pt x="5086" y="11991"/>
                    <a:pt x="5086" y="11991"/>
                  </a:cubicBezTo>
                  <a:cubicBezTo>
                    <a:pt x="5086" y="11991"/>
                    <a:pt x="5394" y="12013"/>
                    <a:pt x="5445" y="12015"/>
                  </a:cubicBezTo>
                  <a:cubicBezTo>
                    <a:pt x="5422" y="12130"/>
                    <a:pt x="5422" y="12130"/>
                    <a:pt x="5422" y="12130"/>
                  </a:cubicBezTo>
                  <a:cubicBezTo>
                    <a:pt x="5395" y="12128"/>
                    <a:pt x="5288" y="12120"/>
                    <a:pt x="5185" y="12113"/>
                  </a:cubicBezTo>
                  <a:lnTo>
                    <a:pt x="5261" y="12117"/>
                  </a:lnTo>
                  <a:close/>
                  <a:moveTo>
                    <a:pt x="5127" y="12098"/>
                  </a:moveTo>
                  <a:cubicBezTo>
                    <a:pt x="5130" y="12019"/>
                    <a:pt x="5130" y="12019"/>
                    <a:pt x="5130" y="12019"/>
                  </a:cubicBezTo>
                  <a:cubicBezTo>
                    <a:pt x="5252" y="12025"/>
                    <a:pt x="5252" y="12025"/>
                    <a:pt x="5252" y="12025"/>
                  </a:cubicBezTo>
                  <a:cubicBezTo>
                    <a:pt x="5249" y="12103"/>
                    <a:pt x="5249" y="12103"/>
                    <a:pt x="5249" y="12103"/>
                  </a:cubicBezTo>
                  <a:lnTo>
                    <a:pt x="5127" y="12098"/>
                  </a:lnTo>
                  <a:close/>
                  <a:moveTo>
                    <a:pt x="5077" y="11800"/>
                  </a:moveTo>
                  <a:cubicBezTo>
                    <a:pt x="5034" y="11745"/>
                    <a:pt x="4964" y="11654"/>
                    <a:pt x="4889" y="11558"/>
                  </a:cubicBezTo>
                  <a:cubicBezTo>
                    <a:pt x="4864" y="11526"/>
                    <a:pt x="4839" y="11492"/>
                    <a:pt x="4814" y="11460"/>
                  </a:cubicBezTo>
                  <a:cubicBezTo>
                    <a:pt x="4842" y="11460"/>
                    <a:pt x="4898" y="11460"/>
                    <a:pt x="4954" y="11460"/>
                  </a:cubicBezTo>
                  <a:cubicBezTo>
                    <a:pt x="5005" y="11460"/>
                    <a:pt x="5057" y="11461"/>
                    <a:pt x="5086" y="11461"/>
                  </a:cubicBezTo>
                  <a:cubicBezTo>
                    <a:pt x="5091" y="11496"/>
                    <a:pt x="5094" y="11522"/>
                    <a:pt x="5097" y="11534"/>
                  </a:cubicBezTo>
                  <a:cubicBezTo>
                    <a:pt x="5101" y="11557"/>
                    <a:pt x="5103" y="11582"/>
                    <a:pt x="5103" y="11607"/>
                  </a:cubicBezTo>
                  <a:cubicBezTo>
                    <a:pt x="5103" y="11671"/>
                    <a:pt x="5091" y="11739"/>
                    <a:pt x="5077" y="11800"/>
                  </a:cubicBezTo>
                  <a:close/>
                  <a:moveTo>
                    <a:pt x="4954" y="11446"/>
                  </a:moveTo>
                  <a:cubicBezTo>
                    <a:pt x="4889" y="11446"/>
                    <a:pt x="4824" y="11446"/>
                    <a:pt x="4803" y="11446"/>
                  </a:cubicBezTo>
                  <a:cubicBezTo>
                    <a:pt x="4780" y="11416"/>
                    <a:pt x="4757" y="11386"/>
                    <a:pt x="4736" y="11358"/>
                  </a:cubicBezTo>
                  <a:cubicBezTo>
                    <a:pt x="5066" y="11307"/>
                    <a:pt x="5066" y="11307"/>
                    <a:pt x="5066" y="11307"/>
                  </a:cubicBezTo>
                  <a:cubicBezTo>
                    <a:pt x="5073" y="11362"/>
                    <a:pt x="5079" y="11409"/>
                    <a:pt x="5084" y="11447"/>
                  </a:cubicBezTo>
                  <a:cubicBezTo>
                    <a:pt x="5054" y="11447"/>
                    <a:pt x="5005" y="11446"/>
                    <a:pt x="4954" y="11446"/>
                  </a:cubicBezTo>
                  <a:close/>
                  <a:moveTo>
                    <a:pt x="4726" y="11346"/>
                  </a:moveTo>
                  <a:cubicBezTo>
                    <a:pt x="4684" y="11290"/>
                    <a:pt x="4647" y="11241"/>
                    <a:pt x="4623" y="11209"/>
                  </a:cubicBezTo>
                  <a:cubicBezTo>
                    <a:pt x="4686" y="11202"/>
                    <a:pt x="4960" y="11164"/>
                    <a:pt x="5047" y="11152"/>
                  </a:cubicBezTo>
                  <a:cubicBezTo>
                    <a:pt x="5053" y="11202"/>
                    <a:pt x="5059" y="11250"/>
                    <a:pt x="5064" y="11293"/>
                  </a:cubicBezTo>
                  <a:lnTo>
                    <a:pt x="4726" y="11346"/>
                  </a:lnTo>
                  <a:close/>
                  <a:moveTo>
                    <a:pt x="5027" y="10990"/>
                  </a:moveTo>
                  <a:cubicBezTo>
                    <a:pt x="5033" y="11041"/>
                    <a:pt x="5039" y="11090"/>
                    <a:pt x="5045" y="11138"/>
                  </a:cubicBezTo>
                  <a:cubicBezTo>
                    <a:pt x="5006" y="11143"/>
                    <a:pt x="4927" y="11154"/>
                    <a:pt x="4847" y="11165"/>
                  </a:cubicBezTo>
                  <a:cubicBezTo>
                    <a:pt x="4742" y="11180"/>
                    <a:pt x="4633" y="11194"/>
                    <a:pt x="4614" y="11196"/>
                  </a:cubicBezTo>
                  <a:cubicBezTo>
                    <a:pt x="4610" y="11190"/>
                    <a:pt x="4607" y="11185"/>
                    <a:pt x="4604" y="11181"/>
                  </a:cubicBezTo>
                  <a:cubicBezTo>
                    <a:pt x="4586" y="11155"/>
                    <a:pt x="4581" y="11136"/>
                    <a:pt x="4581" y="11122"/>
                  </a:cubicBezTo>
                  <a:cubicBezTo>
                    <a:pt x="4581" y="11104"/>
                    <a:pt x="4589" y="11091"/>
                    <a:pt x="4602" y="11079"/>
                  </a:cubicBezTo>
                  <a:cubicBezTo>
                    <a:pt x="4614" y="11067"/>
                    <a:pt x="4631" y="11058"/>
                    <a:pt x="4641" y="11055"/>
                  </a:cubicBezTo>
                  <a:cubicBezTo>
                    <a:pt x="4641" y="11055"/>
                    <a:pt x="4651" y="11052"/>
                    <a:pt x="4664" y="11050"/>
                  </a:cubicBezTo>
                  <a:cubicBezTo>
                    <a:pt x="4677" y="11047"/>
                    <a:pt x="4695" y="11044"/>
                    <a:pt x="4715" y="11040"/>
                  </a:cubicBezTo>
                  <a:cubicBezTo>
                    <a:pt x="4755" y="11033"/>
                    <a:pt x="4806" y="11025"/>
                    <a:pt x="4856" y="11017"/>
                  </a:cubicBezTo>
                  <a:cubicBezTo>
                    <a:pt x="4926" y="11005"/>
                    <a:pt x="4993" y="10995"/>
                    <a:pt x="5027" y="10990"/>
                  </a:cubicBezTo>
                  <a:close/>
                  <a:moveTo>
                    <a:pt x="4875" y="10947"/>
                  </a:moveTo>
                  <a:cubicBezTo>
                    <a:pt x="4818" y="10619"/>
                    <a:pt x="4818" y="10619"/>
                    <a:pt x="4818" y="10619"/>
                  </a:cubicBezTo>
                  <a:cubicBezTo>
                    <a:pt x="4891" y="10613"/>
                    <a:pt x="4952" y="10607"/>
                    <a:pt x="4982" y="10605"/>
                  </a:cubicBezTo>
                  <a:cubicBezTo>
                    <a:pt x="4989" y="10669"/>
                    <a:pt x="4997" y="10736"/>
                    <a:pt x="5005" y="10803"/>
                  </a:cubicBezTo>
                  <a:cubicBezTo>
                    <a:pt x="5010" y="10844"/>
                    <a:pt x="5015" y="10885"/>
                    <a:pt x="5019" y="10925"/>
                  </a:cubicBezTo>
                  <a:cubicBezTo>
                    <a:pt x="4991" y="10929"/>
                    <a:pt x="4936" y="10938"/>
                    <a:pt x="4875" y="10947"/>
                  </a:cubicBezTo>
                  <a:close/>
                  <a:moveTo>
                    <a:pt x="5021" y="10379"/>
                  </a:moveTo>
                  <a:cubicBezTo>
                    <a:pt x="5105" y="10361"/>
                    <a:pt x="5387" y="10302"/>
                    <a:pt x="5399" y="10300"/>
                  </a:cubicBezTo>
                  <a:cubicBezTo>
                    <a:pt x="5399" y="10300"/>
                    <a:pt x="5399" y="10300"/>
                    <a:pt x="5399" y="10300"/>
                  </a:cubicBezTo>
                  <a:cubicBezTo>
                    <a:pt x="5400" y="10300"/>
                    <a:pt x="5400" y="10299"/>
                    <a:pt x="5401" y="10299"/>
                  </a:cubicBezTo>
                  <a:cubicBezTo>
                    <a:pt x="5402" y="10299"/>
                    <a:pt x="5404" y="10299"/>
                    <a:pt x="5406" y="10299"/>
                  </a:cubicBezTo>
                  <a:cubicBezTo>
                    <a:pt x="5410" y="10299"/>
                    <a:pt x="5417" y="10299"/>
                    <a:pt x="5424" y="10299"/>
                  </a:cubicBezTo>
                  <a:cubicBezTo>
                    <a:pt x="5440" y="10298"/>
                    <a:pt x="5462" y="10298"/>
                    <a:pt x="5489" y="10297"/>
                  </a:cubicBezTo>
                  <a:cubicBezTo>
                    <a:pt x="5541" y="10296"/>
                    <a:pt x="5611" y="10294"/>
                    <a:pt x="5680" y="10293"/>
                  </a:cubicBezTo>
                  <a:cubicBezTo>
                    <a:pt x="5785" y="10291"/>
                    <a:pt x="5890" y="10289"/>
                    <a:pt x="5934" y="10288"/>
                  </a:cubicBezTo>
                  <a:cubicBezTo>
                    <a:pt x="5912" y="10576"/>
                    <a:pt x="5912" y="10576"/>
                    <a:pt x="5912" y="10576"/>
                  </a:cubicBezTo>
                  <a:cubicBezTo>
                    <a:pt x="5902" y="10576"/>
                    <a:pt x="5890" y="10576"/>
                    <a:pt x="5874" y="10576"/>
                  </a:cubicBezTo>
                  <a:cubicBezTo>
                    <a:pt x="5736" y="10576"/>
                    <a:pt x="5396" y="10579"/>
                    <a:pt x="5396" y="10579"/>
                  </a:cubicBezTo>
                  <a:cubicBezTo>
                    <a:pt x="5395" y="10579"/>
                    <a:pt x="5395" y="10579"/>
                    <a:pt x="5395" y="10579"/>
                  </a:cubicBezTo>
                  <a:cubicBezTo>
                    <a:pt x="5053" y="10647"/>
                    <a:pt x="5053" y="10647"/>
                    <a:pt x="5053" y="10647"/>
                  </a:cubicBezTo>
                  <a:cubicBezTo>
                    <a:pt x="5041" y="10549"/>
                    <a:pt x="5030" y="10457"/>
                    <a:pt x="5021" y="10379"/>
                  </a:cubicBezTo>
                  <a:close/>
                  <a:moveTo>
                    <a:pt x="5488" y="10283"/>
                  </a:moveTo>
                  <a:cubicBezTo>
                    <a:pt x="5435" y="10284"/>
                    <a:pt x="5401" y="10285"/>
                    <a:pt x="5396" y="10286"/>
                  </a:cubicBezTo>
                  <a:cubicBezTo>
                    <a:pt x="5390" y="10288"/>
                    <a:pt x="5106" y="10347"/>
                    <a:pt x="5020" y="10365"/>
                  </a:cubicBezTo>
                  <a:cubicBezTo>
                    <a:pt x="5009" y="10271"/>
                    <a:pt x="5001" y="10200"/>
                    <a:pt x="4997" y="10170"/>
                  </a:cubicBezTo>
                  <a:cubicBezTo>
                    <a:pt x="5347" y="10100"/>
                    <a:pt x="5707" y="10068"/>
                    <a:pt x="5952" y="10053"/>
                  </a:cubicBezTo>
                  <a:cubicBezTo>
                    <a:pt x="5935" y="10274"/>
                    <a:pt x="5935" y="10274"/>
                    <a:pt x="5935" y="10274"/>
                  </a:cubicBezTo>
                  <a:cubicBezTo>
                    <a:pt x="5865" y="10275"/>
                    <a:pt x="5622" y="10280"/>
                    <a:pt x="5488" y="10283"/>
                  </a:cubicBezTo>
                  <a:close/>
                  <a:moveTo>
                    <a:pt x="5172" y="10071"/>
                  </a:moveTo>
                  <a:cubicBezTo>
                    <a:pt x="5185" y="9687"/>
                    <a:pt x="5185" y="9687"/>
                    <a:pt x="5185" y="9687"/>
                  </a:cubicBezTo>
                  <a:cubicBezTo>
                    <a:pt x="5281" y="9685"/>
                    <a:pt x="5354" y="9683"/>
                    <a:pt x="5380" y="9683"/>
                  </a:cubicBezTo>
                  <a:cubicBezTo>
                    <a:pt x="5377" y="9742"/>
                    <a:pt x="5372" y="9806"/>
                    <a:pt x="5368" y="9864"/>
                  </a:cubicBezTo>
                  <a:cubicBezTo>
                    <a:pt x="5362" y="9943"/>
                    <a:pt x="5355" y="10011"/>
                    <a:pt x="5352" y="10045"/>
                  </a:cubicBezTo>
                  <a:cubicBezTo>
                    <a:pt x="5293" y="10053"/>
                    <a:pt x="5233" y="10061"/>
                    <a:pt x="5172" y="10071"/>
                  </a:cubicBezTo>
                  <a:close/>
                  <a:moveTo>
                    <a:pt x="5387" y="9324"/>
                  </a:moveTo>
                  <a:cubicBezTo>
                    <a:pt x="5751" y="9370"/>
                    <a:pt x="5751" y="9370"/>
                    <a:pt x="5751" y="9370"/>
                  </a:cubicBezTo>
                  <a:cubicBezTo>
                    <a:pt x="5713" y="9505"/>
                    <a:pt x="5713" y="9505"/>
                    <a:pt x="5713" y="9505"/>
                  </a:cubicBezTo>
                  <a:cubicBezTo>
                    <a:pt x="5691" y="9503"/>
                    <a:pt x="5624" y="9492"/>
                    <a:pt x="5560" y="9481"/>
                  </a:cubicBezTo>
                  <a:cubicBezTo>
                    <a:pt x="5504" y="9472"/>
                    <a:pt x="5450" y="9463"/>
                    <a:pt x="5424" y="9459"/>
                  </a:cubicBezTo>
                  <a:cubicBezTo>
                    <a:pt x="5417" y="9413"/>
                    <a:pt x="5403" y="9366"/>
                    <a:pt x="5387" y="9324"/>
                  </a:cubicBezTo>
                  <a:close/>
                  <a:moveTo>
                    <a:pt x="5428" y="9633"/>
                  </a:moveTo>
                  <a:cubicBezTo>
                    <a:pt x="5672" y="9654"/>
                    <a:pt x="5672" y="9654"/>
                    <a:pt x="5672" y="9654"/>
                  </a:cubicBezTo>
                  <a:cubicBezTo>
                    <a:pt x="5675" y="9802"/>
                    <a:pt x="5675" y="9802"/>
                    <a:pt x="5675" y="9802"/>
                  </a:cubicBezTo>
                  <a:cubicBezTo>
                    <a:pt x="5415" y="9843"/>
                    <a:pt x="5415" y="9843"/>
                    <a:pt x="5415" y="9843"/>
                  </a:cubicBezTo>
                  <a:cubicBezTo>
                    <a:pt x="5420" y="9773"/>
                    <a:pt x="5425" y="9698"/>
                    <a:pt x="5428" y="9633"/>
                  </a:cubicBezTo>
                  <a:close/>
                  <a:moveTo>
                    <a:pt x="5398" y="10039"/>
                  </a:moveTo>
                  <a:cubicBezTo>
                    <a:pt x="5402" y="10001"/>
                    <a:pt x="5408" y="9933"/>
                    <a:pt x="5414" y="9857"/>
                  </a:cubicBezTo>
                  <a:cubicBezTo>
                    <a:pt x="5675" y="9816"/>
                    <a:pt x="5675" y="9816"/>
                    <a:pt x="5675" y="9816"/>
                  </a:cubicBezTo>
                  <a:cubicBezTo>
                    <a:pt x="5678" y="10008"/>
                    <a:pt x="5678" y="10008"/>
                    <a:pt x="5678" y="10008"/>
                  </a:cubicBezTo>
                  <a:cubicBezTo>
                    <a:pt x="5590" y="10016"/>
                    <a:pt x="5496" y="10026"/>
                    <a:pt x="5398" y="10039"/>
                  </a:cubicBezTo>
                  <a:close/>
                  <a:moveTo>
                    <a:pt x="5674" y="9641"/>
                  </a:moveTo>
                  <a:cubicBezTo>
                    <a:pt x="5429" y="9619"/>
                    <a:pt x="5429" y="9619"/>
                    <a:pt x="5429" y="9619"/>
                  </a:cubicBezTo>
                  <a:cubicBezTo>
                    <a:pt x="5430" y="9590"/>
                    <a:pt x="5431" y="9562"/>
                    <a:pt x="5431" y="9539"/>
                  </a:cubicBezTo>
                  <a:cubicBezTo>
                    <a:pt x="5431" y="9521"/>
                    <a:pt x="5430" y="9504"/>
                    <a:pt x="5429" y="9491"/>
                  </a:cubicBezTo>
                  <a:cubicBezTo>
                    <a:pt x="5429" y="9485"/>
                    <a:pt x="5427" y="9479"/>
                    <a:pt x="5427" y="9473"/>
                  </a:cubicBezTo>
                  <a:cubicBezTo>
                    <a:pt x="5485" y="9483"/>
                    <a:pt x="5663" y="9513"/>
                    <a:pt x="5709" y="9519"/>
                  </a:cubicBezTo>
                  <a:lnTo>
                    <a:pt x="5674" y="9641"/>
                  </a:lnTo>
                  <a:close/>
                  <a:moveTo>
                    <a:pt x="5785" y="9304"/>
                  </a:moveTo>
                  <a:cubicBezTo>
                    <a:pt x="5959" y="9333"/>
                    <a:pt x="5959" y="9333"/>
                    <a:pt x="5959" y="9333"/>
                  </a:cubicBezTo>
                  <a:cubicBezTo>
                    <a:pt x="5913" y="9461"/>
                    <a:pt x="5913" y="9461"/>
                    <a:pt x="5913" y="9461"/>
                  </a:cubicBezTo>
                  <a:cubicBezTo>
                    <a:pt x="5750" y="9436"/>
                    <a:pt x="5750" y="9436"/>
                    <a:pt x="5750" y="9436"/>
                  </a:cubicBezTo>
                  <a:cubicBezTo>
                    <a:pt x="5748" y="9450"/>
                    <a:pt x="5748" y="9450"/>
                    <a:pt x="5748" y="9450"/>
                  </a:cubicBezTo>
                  <a:cubicBezTo>
                    <a:pt x="5909" y="9475"/>
                    <a:pt x="5909" y="9475"/>
                    <a:pt x="5909" y="9475"/>
                  </a:cubicBezTo>
                  <a:cubicBezTo>
                    <a:pt x="5863" y="9600"/>
                    <a:pt x="5863" y="9600"/>
                    <a:pt x="5863" y="9600"/>
                  </a:cubicBezTo>
                  <a:cubicBezTo>
                    <a:pt x="5707" y="9575"/>
                    <a:pt x="5707" y="9575"/>
                    <a:pt x="5707" y="9575"/>
                  </a:cubicBezTo>
                  <a:lnTo>
                    <a:pt x="5785" y="9304"/>
                  </a:lnTo>
                  <a:close/>
                  <a:moveTo>
                    <a:pt x="5877" y="9602"/>
                  </a:moveTo>
                  <a:cubicBezTo>
                    <a:pt x="5922" y="9477"/>
                    <a:pt x="5922" y="9477"/>
                    <a:pt x="5922" y="9477"/>
                  </a:cubicBezTo>
                  <a:cubicBezTo>
                    <a:pt x="6049" y="9497"/>
                    <a:pt x="6049" y="9497"/>
                    <a:pt x="6049" y="9497"/>
                  </a:cubicBezTo>
                  <a:cubicBezTo>
                    <a:pt x="6003" y="9623"/>
                    <a:pt x="6003" y="9623"/>
                    <a:pt x="6003" y="9623"/>
                  </a:cubicBezTo>
                  <a:lnTo>
                    <a:pt x="5877" y="9602"/>
                  </a:lnTo>
                  <a:close/>
                  <a:moveTo>
                    <a:pt x="5927" y="9463"/>
                  </a:moveTo>
                  <a:cubicBezTo>
                    <a:pt x="5973" y="9336"/>
                    <a:pt x="5973" y="9336"/>
                    <a:pt x="5973" y="9336"/>
                  </a:cubicBezTo>
                  <a:cubicBezTo>
                    <a:pt x="6099" y="9357"/>
                    <a:pt x="6099" y="9357"/>
                    <a:pt x="6099" y="9357"/>
                  </a:cubicBezTo>
                  <a:cubicBezTo>
                    <a:pt x="6054" y="9483"/>
                    <a:pt x="6054" y="9483"/>
                    <a:pt x="6054" y="9483"/>
                  </a:cubicBezTo>
                  <a:lnTo>
                    <a:pt x="5927" y="9463"/>
                  </a:lnTo>
                  <a:close/>
                  <a:moveTo>
                    <a:pt x="5977" y="9322"/>
                  </a:moveTo>
                  <a:cubicBezTo>
                    <a:pt x="6020" y="9205"/>
                    <a:pt x="6020" y="9205"/>
                    <a:pt x="6020" y="9205"/>
                  </a:cubicBezTo>
                  <a:cubicBezTo>
                    <a:pt x="6145" y="9228"/>
                    <a:pt x="6145" y="9228"/>
                    <a:pt x="6145" y="9228"/>
                  </a:cubicBezTo>
                  <a:cubicBezTo>
                    <a:pt x="6104" y="9344"/>
                    <a:pt x="6104" y="9344"/>
                    <a:pt x="6104" y="9344"/>
                  </a:cubicBezTo>
                  <a:lnTo>
                    <a:pt x="5977" y="9322"/>
                  </a:lnTo>
                  <a:close/>
                  <a:moveTo>
                    <a:pt x="6024" y="9191"/>
                  </a:moveTo>
                  <a:cubicBezTo>
                    <a:pt x="6065" y="9078"/>
                    <a:pt x="6065" y="9078"/>
                    <a:pt x="6065" y="9078"/>
                  </a:cubicBezTo>
                  <a:cubicBezTo>
                    <a:pt x="6189" y="9106"/>
                    <a:pt x="6189" y="9106"/>
                    <a:pt x="6189" y="9106"/>
                  </a:cubicBezTo>
                  <a:cubicBezTo>
                    <a:pt x="6150" y="9215"/>
                    <a:pt x="6150" y="9215"/>
                    <a:pt x="6150" y="9215"/>
                  </a:cubicBezTo>
                  <a:lnTo>
                    <a:pt x="6024" y="9191"/>
                  </a:lnTo>
                  <a:close/>
                  <a:moveTo>
                    <a:pt x="6070" y="9065"/>
                  </a:moveTo>
                  <a:cubicBezTo>
                    <a:pt x="6112" y="8947"/>
                    <a:pt x="6112" y="8947"/>
                    <a:pt x="6112" y="8947"/>
                  </a:cubicBezTo>
                  <a:cubicBezTo>
                    <a:pt x="6238" y="8969"/>
                    <a:pt x="6238" y="8969"/>
                    <a:pt x="6238" y="8969"/>
                  </a:cubicBezTo>
                  <a:cubicBezTo>
                    <a:pt x="6194" y="9093"/>
                    <a:pt x="6194" y="9093"/>
                    <a:pt x="6194" y="9093"/>
                  </a:cubicBezTo>
                  <a:lnTo>
                    <a:pt x="6070" y="9065"/>
                  </a:lnTo>
                  <a:close/>
                  <a:moveTo>
                    <a:pt x="6117" y="8933"/>
                  </a:moveTo>
                  <a:cubicBezTo>
                    <a:pt x="6154" y="8832"/>
                    <a:pt x="6154" y="8832"/>
                    <a:pt x="6154" y="8832"/>
                  </a:cubicBezTo>
                  <a:cubicBezTo>
                    <a:pt x="6281" y="8851"/>
                    <a:pt x="6281" y="8851"/>
                    <a:pt x="6281" y="8851"/>
                  </a:cubicBezTo>
                  <a:cubicBezTo>
                    <a:pt x="6243" y="8956"/>
                    <a:pt x="6243" y="8956"/>
                    <a:pt x="6243" y="8956"/>
                  </a:cubicBezTo>
                  <a:lnTo>
                    <a:pt x="6117" y="8933"/>
                  </a:lnTo>
                  <a:close/>
                  <a:moveTo>
                    <a:pt x="6158" y="8819"/>
                  </a:moveTo>
                  <a:cubicBezTo>
                    <a:pt x="6205" y="8689"/>
                    <a:pt x="6205" y="8689"/>
                    <a:pt x="6205" y="8689"/>
                  </a:cubicBezTo>
                  <a:cubicBezTo>
                    <a:pt x="6334" y="8703"/>
                    <a:pt x="6334" y="8703"/>
                    <a:pt x="6334" y="8703"/>
                  </a:cubicBezTo>
                  <a:cubicBezTo>
                    <a:pt x="6286" y="8837"/>
                    <a:pt x="6286" y="8837"/>
                    <a:pt x="6286" y="8837"/>
                  </a:cubicBezTo>
                  <a:lnTo>
                    <a:pt x="6158" y="8819"/>
                  </a:lnTo>
                  <a:close/>
                  <a:moveTo>
                    <a:pt x="6145" y="8817"/>
                  </a:moveTo>
                  <a:cubicBezTo>
                    <a:pt x="5838" y="8772"/>
                    <a:pt x="5838" y="8772"/>
                    <a:pt x="5838" y="8772"/>
                  </a:cubicBezTo>
                  <a:cubicBezTo>
                    <a:pt x="5847" y="8734"/>
                    <a:pt x="5857" y="8693"/>
                    <a:pt x="5867" y="8653"/>
                  </a:cubicBezTo>
                  <a:cubicBezTo>
                    <a:pt x="6192" y="8688"/>
                    <a:pt x="6192" y="8688"/>
                    <a:pt x="6192" y="8688"/>
                  </a:cubicBezTo>
                  <a:lnTo>
                    <a:pt x="6145" y="8817"/>
                  </a:lnTo>
                  <a:close/>
                  <a:moveTo>
                    <a:pt x="5837" y="8717"/>
                  </a:moveTo>
                  <a:cubicBezTo>
                    <a:pt x="5460" y="8660"/>
                    <a:pt x="5460" y="8660"/>
                    <a:pt x="5460" y="8660"/>
                  </a:cubicBezTo>
                  <a:cubicBezTo>
                    <a:pt x="5459" y="8652"/>
                    <a:pt x="5459" y="8645"/>
                    <a:pt x="5458" y="8638"/>
                  </a:cubicBezTo>
                  <a:cubicBezTo>
                    <a:pt x="5454" y="8608"/>
                    <a:pt x="5448" y="8568"/>
                    <a:pt x="5441" y="8526"/>
                  </a:cubicBezTo>
                  <a:cubicBezTo>
                    <a:pt x="5474" y="8530"/>
                    <a:pt x="5569" y="8546"/>
                    <a:pt x="5659" y="8562"/>
                  </a:cubicBezTo>
                  <a:cubicBezTo>
                    <a:pt x="5754" y="8579"/>
                    <a:pt x="5847" y="8595"/>
                    <a:pt x="5867" y="8599"/>
                  </a:cubicBezTo>
                  <a:cubicBezTo>
                    <a:pt x="5857" y="8638"/>
                    <a:pt x="5847" y="8678"/>
                    <a:pt x="5837" y="8717"/>
                  </a:cubicBezTo>
                  <a:close/>
                  <a:moveTo>
                    <a:pt x="5834" y="8731"/>
                  </a:moveTo>
                  <a:cubicBezTo>
                    <a:pt x="5826" y="8762"/>
                    <a:pt x="5818" y="8792"/>
                    <a:pt x="5811" y="8820"/>
                  </a:cubicBezTo>
                  <a:cubicBezTo>
                    <a:pt x="5789" y="8816"/>
                    <a:pt x="5494" y="8763"/>
                    <a:pt x="5467" y="8756"/>
                  </a:cubicBezTo>
                  <a:cubicBezTo>
                    <a:pt x="5467" y="8730"/>
                    <a:pt x="5465" y="8702"/>
                    <a:pt x="5462" y="8674"/>
                  </a:cubicBezTo>
                  <a:lnTo>
                    <a:pt x="5834" y="8731"/>
                  </a:lnTo>
                  <a:close/>
                  <a:moveTo>
                    <a:pt x="5467" y="8770"/>
                  </a:moveTo>
                  <a:cubicBezTo>
                    <a:pt x="5470" y="8771"/>
                    <a:pt x="5473" y="8772"/>
                    <a:pt x="5477" y="8772"/>
                  </a:cubicBezTo>
                  <a:cubicBezTo>
                    <a:pt x="5487" y="8774"/>
                    <a:pt x="5500" y="8777"/>
                    <a:pt x="5517" y="8780"/>
                  </a:cubicBezTo>
                  <a:cubicBezTo>
                    <a:pt x="5549" y="8786"/>
                    <a:pt x="5593" y="8794"/>
                    <a:pt x="5636" y="8802"/>
                  </a:cubicBezTo>
                  <a:cubicBezTo>
                    <a:pt x="5715" y="8817"/>
                    <a:pt x="5793" y="8831"/>
                    <a:pt x="5808" y="8834"/>
                  </a:cubicBezTo>
                  <a:cubicBezTo>
                    <a:pt x="5803" y="8852"/>
                    <a:pt x="5798" y="8871"/>
                    <a:pt x="5794" y="8887"/>
                  </a:cubicBezTo>
                  <a:cubicBezTo>
                    <a:pt x="5789" y="8907"/>
                    <a:pt x="5784" y="8925"/>
                    <a:pt x="5780" y="8941"/>
                  </a:cubicBezTo>
                  <a:cubicBezTo>
                    <a:pt x="5781" y="8937"/>
                    <a:pt x="5781" y="8937"/>
                    <a:pt x="5781" y="8937"/>
                  </a:cubicBezTo>
                  <a:cubicBezTo>
                    <a:pt x="5780" y="8937"/>
                    <a:pt x="5521" y="8893"/>
                    <a:pt x="5448" y="8881"/>
                  </a:cubicBezTo>
                  <a:cubicBezTo>
                    <a:pt x="5462" y="8848"/>
                    <a:pt x="5467" y="8810"/>
                    <a:pt x="5467" y="8770"/>
                  </a:cubicBezTo>
                  <a:close/>
                  <a:moveTo>
                    <a:pt x="5782" y="8987"/>
                  </a:moveTo>
                  <a:cubicBezTo>
                    <a:pt x="5785" y="8977"/>
                    <a:pt x="5789" y="8962"/>
                    <a:pt x="5794" y="8943"/>
                  </a:cubicBezTo>
                  <a:cubicBezTo>
                    <a:pt x="5804" y="8906"/>
                    <a:pt x="5817" y="8854"/>
                    <a:pt x="5832" y="8796"/>
                  </a:cubicBezTo>
                  <a:cubicBezTo>
                    <a:pt x="5833" y="8793"/>
                    <a:pt x="5833" y="8789"/>
                    <a:pt x="5834" y="8786"/>
                  </a:cubicBezTo>
                  <a:cubicBezTo>
                    <a:pt x="6140" y="8830"/>
                    <a:pt x="6140" y="8830"/>
                    <a:pt x="6140" y="8830"/>
                  </a:cubicBezTo>
                  <a:cubicBezTo>
                    <a:pt x="6104" y="8931"/>
                    <a:pt x="6104" y="8931"/>
                    <a:pt x="6104" y="8931"/>
                  </a:cubicBezTo>
                  <a:cubicBezTo>
                    <a:pt x="5812" y="8879"/>
                    <a:pt x="5812" y="8879"/>
                    <a:pt x="5812" y="8879"/>
                  </a:cubicBezTo>
                  <a:cubicBezTo>
                    <a:pt x="5809" y="8892"/>
                    <a:pt x="5809" y="8892"/>
                    <a:pt x="5809" y="8892"/>
                  </a:cubicBezTo>
                  <a:cubicBezTo>
                    <a:pt x="6099" y="8944"/>
                    <a:pt x="6099" y="8944"/>
                    <a:pt x="6099" y="8944"/>
                  </a:cubicBezTo>
                  <a:cubicBezTo>
                    <a:pt x="6057" y="9062"/>
                    <a:pt x="6057" y="9062"/>
                    <a:pt x="6057" y="9062"/>
                  </a:cubicBezTo>
                  <a:cubicBezTo>
                    <a:pt x="5779" y="9000"/>
                    <a:pt x="5779" y="9000"/>
                    <a:pt x="5779" y="9000"/>
                  </a:cubicBezTo>
                  <a:cubicBezTo>
                    <a:pt x="5777" y="9010"/>
                    <a:pt x="5777" y="9010"/>
                    <a:pt x="5777" y="9010"/>
                  </a:cubicBezTo>
                  <a:cubicBezTo>
                    <a:pt x="5777" y="9008"/>
                    <a:pt x="5776" y="9006"/>
                    <a:pt x="5776" y="9005"/>
                  </a:cubicBezTo>
                  <a:cubicBezTo>
                    <a:pt x="5776" y="9004"/>
                    <a:pt x="5776" y="9004"/>
                    <a:pt x="5776" y="9004"/>
                  </a:cubicBezTo>
                  <a:cubicBezTo>
                    <a:pt x="5777" y="9002"/>
                    <a:pt x="5777" y="9001"/>
                    <a:pt x="5778" y="9000"/>
                  </a:cubicBezTo>
                  <a:cubicBezTo>
                    <a:pt x="5779" y="8997"/>
                    <a:pt x="5780" y="8993"/>
                    <a:pt x="5782" y="8987"/>
                  </a:cubicBezTo>
                  <a:close/>
                  <a:moveTo>
                    <a:pt x="6052" y="9075"/>
                  </a:moveTo>
                  <a:cubicBezTo>
                    <a:pt x="6011" y="9189"/>
                    <a:pt x="6011" y="9189"/>
                    <a:pt x="6011" y="9189"/>
                  </a:cubicBezTo>
                  <a:cubicBezTo>
                    <a:pt x="5824" y="9155"/>
                    <a:pt x="5824" y="9155"/>
                    <a:pt x="5824" y="9155"/>
                  </a:cubicBezTo>
                  <a:cubicBezTo>
                    <a:pt x="5821" y="9145"/>
                    <a:pt x="5811" y="9116"/>
                    <a:pt x="5801" y="9086"/>
                  </a:cubicBezTo>
                  <a:cubicBezTo>
                    <a:pt x="5791" y="9059"/>
                    <a:pt x="5782" y="9030"/>
                    <a:pt x="5778" y="9014"/>
                  </a:cubicBezTo>
                  <a:lnTo>
                    <a:pt x="6052" y="9075"/>
                  </a:lnTo>
                  <a:close/>
                  <a:moveTo>
                    <a:pt x="5755" y="9357"/>
                  </a:moveTo>
                  <a:cubicBezTo>
                    <a:pt x="5381" y="9309"/>
                    <a:pt x="5381" y="9309"/>
                    <a:pt x="5381" y="9309"/>
                  </a:cubicBezTo>
                  <a:cubicBezTo>
                    <a:pt x="5379" y="9303"/>
                    <a:pt x="5377" y="9297"/>
                    <a:pt x="5374" y="9292"/>
                  </a:cubicBezTo>
                  <a:cubicBezTo>
                    <a:pt x="5350" y="9232"/>
                    <a:pt x="5325" y="9181"/>
                    <a:pt x="5322" y="9168"/>
                  </a:cubicBezTo>
                  <a:cubicBezTo>
                    <a:pt x="5321" y="9162"/>
                    <a:pt x="5318" y="9155"/>
                    <a:pt x="5315" y="9149"/>
                  </a:cubicBezTo>
                  <a:cubicBezTo>
                    <a:pt x="5434" y="9172"/>
                    <a:pt x="5752" y="9232"/>
                    <a:pt x="5790" y="9237"/>
                  </a:cubicBezTo>
                  <a:lnTo>
                    <a:pt x="5755" y="9357"/>
                  </a:lnTo>
                  <a:close/>
                  <a:moveTo>
                    <a:pt x="5333" y="9309"/>
                  </a:moveTo>
                  <a:cubicBezTo>
                    <a:pt x="5356" y="9367"/>
                    <a:pt x="5380" y="9436"/>
                    <a:pt x="5384" y="9494"/>
                  </a:cubicBezTo>
                  <a:cubicBezTo>
                    <a:pt x="5385" y="9506"/>
                    <a:pt x="5385" y="9521"/>
                    <a:pt x="5385" y="9539"/>
                  </a:cubicBezTo>
                  <a:cubicBezTo>
                    <a:pt x="5385" y="9575"/>
                    <a:pt x="5384" y="9620"/>
                    <a:pt x="5381" y="9669"/>
                  </a:cubicBezTo>
                  <a:cubicBezTo>
                    <a:pt x="5350" y="9669"/>
                    <a:pt x="5251" y="9671"/>
                    <a:pt x="5124" y="9674"/>
                  </a:cubicBezTo>
                  <a:cubicBezTo>
                    <a:pt x="4968" y="9218"/>
                    <a:pt x="4968" y="9218"/>
                    <a:pt x="4968" y="9218"/>
                  </a:cubicBezTo>
                  <a:cubicBezTo>
                    <a:pt x="5076" y="9200"/>
                    <a:pt x="5163" y="9155"/>
                    <a:pt x="5233" y="9106"/>
                  </a:cubicBezTo>
                  <a:cubicBezTo>
                    <a:pt x="5237" y="9111"/>
                    <a:pt x="5242" y="9117"/>
                    <a:pt x="5247" y="9124"/>
                  </a:cubicBezTo>
                  <a:cubicBezTo>
                    <a:pt x="5261" y="9142"/>
                    <a:pt x="5276" y="9166"/>
                    <a:pt x="5279" y="9179"/>
                  </a:cubicBezTo>
                  <a:cubicBezTo>
                    <a:pt x="5285" y="9204"/>
                    <a:pt x="5309" y="9250"/>
                    <a:pt x="5333" y="9309"/>
                  </a:cubicBezTo>
                  <a:close/>
                  <a:moveTo>
                    <a:pt x="5171" y="9687"/>
                  </a:moveTo>
                  <a:cubicBezTo>
                    <a:pt x="5158" y="10074"/>
                    <a:pt x="5158" y="10074"/>
                    <a:pt x="5158" y="10074"/>
                  </a:cubicBezTo>
                  <a:cubicBezTo>
                    <a:pt x="5083" y="10086"/>
                    <a:pt x="5009" y="10100"/>
                    <a:pt x="4934" y="10115"/>
                  </a:cubicBezTo>
                  <a:cubicBezTo>
                    <a:pt x="4915" y="9692"/>
                    <a:pt x="4915" y="9692"/>
                    <a:pt x="4915" y="9692"/>
                  </a:cubicBezTo>
                  <a:cubicBezTo>
                    <a:pt x="5006" y="9690"/>
                    <a:pt x="5095" y="9689"/>
                    <a:pt x="5171" y="9687"/>
                  </a:cubicBezTo>
                  <a:close/>
                  <a:moveTo>
                    <a:pt x="4920" y="10118"/>
                  </a:moveTo>
                  <a:cubicBezTo>
                    <a:pt x="4891" y="10124"/>
                    <a:pt x="4862" y="10131"/>
                    <a:pt x="4832" y="10138"/>
                  </a:cubicBezTo>
                  <a:cubicBezTo>
                    <a:pt x="4803" y="10145"/>
                    <a:pt x="4772" y="10152"/>
                    <a:pt x="4741" y="10160"/>
                  </a:cubicBezTo>
                  <a:cubicBezTo>
                    <a:pt x="4656" y="9698"/>
                    <a:pt x="4656" y="9698"/>
                    <a:pt x="4656" y="9698"/>
                  </a:cubicBezTo>
                  <a:cubicBezTo>
                    <a:pt x="4721" y="9696"/>
                    <a:pt x="4790" y="9695"/>
                    <a:pt x="4860" y="9694"/>
                  </a:cubicBezTo>
                  <a:cubicBezTo>
                    <a:pt x="4874" y="9693"/>
                    <a:pt x="4887" y="9693"/>
                    <a:pt x="4901" y="9693"/>
                  </a:cubicBezTo>
                  <a:lnTo>
                    <a:pt x="4920" y="10118"/>
                  </a:lnTo>
                  <a:close/>
                  <a:moveTo>
                    <a:pt x="4847" y="10202"/>
                  </a:moveTo>
                  <a:cubicBezTo>
                    <a:pt x="4875" y="10195"/>
                    <a:pt x="4904" y="10189"/>
                    <a:pt x="4933" y="10183"/>
                  </a:cubicBezTo>
                  <a:cubicBezTo>
                    <a:pt x="4939" y="10239"/>
                    <a:pt x="4958" y="10399"/>
                    <a:pt x="4980" y="10591"/>
                  </a:cubicBezTo>
                  <a:cubicBezTo>
                    <a:pt x="4950" y="10593"/>
                    <a:pt x="4889" y="10599"/>
                    <a:pt x="4815" y="10605"/>
                  </a:cubicBezTo>
                  <a:cubicBezTo>
                    <a:pt x="4722" y="10232"/>
                    <a:pt x="4722" y="10232"/>
                    <a:pt x="4722" y="10232"/>
                  </a:cubicBezTo>
                  <a:cubicBezTo>
                    <a:pt x="4765" y="10221"/>
                    <a:pt x="4807" y="10211"/>
                    <a:pt x="4847" y="10202"/>
                  </a:cubicBezTo>
                  <a:close/>
                  <a:moveTo>
                    <a:pt x="4861" y="10949"/>
                  </a:moveTo>
                  <a:cubicBezTo>
                    <a:pt x="4803" y="10959"/>
                    <a:pt x="4741" y="10969"/>
                    <a:pt x="4695" y="10977"/>
                  </a:cubicBezTo>
                  <a:cubicBezTo>
                    <a:pt x="4581" y="10640"/>
                    <a:pt x="4581" y="10640"/>
                    <a:pt x="4581" y="10640"/>
                  </a:cubicBezTo>
                  <a:cubicBezTo>
                    <a:pt x="4607" y="10638"/>
                    <a:pt x="4634" y="10635"/>
                    <a:pt x="4661" y="10633"/>
                  </a:cubicBezTo>
                  <a:cubicBezTo>
                    <a:pt x="4710" y="10629"/>
                    <a:pt x="4759" y="10624"/>
                    <a:pt x="4804" y="10620"/>
                  </a:cubicBezTo>
                  <a:lnTo>
                    <a:pt x="4861" y="10949"/>
                  </a:lnTo>
                  <a:close/>
                  <a:moveTo>
                    <a:pt x="4681" y="10980"/>
                  </a:moveTo>
                  <a:cubicBezTo>
                    <a:pt x="4670" y="10982"/>
                    <a:pt x="4659" y="10984"/>
                    <a:pt x="4651" y="10985"/>
                  </a:cubicBezTo>
                  <a:cubicBezTo>
                    <a:pt x="4636" y="10988"/>
                    <a:pt x="4627" y="10990"/>
                    <a:pt x="4618" y="10993"/>
                  </a:cubicBezTo>
                  <a:cubicBezTo>
                    <a:pt x="4602" y="11000"/>
                    <a:pt x="4579" y="11011"/>
                    <a:pt x="4557" y="11031"/>
                  </a:cubicBezTo>
                  <a:cubicBezTo>
                    <a:pt x="4547" y="11041"/>
                    <a:pt x="4537" y="11053"/>
                    <a:pt x="4529" y="11067"/>
                  </a:cubicBezTo>
                  <a:cubicBezTo>
                    <a:pt x="4136" y="10994"/>
                    <a:pt x="4136" y="10994"/>
                    <a:pt x="4136" y="10994"/>
                  </a:cubicBezTo>
                  <a:cubicBezTo>
                    <a:pt x="4241" y="10696"/>
                    <a:pt x="4241" y="10696"/>
                    <a:pt x="4241" y="10696"/>
                  </a:cubicBezTo>
                  <a:cubicBezTo>
                    <a:pt x="4255" y="10690"/>
                    <a:pt x="4310" y="10667"/>
                    <a:pt x="4317" y="10664"/>
                  </a:cubicBezTo>
                  <a:cubicBezTo>
                    <a:pt x="4317" y="10664"/>
                    <a:pt x="4317" y="10664"/>
                    <a:pt x="4317" y="10664"/>
                  </a:cubicBezTo>
                  <a:cubicBezTo>
                    <a:pt x="4318" y="10664"/>
                    <a:pt x="4318" y="10664"/>
                    <a:pt x="4319" y="10664"/>
                  </a:cubicBezTo>
                  <a:cubicBezTo>
                    <a:pt x="4320" y="10664"/>
                    <a:pt x="4322" y="10664"/>
                    <a:pt x="4325" y="10663"/>
                  </a:cubicBezTo>
                  <a:cubicBezTo>
                    <a:pt x="4330" y="10663"/>
                    <a:pt x="4338" y="10662"/>
                    <a:pt x="4348" y="10661"/>
                  </a:cubicBezTo>
                  <a:cubicBezTo>
                    <a:pt x="4367" y="10659"/>
                    <a:pt x="4394" y="10657"/>
                    <a:pt x="4426" y="10654"/>
                  </a:cubicBezTo>
                  <a:cubicBezTo>
                    <a:pt x="4466" y="10650"/>
                    <a:pt x="4515" y="10646"/>
                    <a:pt x="4567" y="10641"/>
                  </a:cubicBezTo>
                  <a:lnTo>
                    <a:pt x="4681" y="10980"/>
                  </a:lnTo>
                  <a:close/>
                  <a:moveTo>
                    <a:pt x="4517" y="11111"/>
                  </a:moveTo>
                  <a:cubicBezTo>
                    <a:pt x="4517" y="11115"/>
                    <a:pt x="4516" y="11118"/>
                    <a:pt x="4516" y="11122"/>
                  </a:cubicBezTo>
                  <a:cubicBezTo>
                    <a:pt x="4516" y="11152"/>
                    <a:pt x="4527" y="11184"/>
                    <a:pt x="4550" y="11218"/>
                  </a:cubicBezTo>
                  <a:cubicBezTo>
                    <a:pt x="4619" y="11320"/>
                    <a:pt x="4991" y="11796"/>
                    <a:pt x="5058" y="11881"/>
                  </a:cubicBezTo>
                  <a:cubicBezTo>
                    <a:pt x="5040" y="11942"/>
                    <a:pt x="4993" y="12013"/>
                    <a:pt x="4944" y="12084"/>
                  </a:cubicBezTo>
                  <a:cubicBezTo>
                    <a:pt x="4942" y="12082"/>
                    <a:pt x="4940" y="12081"/>
                    <a:pt x="4938" y="12079"/>
                  </a:cubicBezTo>
                  <a:cubicBezTo>
                    <a:pt x="4922" y="12068"/>
                    <a:pt x="4899" y="12052"/>
                    <a:pt x="4872" y="12032"/>
                  </a:cubicBezTo>
                  <a:cubicBezTo>
                    <a:pt x="4819" y="11993"/>
                    <a:pt x="4747" y="11940"/>
                    <a:pt x="4672" y="11885"/>
                  </a:cubicBezTo>
                  <a:cubicBezTo>
                    <a:pt x="4524" y="11776"/>
                    <a:pt x="4367" y="11660"/>
                    <a:pt x="4330" y="11633"/>
                  </a:cubicBezTo>
                  <a:cubicBezTo>
                    <a:pt x="4325" y="11630"/>
                    <a:pt x="4324" y="11629"/>
                    <a:pt x="4322" y="11628"/>
                  </a:cubicBezTo>
                  <a:cubicBezTo>
                    <a:pt x="3964" y="11089"/>
                    <a:pt x="3964" y="11089"/>
                    <a:pt x="3964" y="11089"/>
                  </a:cubicBezTo>
                  <a:cubicBezTo>
                    <a:pt x="4132" y="11039"/>
                    <a:pt x="4132" y="11039"/>
                    <a:pt x="4132" y="11039"/>
                  </a:cubicBezTo>
                  <a:lnTo>
                    <a:pt x="4517" y="11111"/>
                  </a:lnTo>
                  <a:close/>
                  <a:moveTo>
                    <a:pt x="4395" y="12735"/>
                  </a:moveTo>
                  <a:cubicBezTo>
                    <a:pt x="4395" y="12756"/>
                    <a:pt x="4392" y="12861"/>
                    <a:pt x="4392" y="12921"/>
                  </a:cubicBezTo>
                  <a:cubicBezTo>
                    <a:pt x="4392" y="12932"/>
                    <a:pt x="4392" y="12942"/>
                    <a:pt x="4393" y="12949"/>
                  </a:cubicBezTo>
                  <a:cubicBezTo>
                    <a:pt x="4315" y="12927"/>
                    <a:pt x="4315" y="12927"/>
                    <a:pt x="4315" y="12927"/>
                  </a:cubicBezTo>
                  <a:cubicBezTo>
                    <a:pt x="4315" y="12896"/>
                    <a:pt x="4300" y="12870"/>
                    <a:pt x="4286" y="12848"/>
                  </a:cubicBezTo>
                  <a:cubicBezTo>
                    <a:pt x="4273" y="12829"/>
                    <a:pt x="4260" y="12813"/>
                    <a:pt x="4256" y="12809"/>
                  </a:cubicBezTo>
                  <a:cubicBezTo>
                    <a:pt x="4256" y="12808"/>
                    <a:pt x="4255" y="12808"/>
                    <a:pt x="4255" y="12808"/>
                  </a:cubicBezTo>
                  <a:cubicBezTo>
                    <a:pt x="4255" y="12807"/>
                    <a:pt x="4255" y="12807"/>
                    <a:pt x="4255" y="12807"/>
                  </a:cubicBezTo>
                  <a:cubicBezTo>
                    <a:pt x="4254" y="12805"/>
                    <a:pt x="4253" y="12805"/>
                    <a:pt x="4253" y="12804"/>
                  </a:cubicBezTo>
                  <a:cubicBezTo>
                    <a:pt x="4252" y="12804"/>
                    <a:pt x="4252" y="12803"/>
                    <a:pt x="4251" y="12803"/>
                  </a:cubicBezTo>
                  <a:cubicBezTo>
                    <a:pt x="4251" y="12802"/>
                    <a:pt x="4250" y="12802"/>
                    <a:pt x="4250" y="12802"/>
                  </a:cubicBezTo>
                  <a:cubicBezTo>
                    <a:pt x="4248" y="12800"/>
                    <a:pt x="4247" y="12799"/>
                    <a:pt x="4245" y="12798"/>
                  </a:cubicBezTo>
                  <a:cubicBezTo>
                    <a:pt x="4241" y="12794"/>
                    <a:pt x="4235" y="12790"/>
                    <a:pt x="4228" y="12784"/>
                  </a:cubicBezTo>
                  <a:cubicBezTo>
                    <a:pt x="4214" y="12772"/>
                    <a:pt x="4195" y="12756"/>
                    <a:pt x="4173" y="12736"/>
                  </a:cubicBezTo>
                  <a:cubicBezTo>
                    <a:pt x="4103" y="12674"/>
                    <a:pt x="4007" y="12586"/>
                    <a:pt x="3985" y="12565"/>
                  </a:cubicBezTo>
                  <a:cubicBezTo>
                    <a:pt x="3989" y="12554"/>
                    <a:pt x="3993" y="12544"/>
                    <a:pt x="3996" y="12534"/>
                  </a:cubicBezTo>
                  <a:cubicBezTo>
                    <a:pt x="4011" y="12494"/>
                    <a:pt x="4042" y="12379"/>
                    <a:pt x="4052" y="12349"/>
                  </a:cubicBezTo>
                  <a:cubicBezTo>
                    <a:pt x="4064" y="12315"/>
                    <a:pt x="4076" y="12262"/>
                    <a:pt x="4113" y="12219"/>
                  </a:cubicBezTo>
                  <a:cubicBezTo>
                    <a:pt x="4128" y="12201"/>
                    <a:pt x="4150" y="12178"/>
                    <a:pt x="4171" y="12159"/>
                  </a:cubicBezTo>
                  <a:cubicBezTo>
                    <a:pt x="4172" y="12158"/>
                    <a:pt x="4173" y="12157"/>
                    <a:pt x="4174" y="12156"/>
                  </a:cubicBezTo>
                  <a:cubicBezTo>
                    <a:pt x="4266" y="12374"/>
                    <a:pt x="4266" y="12374"/>
                    <a:pt x="4266" y="12374"/>
                  </a:cubicBezTo>
                  <a:cubicBezTo>
                    <a:pt x="4209" y="12416"/>
                    <a:pt x="4209" y="12416"/>
                    <a:pt x="4209" y="12416"/>
                  </a:cubicBezTo>
                  <a:cubicBezTo>
                    <a:pt x="4301" y="12577"/>
                    <a:pt x="4301" y="12577"/>
                    <a:pt x="4301" y="12577"/>
                  </a:cubicBezTo>
                  <a:cubicBezTo>
                    <a:pt x="4289" y="12642"/>
                    <a:pt x="4289" y="12642"/>
                    <a:pt x="4289" y="12642"/>
                  </a:cubicBezTo>
                  <a:lnTo>
                    <a:pt x="4395" y="12735"/>
                  </a:lnTo>
                  <a:close/>
                  <a:moveTo>
                    <a:pt x="3616" y="12776"/>
                  </a:moveTo>
                  <a:cubicBezTo>
                    <a:pt x="3620" y="12781"/>
                    <a:pt x="3620" y="12781"/>
                    <a:pt x="3620" y="12781"/>
                  </a:cubicBezTo>
                  <a:cubicBezTo>
                    <a:pt x="3620" y="12781"/>
                    <a:pt x="3629" y="12796"/>
                    <a:pt x="3629" y="12796"/>
                  </a:cubicBezTo>
                  <a:cubicBezTo>
                    <a:pt x="3646" y="12792"/>
                    <a:pt x="3682" y="12783"/>
                    <a:pt x="3725" y="12769"/>
                  </a:cubicBezTo>
                  <a:cubicBezTo>
                    <a:pt x="3724" y="12956"/>
                    <a:pt x="3724" y="12956"/>
                    <a:pt x="3724" y="12956"/>
                  </a:cubicBezTo>
                  <a:cubicBezTo>
                    <a:pt x="3684" y="13059"/>
                    <a:pt x="3684" y="13059"/>
                    <a:pt x="3684" y="13059"/>
                  </a:cubicBezTo>
                  <a:cubicBezTo>
                    <a:pt x="3628" y="13037"/>
                    <a:pt x="3628" y="13037"/>
                    <a:pt x="3628" y="13037"/>
                  </a:cubicBezTo>
                  <a:cubicBezTo>
                    <a:pt x="3631" y="13031"/>
                    <a:pt x="3635" y="13024"/>
                    <a:pt x="3637" y="13017"/>
                  </a:cubicBezTo>
                  <a:cubicBezTo>
                    <a:pt x="3651" y="12977"/>
                    <a:pt x="3658" y="12941"/>
                    <a:pt x="3658" y="12907"/>
                  </a:cubicBezTo>
                  <a:cubicBezTo>
                    <a:pt x="3658" y="12856"/>
                    <a:pt x="3642" y="12814"/>
                    <a:pt x="3616" y="12776"/>
                  </a:cubicBezTo>
                  <a:close/>
                  <a:moveTo>
                    <a:pt x="3481" y="12331"/>
                  </a:moveTo>
                  <a:cubicBezTo>
                    <a:pt x="3609" y="12227"/>
                    <a:pt x="3609" y="12227"/>
                    <a:pt x="3609" y="12227"/>
                  </a:cubicBezTo>
                  <a:cubicBezTo>
                    <a:pt x="3777" y="12397"/>
                    <a:pt x="3777" y="12397"/>
                    <a:pt x="3777" y="12397"/>
                  </a:cubicBezTo>
                  <a:cubicBezTo>
                    <a:pt x="3857" y="12661"/>
                    <a:pt x="3857" y="12661"/>
                    <a:pt x="3857" y="12661"/>
                  </a:cubicBezTo>
                  <a:cubicBezTo>
                    <a:pt x="3824" y="12685"/>
                    <a:pt x="3764" y="12709"/>
                    <a:pt x="3712" y="12726"/>
                  </a:cubicBezTo>
                  <a:cubicBezTo>
                    <a:pt x="3654" y="12744"/>
                    <a:pt x="3609" y="12757"/>
                    <a:pt x="3609" y="12757"/>
                  </a:cubicBezTo>
                  <a:cubicBezTo>
                    <a:pt x="3604" y="12759"/>
                    <a:pt x="3604" y="12759"/>
                    <a:pt x="3604" y="12759"/>
                  </a:cubicBezTo>
                  <a:cubicBezTo>
                    <a:pt x="3598" y="12751"/>
                    <a:pt x="3593" y="12744"/>
                    <a:pt x="3587" y="12738"/>
                  </a:cubicBezTo>
                  <a:cubicBezTo>
                    <a:pt x="3589" y="12740"/>
                    <a:pt x="3589" y="12740"/>
                    <a:pt x="3589" y="12740"/>
                  </a:cubicBezTo>
                  <a:lnTo>
                    <a:pt x="3481" y="12331"/>
                  </a:lnTo>
                  <a:close/>
                  <a:moveTo>
                    <a:pt x="3418" y="11630"/>
                  </a:moveTo>
                  <a:cubicBezTo>
                    <a:pt x="3361" y="11699"/>
                    <a:pt x="3361" y="11699"/>
                    <a:pt x="3361" y="11699"/>
                  </a:cubicBezTo>
                  <a:cubicBezTo>
                    <a:pt x="3262" y="11619"/>
                    <a:pt x="3262" y="11619"/>
                    <a:pt x="3262" y="11619"/>
                  </a:cubicBezTo>
                  <a:cubicBezTo>
                    <a:pt x="3276" y="11598"/>
                    <a:pt x="3276" y="11598"/>
                    <a:pt x="3276" y="11598"/>
                  </a:cubicBezTo>
                  <a:cubicBezTo>
                    <a:pt x="3283" y="11589"/>
                    <a:pt x="3283" y="11589"/>
                    <a:pt x="3283" y="11589"/>
                  </a:cubicBezTo>
                  <a:cubicBezTo>
                    <a:pt x="3345" y="11512"/>
                    <a:pt x="3345" y="11512"/>
                    <a:pt x="3345" y="11512"/>
                  </a:cubicBezTo>
                  <a:cubicBezTo>
                    <a:pt x="3439" y="11588"/>
                    <a:pt x="3439" y="11588"/>
                    <a:pt x="3439" y="11588"/>
                  </a:cubicBezTo>
                  <a:cubicBezTo>
                    <a:pt x="3421" y="11617"/>
                    <a:pt x="3421" y="11617"/>
                    <a:pt x="3421" y="11617"/>
                  </a:cubicBezTo>
                  <a:cubicBezTo>
                    <a:pt x="3415" y="11627"/>
                    <a:pt x="3415" y="11627"/>
                    <a:pt x="3415" y="11627"/>
                  </a:cubicBezTo>
                  <a:lnTo>
                    <a:pt x="3418" y="11630"/>
                  </a:lnTo>
                  <a:close/>
                  <a:moveTo>
                    <a:pt x="3433" y="11643"/>
                  </a:moveTo>
                  <a:cubicBezTo>
                    <a:pt x="3530" y="11722"/>
                    <a:pt x="3530" y="11722"/>
                    <a:pt x="3530" y="11722"/>
                  </a:cubicBezTo>
                  <a:cubicBezTo>
                    <a:pt x="3446" y="11827"/>
                    <a:pt x="3446" y="11827"/>
                    <a:pt x="3446" y="11827"/>
                  </a:cubicBezTo>
                  <a:cubicBezTo>
                    <a:pt x="3349" y="11748"/>
                    <a:pt x="3349" y="11748"/>
                    <a:pt x="3349" y="11748"/>
                  </a:cubicBezTo>
                  <a:cubicBezTo>
                    <a:pt x="3349" y="11748"/>
                    <a:pt x="3349" y="11748"/>
                    <a:pt x="3349" y="11748"/>
                  </a:cubicBezTo>
                  <a:lnTo>
                    <a:pt x="3433" y="11643"/>
                  </a:lnTo>
                  <a:close/>
                  <a:moveTo>
                    <a:pt x="3450" y="11849"/>
                  </a:moveTo>
                  <a:cubicBezTo>
                    <a:pt x="3549" y="11930"/>
                    <a:pt x="3549" y="11930"/>
                    <a:pt x="3549" y="11930"/>
                  </a:cubicBezTo>
                  <a:cubicBezTo>
                    <a:pt x="3548" y="11931"/>
                    <a:pt x="3548" y="11931"/>
                    <a:pt x="3548" y="11931"/>
                  </a:cubicBezTo>
                  <a:cubicBezTo>
                    <a:pt x="3553" y="11934"/>
                    <a:pt x="3553" y="11934"/>
                    <a:pt x="3553" y="11934"/>
                  </a:cubicBezTo>
                  <a:cubicBezTo>
                    <a:pt x="3520" y="11974"/>
                    <a:pt x="3520" y="11974"/>
                    <a:pt x="3520" y="11974"/>
                  </a:cubicBezTo>
                  <a:cubicBezTo>
                    <a:pt x="3522" y="11976"/>
                    <a:pt x="3522" y="11976"/>
                    <a:pt x="3522" y="11976"/>
                  </a:cubicBezTo>
                  <a:cubicBezTo>
                    <a:pt x="3493" y="12013"/>
                    <a:pt x="3493" y="12013"/>
                    <a:pt x="3493" y="12013"/>
                  </a:cubicBezTo>
                  <a:cubicBezTo>
                    <a:pt x="3406" y="11903"/>
                    <a:pt x="3406" y="11903"/>
                    <a:pt x="3406" y="11903"/>
                  </a:cubicBezTo>
                  <a:lnTo>
                    <a:pt x="3450" y="11849"/>
                  </a:lnTo>
                  <a:close/>
                  <a:moveTo>
                    <a:pt x="3833" y="12315"/>
                  </a:moveTo>
                  <a:cubicBezTo>
                    <a:pt x="3900" y="12229"/>
                    <a:pt x="3900" y="12229"/>
                    <a:pt x="3900" y="12229"/>
                  </a:cubicBezTo>
                  <a:cubicBezTo>
                    <a:pt x="3993" y="12304"/>
                    <a:pt x="3993" y="12304"/>
                    <a:pt x="3993" y="12304"/>
                  </a:cubicBezTo>
                  <a:cubicBezTo>
                    <a:pt x="3908" y="12410"/>
                    <a:pt x="3908" y="12410"/>
                    <a:pt x="3908" y="12410"/>
                  </a:cubicBezTo>
                  <a:cubicBezTo>
                    <a:pt x="3819" y="12338"/>
                    <a:pt x="3819" y="12338"/>
                    <a:pt x="3819" y="12338"/>
                  </a:cubicBezTo>
                  <a:cubicBezTo>
                    <a:pt x="3827" y="12326"/>
                    <a:pt x="3827" y="12326"/>
                    <a:pt x="3827" y="12326"/>
                  </a:cubicBezTo>
                  <a:cubicBezTo>
                    <a:pt x="3834" y="12316"/>
                    <a:pt x="3834" y="12316"/>
                    <a:pt x="3834" y="12316"/>
                  </a:cubicBezTo>
                  <a:lnTo>
                    <a:pt x="3833" y="12315"/>
                  </a:lnTo>
                  <a:close/>
                  <a:moveTo>
                    <a:pt x="3891" y="12205"/>
                  </a:moveTo>
                  <a:cubicBezTo>
                    <a:pt x="3884" y="12216"/>
                    <a:pt x="3884" y="12216"/>
                    <a:pt x="3884" y="12216"/>
                  </a:cubicBezTo>
                  <a:cubicBezTo>
                    <a:pt x="3887" y="12218"/>
                    <a:pt x="3887" y="12218"/>
                    <a:pt x="3887" y="12218"/>
                  </a:cubicBezTo>
                  <a:cubicBezTo>
                    <a:pt x="3820" y="12304"/>
                    <a:pt x="3820" y="12304"/>
                    <a:pt x="3820" y="12304"/>
                  </a:cubicBezTo>
                  <a:cubicBezTo>
                    <a:pt x="3725" y="12224"/>
                    <a:pt x="3725" y="12224"/>
                    <a:pt x="3725" y="12224"/>
                  </a:cubicBezTo>
                  <a:cubicBezTo>
                    <a:pt x="3734" y="12208"/>
                    <a:pt x="3734" y="12208"/>
                    <a:pt x="3734" y="12208"/>
                  </a:cubicBezTo>
                  <a:cubicBezTo>
                    <a:pt x="3735" y="12204"/>
                    <a:pt x="3735" y="12204"/>
                    <a:pt x="3735" y="12204"/>
                  </a:cubicBezTo>
                  <a:cubicBezTo>
                    <a:pt x="3805" y="12114"/>
                    <a:pt x="3805" y="12114"/>
                    <a:pt x="3805" y="12114"/>
                  </a:cubicBezTo>
                  <a:cubicBezTo>
                    <a:pt x="3899" y="12194"/>
                    <a:pt x="3899" y="12194"/>
                    <a:pt x="3899" y="12194"/>
                  </a:cubicBezTo>
                  <a:lnTo>
                    <a:pt x="3891" y="12205"/>
                  </a:lnTo>
                  <a:close/>
                  <a:moveTo>
                    <a:pt x="3798" y="12093"/>
                  </a:moveTo>
                  <a:cubicBezTo>
                    <a:pt x="3793" y="12102"/>
                    <a:pt x="3793" y="12102"/>
                    <a:pt x="3793" y="12102"/>
                  </a:cubicBezTo>
                  <a:cubicBezTo>
                    <a:pt x="3730" y="12184"/>
                    <a:pt x="3730" y="12184"/>
                    <a:pt x="3730" y="12184"/>
                  </a:cubicBezTo>
                  <a:cubicBezTo>
                    <a:pt x="3727" y="12188"/>
                    <a:pt x="3727" y="12188"/>
                    <a:pt x="3727" y="12188"/>
                  </a:cubicBezTo>
                  <a:cubicBezTo>
                    <a:pt x="3629" y="12104"/>
                    <a:pt x="3629" y="12104"/>
                    <a:pt x="3629" y="12104"/>
                  </a:cubicBezTo>
                  <a:cubicBezTo>
                    <a:pt x="3647" y="12079"/>
                    <a:pt x="3647" y="12079"/>
                    <a:pt x="3647" y="12079"/>
                  </a:cubicBezTo>
                  <a:cubicBezTo>
                    <a:pt x="3654" y="12069"/>
                    <a:pt x="3654" y="12069"/>
                    <a:pt x="3654" y="12069"/>
                  </a:cubicBezTo>
                  <a:cubicBezTo>
                    <a:pt x="3654" y="12069"/>
                    <a:pt x="3654" y="12069"/>
                    <a:pt x="3654" y="12069"/>
                  </a:cubicBezTo>
                  <a:cubicBezTo>
                    <a:pt x="3711" y="11996"/>
                    <a:pt x="3711" y="11996"/>
                    <a:pt x="3711" y="11996"/>
                  </a:cubicBezTo>
                  <a:cubicBezTo>
                    <a:pt x="3806" y="12077"/>
                    <a:pt x="3806" y="12077"/>
                    <a:pt x="3806" y="12077"/>
                  </a:cubicBezTo>
                  <a:lnTo>
                    <a:pt x="3798" y="12093"/>
                  </a:lnTo>
                  <a:close/>
                  <a:moveTo>
                    <a:pt x="3702" y="11972"/>
                  </a:moveTo>
                  <a:cubicBezTo>
                    <a:pt x="3694" y="11982"/>
                    <a:pt x="3694" y="11982"/>
                    <a:pt x="3694" y="11982"/>
                  </a:cubicBezTo>
                  <a:cubicBezTo>
                    <a:pt x="3698" y="11985"/>
                    <a:pt x="3698" y="11985"/>
                    <a:pt x="3698" y="11985"/>
                  </a:cubicBezTo>
                  <a:cubicBezTo>
                    <a:pt x="3640" y="12057"/>
                    <a:pt x="3640" y="12057"/>
                    <a:pt x="3640" y="12057"/>
                  </a:cubicBezTo>
                  <a:cubicBezTo>
                    <a:pt x="3543" y="11975"/>
                    <a:pt x="3543" y="11975"/>
                    <a:pt x="3543" y="11975"/>
                  </a:cubicBezTo>
                  <a:cubicBezTo>
                    <a:pt x="3627" y="11868"/>
                    <a:pt x="3627" y="11868"/>
                    <a:pt x="3627" y="11868"/>
                  </a:cubicBezTo>
                  <a:cubicBezTo>
                    <a:pt x="3719" y="11947"/>
                    <a:pt x="3719" y="11947"/>
                    <a:pt x="3719" y="11947"/>
                  </a:cubicBezTo>
                  <a:lnTo>
                    <a:pt x="3702" y="11972"/>
                  </a:lnTo>
                  <a:close/>
                  <a:moveTo>
                    <a:pt x="3535" y="11986"/>
                  </a:moveTo>
                  <a:cubicBezTo>
                    <a:pt x="3631" y="12068"/>
                    <a:pt x="3631" y="12068"/>
                    <a:pt x="3631" y="12068"/>
                  </a:cubicBezTo>
                  <a:cubicBezTo>
                    <a:pt x="3630" y="12069"/>
                    <a:pt x="3630" y="12069"/>
                    <a:pt x="3630" y="12069"/>
                  </a:cubicBezTo>
                  <a:cubicBezTo>
                    <a:pt x="3632" y="12070"/>
                    <a:pt x="3632" y="12070"/>
                    <a:pt x="3632" y="12070"/>
                  </a:cubicBezTo>
                  <a:cubicBezTo>
                    <a:pt x="3585" y="12130"/>
                    <a:pt x="3585" y="12130"/>
                    <a:pt x="3585" y="12130"/>
                  </a:cubicBezTo>
                  <a:cubicBezTo>
                    <a:pt x="3503" y="12026"/>
                    <a:pt x="3503" y="12026"/>
                    <a:pt x="3503" y="12026"/>
                  </a:cubicBezTo>
                  <a:lnTo>
                    <a:pt x="3535" y="11986"/>
                  </a:lnTo>
                  <a:close/>
                  <a:moveTo>
                    <a:pt x="3619" y="12114"/>
                  </a:moveTo>
                  <a:cubicBezTo>
                    <a:pt x="3718" y="12199"/>
                    <a:pt x="3718" y="12199"/>
                    <a:pt x="3718" y="12199"/>
                  </a:cubicBezTo>
                  <a:cubicBezTo>
                    <a:pt x="3717" y="12200"/>
                    <a:pt x="3717" y="12200"/>
                    <a:pt x="3717" y="12200"/>
                  </a:cubicBezTo>
                  <a:cubicBezTo>
                    <a:pt x="3718" y="12200"/>
                    <a:pt x="3718" y="12200"/>
                    <a:pt x="3718" y="12200"/>
                  </a:cubicBezTo>
                  <a:cubicBezTo>
                    <a:pt x="3687" y="12241"/>
                    <a:pt x="3687" y="12241"/>
                    <a:pt x="3687" y="12241"/>
                  </a:cubicBezTo>
                  <a:cubicBezTo>
                    <a:pt x="3615" y="12169"/>
                    <a:pt x="3615" y="12169"/>
                    <a:pt x="3615" y="12169"/>
                  </a:cubicBezTo>
                  <a:cubicBezTo>
                    <a:pt x="3595" y="12143"/>
                    <a:pt x="3595" y="12143"/>
                    <a:pt x="3595" y="12143"/>
                  </a:cubicBezTo>
                  <a:lnTo>
                    <a:pt x="3619" y="12114"/>
                  </a:lnTo>
                  <a:close/>
                  <a:moveTo>
                    <a:pt x="3714" y="12232"/>
                  </a:moveTo>
                  <a:cubicBezTo>
                    <a:pt x="3812" y="12316"/>
                    <a:pt x="3812" y="12316"/>
                    <a:pt x="3812" y="12316"/>
                  </a:cubicBezTo>
                  <a:cubicBezTo>
                    <a:pt x="3789" y="12345"/>
                    <a:pt x="3789" y="12345"/>
                    <a:pt x="3789" y="12345"/>
                  </a:cubicBezTo>
                  <a:cubicBezTo>
                    <a:pt x="3698" y="12253"/>
                    <a:pt x="3698" y="12253"/>
                    <a:pt x="3698" y="12253"/>
                  </a:cubicBezTo>
                  <a:lnTo>
                    <a:pt x="3714" y="12232"/>
                  </a:lnTo>
                  <a:close/>
                  <a:moveTo>
                    <a:pt x="3809" y="12347"/>
                  </a:moveTo>
                  <a:cubicBezTo>
                    <a:pt x="3910" y="12429"/>
                    <a:pt x="3910" y="12429"/>
                    <a:pt x="3910" y="12429"/>
                  </a:cubicBezTo>
                  <a:cubicBezTo>
                    <a:pt x="4012" y="12302"/>
                    <a:pt x="4012" y="12302"/>
                    <a:pt x="4012" y="12302"/>
                  </a:cubicBezTo>
                  <a:cubicBezTo>
                    <a:pt x="3908" y="12217"/>
                    <a:pt x="3908" y="12217"/>
                    <a:pt x="3908" y="12217"/>
                  </a:cubicBezTo>
                  <a:cubicBezTo>
                    <a:pt x="3934" y="12184"/>
                    <a:pt x="3934" y="12184"/>
                    <a:pt x="3934" y="12184"/>
                  </a:cubicBezTo>
                  <a:cubicBezTo>
                    <a:pt x="3970" y="12216"/>
                    <a:pt x="4012" y="12252"/>
                    <a:pt x="4032" y="12269"/>
                  </a:cubicBezTo>
                  <a:cubicBezTo>
                    <a:pt x="4021" y="12295"/>
                    <a:pt x="4015" y="12319"/>
                    <a:pt x="4010" y="12334"/>
                  </a:cubicBezTo>
                  <a:cubicBezTo>
                    <a:pt x="3998" y="12368"/>
                    <a:pt x="3967" y="12483"/>
                    <a:pt x="3954" y="12519"/>
                  </a:cubicBezTo>
                  <a:cubicBezTo>
                    <a:pt x="3941" y="12552"/>
                    <a:pt x="3934" y="12583"/>
                    <a:pt x="3894" y="12627"/>
                  </a:cubicBezTo>
                  <a:cubicBezTo>
                    <a:pt x="3817" y="12373"/>
                    <a:pt x="3817" y="12373"/>
                    <a:pt x="3817" y="12373"/>
                  </a:cubicBezTo>
                  <a:cubicBezTo>
                    <a:pt x="3801" y="12357"/>
                    <a:pt x="3801" y="12357"/>
                    <a:pt x="3801" y="12357"/>
                  </a:cubicBezTo>
                  <a:lnTo>
                    <a:pt x="3809" y="12347"/>
                  </a:lnTo>
                  <a:close/>
                  <a:moveTo>
                    <a:pt x="3912" y="12186"/>
                  </a:moveTo>
                  <a:cubicBezTo>
                    <a:pt x="3813" y="12103"/>
                    <a:pt x="3813" y="12103"/>
                    <a:pt x="3813" y="12103"/>
                  </a:cubicBezTo>
                  <a:cubicBezTo>
                    <a:pt x="3839" y="12070"/>
                    <a:pt x="3839" y="12070"/>
                    <a:pt x="3839" y="12070"/>
                  </a:cubicBezTo>
                  <a:cubicBezTo>
                    <a:pt x="3864" y="12123"/>
                    <a:pt x="3864" y="12123"/>
                    <a:pt x="3864" y="12123"/>
                  </a:cubicBezTo>
                  <a:cubicBezTo>
                    <a:pt x="3868" y="12127"/>
                    <a:pt x="3868" y="12127"/>
                    <a:pt x="3868" y="12127"/>
                  </a:cubicBezTo>
                  <a:cubicBezTo>
                    <a:pt x="3868" y="12127"/>
                    <a:pt x="3892" y="12147"/>
                    <a:pt x="3921" y="12173"/>
                  </a:cubicBezTo>
                  <a:lnTo>
                    <a:pt x="3912" y="12186"/>
                  </a:lnTo>
                  <a:close/>
                  <a:moveTo>
                    <a:pt x="3818" y="12069"/>
                  </a:moveTo>
                  <a:cubicBezTo>
                    <a:pt x="3719" y="11985"/>
                    <a:pt x="3719" y="11985"/>
                    <a:pt x="3719" y="11985"/>
                  </a:cubicBezTo>
                  <a:cubicBezTo>
                    <a:pt x="3768" y="11922"/>
                    <a:pt x="3768" y="11922"/>
                    <a:pt x="3768" y="11922"/>
                  </a:cubicBezTo>
                  <a:cubicBezTo>
                    <a:pt x="3831" y="12053"/>
                    <a:pt x="3831" y="12053"/>
                    <a:pt x="3831" y="12053"/>
                  </a:cubicBezTo>
                  <a:lnTo>
                    <a:pt x="3818" y="12069"/>
                  </a:lnTo>
                  <a:close/>
                  <a:moveTo>
                    <a:pt x="3759" y="11907"/>
                  </a:moveTo>
                  <a:cubicBezTo>
                    <a:pt x="3733" y="11940"/>
                    <a:pt x="3733" y="11940"/>
                    <a:pt x="3733" y="11940"/>
                  </a:cubicBezTo>
                  <a:cubicBezTo>
                    <a:pt x="3635" y="11857"/>
                    <a:pt x="3635" y="11857"/>
                    <a:pt x="3635" y="11857"/>
                  </a:cubicBezTo>
                  <a:cubicBezTo>
                    <a:pt x="3681" y="11799"/>
                    <a:pt x="3681" y="11799"/>
                    <a:pt x="3681" y="11799"/>
                  </a:cubicBezTo>
                  <a:cubicBezTo>
                    <a:pt x="3701" y="11814"/>
                    <a:pt x="3718" y="11826"/>
                    <a:pt x="3726" y="11831"/>
                  </a:cubicBezTo>
                  <a:cubicBezTo>
                    <a:pt x="3763" y="11910"/>
                    <a:pt x="3763" y="11910"/>
                    <a:pt x="3763" y="11910"/>
                  </a:cubicBezTo>
                  <a:lnTo>
                    <a:pt x="3759" y="11907"/>
                  </a:lnTo>
                  <a:close/>
                  <a:moveTo>
                    <a:pt x="3655" y="11806"/>
                  </a:moveTo>
                  <a:cubicBezTo>
                    <a:pt x="3551" y="11721"/>
                    <a:pt x="3551" y="11721"/>
                    <a:pt x="3551" y="11721"/>
                  </a:cubicBezTo>
                  <a:cubicBezTo>
                    <a:pt x="3560" y="11711"/>
                    <a:pt x="3560" y="11711"/>
                    <a:pt x="3560" y="11711"/>
                  </a:cubicBezTo>
                  <a:cubicBezTo>
                    <a:pt x="3563" y="11713"/>
                    <a:pt x="3567" y="11716"/>
                    <a:pt x="3571" y="11719"/>
                  </a:cubicBezTo>
                  <a:cubicBezTo>
                    <a:pt x="3589" y="11732"/>
                    <a:pt x="3613" y="11749"/>
                    <a:pt x="3636" y="11766"/>
                  </a:cubicBezTo>
                  <a:cubicBezTo>
                    <a:pt x="3647" y="11774"/>
                    <a:pt x="3657" y="11782"/>
                    <a:pt x="3668" y="11789"/>
                  </a:cubicBezTo>
                  <a:lnTo>
                    <a:pt x="3655" y="11806"/>
                  </a:lnTo>
                  <a:close/>
                  <a:moveTo>
                    <a:pt x="3636" y="11808"/>
                  </a:moveTo>
                  <a:cubicBezTo>
                    <a:pt x="3612" y="11838"/>
                    <a:pt x="3612" y="11838"/>
                    <a:pt x="3612" y="11838"/>
                  </a:cubicBezTo>
                  <a:cubicBezTo>
                    <a:pt x="3603" y="11849"/>
                    <a:pt x="3603" y="11849"/>
                    <a:pt x="3603" y="11849"/>
                  </a:cubicBezTo>
                  <a:cubicBezTo>
                    <a:pt x="3610" y="11854"/>
                    <a:pt x="3610" y="11854"/>
                    <a:pt x="3610" y="11854"/>
                  </a:cubicBezTo>
                  <a:cubicBezTo>
                    <a:pt x="3558" y="11919"/>
                    <a:pt x="3558" y="11919"/>
                    <a:pt x="3558" y="11919"/>
                  </a:cubicBezTo>
                  <a:cubicBezTo>
                    <a:pt x="3458" y="11838"/>
                    <a:pt x="3458" y="11838"/>
                    <a:pt x="3458" y="11838"/>
                  </a:cubicBezTo>
                  <a:cubicBezTo>
                    <a:pt x="3543" y="11732"/>
                    <a:pt x="3543" y="11732"/>
                    <a:pt x="3543" y="11732"/>
                  </a:cubicBezTo>
                  <a:lnTo>
                    <a:pt x="3636" y="11808"/>
                  </a:lnTo>
                  <a:close/>
                  <a:moveTo>
                    <a:pt x="3539" y="11711"/>
                  </a:moveTo>
                  <a:cubicBezTo>
                    <a:pt x="3442" y="11632"/>
                    <a:pt x="3442" y="11632"/>
                    <a:pt x="3442" y="11632"/>
                  </a:cubicBezTo>
                  <a:cubicBezTo>
                    <a:pt x="3483" y="11581"/>
                    <a:pt x="3483" y="11581"/>
                    <a:pt x="3483" y="11581"/>
                  </a:cubicBezTo>
                  <a:cubicBezTo>
                    <a:pt x="3506" y="11631"/>
                    <a:pt x="3528" y="11679"/>
                    <a:pt x="3533" y="11689"/>
                  </a:cubicBezTo>
                  <a:cubicBezTo>
                    <a:pt x="3534" y="11691"/>
                    <a:pt x="3533" y="11690"/>
                    <a:pt x="3538" y="11695"/>
                  </a:cubicBezTo>
                  <a:cubicBezTo>
                    <a:pt x="3539" y="11696"/>
                    <a:pt x="3540" y="11698"/>
                    <a:pt x="3543" y="11699"/>
                  </a:cubicBezTo>
                  <a:cubicBezTo>
                    <a:pt x="3543" y="11699"/>
                    <a:pt x="3543" y="11699"/>
                    <a:pt x="3543" y="11699"/>
                  </a:cubicBezTo>
                  <a:cubicBezTo>
                    <a:pt x="3544" y="11700"/>
                    <a:pt x="3545" y="11701"/>
                    <a:pt x="3546" y="11701"/>
                  </a:cubicBezTo>
                  <a:lnTo>
                    <a:pt x="3539" y="11711"/>
                  </a:lnTo>
                  <a:close/>
                  <a:moveTo>
                    <a:pt x="3453" y="11591"/>
                  </a:moveTo>
                  <a:cubicBezTo>
                    <a:pt x="3457" y="11585"/>
                    <a:pt x="3457" y="11585"/>
                    <a:pt x="3457" y="11585"/>
                  </a:cubicBezTo>
                  <a:cubicBezTo>
                    <a:pt x="3353" y="11501"/>
                    <a:pt x="3353" y="11501"/>
                    <a:pt x="3353" y="11501"/>
                  </a:cubicBezTo>
                  <a:cubicBezTo>
                    <a:pt x="3389" y="11456"/>
                    <a:pt x="3389" y="11456"/>
                    <a:pt x="3389" y="11456"/>
                  </a:cubicBezTo>
                  <a:cubicBezTo>
                    <a:pt x="3439" y="11482"/>
                    <a:pt x="3439" y="11482"/>
                    <a:pt x="3439" y="11482"/>
                  </a:cubicBezTo>
                  <a:cubicBezTo>
                    <a:pt x="3445" y="11496"/>
                    <a:pt x="3459" y="11529"/>
                    <a:pt x="3475" y="11564"/>
                  </a:cubicBezTo>
                  <a:lnTo>
                    <a:pt x="3453" y="11591"/>
                  </a:lnTo>
                  <a:close/>
                  <a:moveTo>
                    <a:pt x="3364" y="11461"/>
                  </a:moveTo>
                  <a:cubicBezTo>
                    <a:pt x="3295" y="11406"/>
                    <a:pt x="3295" y="11406"/>
                    <a:pt x="3295" y="11406"/>
                  </a:cubicBezTo>
                  <a:cubicBezTo>
                    <a:pt x="3374" y="11448"/>
                    <a:pt x="3374" y="11448"/>
                    <a:pt x="3374" y="11448"/>
                  </a:cubicBezTo>
                  <a:lnTo>
                    <a:pt x="3364" y="11461"/>
                  </a:lnTo>
                  <a:close/>
                  <a:moveTo>
                    <a:pt x="3348" y="11466"/>
                  </a:moveTo>
                  <a:cubicBezTo>
                    <a:pt x="3334" y="11487"/>
                    <a:pt x="3334" y="11487"/>
                    <a:pt x="3334" y="11487"/>
                  </a:cubicBezTo>
                  <a:cubicBezTo>
                    <a:pt x="3327" y="11497"/>
                    <a:pt x="3327" y="11497"/>
                    <a:pt x="3327" y="11497"/>
                  </a:cubicBezTo>
                  <a:cubicBezTo>
                    <a:pt x="3332" y="11501"/>
                    <a:pt x="3332" y="11501"/>
                    <a:pt x="3332" y="11501"/>
                  </a:cubicBezTo>
                  <a:cubicBezTo>
                    <a:pt x="3271" y="11577"/>
                    <a:pt x="3271" y="11577"/>
                    <a:pt x="3271" y="11577"/>
                  </a:cubicBezTo>
                  <a:cubicBezTo>
                    <a:pt x="3183" y="11508"/>
                    <a:pt x="3183" y="11508"/>
                    <a:pt x="3183" y="11508"/>
                  </a:cubicBezTo>
                  <a:cubicBezTo>
                    <a:pt x="3268" y="11402"/>
                    <a:pt x="3268" y="11402"/>
                    <a:pt x="3268" y="11402"/>
                  </a:cubicBezTo>
                  <a:lnTo>
                    <a:pt x="3348" y="11466"/>
                  </a:lnTo>
                  <a:close/>
                  <a:moveTo>
                    <a:pt x="3171" y="11497"/>
                  </a:moveTo>
                  <a:cubicBezTo>
                    <a:pt x="3169" y="11496"/>
                    <a:pt x="3169" y="11496"/>
                    <a:pt x="3169" y="11496"/>
                  </a:cubicBezTo>
                  <a:cubicBezTo>
                    <a:pt x="3218" y="11434"/>
                    <a:pt x="3218" y="11434"/>
                    <a:pt x="3218" y="11434"/>
                  </a:cubicBezTo>
                  <a:cubicBezTo>
                    <a:pt x="3221" y="11435"/>
                    <a:pt x="3221" y="11435"/>
                    <a:pt x="3221" y="11435"/>
                  </a:cubicBezTo>
                  <a:lnTo>
                    <a:pt x="3171" y="11497"/>
                  </a:lnTo>
                  <a:close/>
                  <a:moveTo>
                    <a:pt x="3175" y="11518"/>
                  </a:moveTo>
                  <a:cubicBezTo>
                    <a:pt x="3262" y="11588"/>
                    <a:pt x="3262" y="11588"/>
                    <a:pt x="3262" y="11588"/>
                  </a:cubicBezTo>
                  <a:cubicBezTo>
                    <a:pt x="3200" y="11666"/>
                    <a:pt x="3200" y="11666"/>
                    <a:pt x="3200" y="11666"/>
                  </a:cubicBezTo>
                  <a:cubicBezTo>
                    <a:pt x="3191" y="11657"/>
                    <a:pt x="3183" y="11649"/>
                    <a:pt x="3175" y="11643"/>
                  </a:cubicBezTo>
                  <a:cubicBezTo>
                    <a:pt x="3157" y="11629"/>
                    <a:pt x="3134" y="11613"/>
                    <a:pt x="3110" y="11598"/>
                  </a:cubicBezTo>
                  <a:lnTo>
                    <a:pt x="3175" y="11518"/>
                  </a:lnTo>
                  <a:close/>
                  <a:moveTo>
                    <a:pt x="3251" y="11628"/>
                  </a:moveTo>
                  <a:cubicBezTo>
                    <a:pt x="3353" y="11710"/>
                    <a:pt x="3353" y="11710"/>
                    <a:pt x="3353" y="11710"/>
                  </a:cubicBezTo>
                  <a:cubicBezTo>
                    <a:pt x="3351" y="11712"/>
                    <a:pt x="3351" y="11712"/>
                    <a:pt x="3351" y="11712"/>
                  </a:cubicBezTo>
                  <a:cubicBezTo>
                    <a:pt x="3354" y="11714"/>
                    <a:pt x="3354" y="11714"/>
                    <a:pt x="3354" y="11714"/>
                  </a:cubicBezTo>
                  <a:cubicBezTo>
                    <a:pt x="3349" y="11722"/>
                    <a:pt x="3349" y="11722"/>
                    <a:pt x="3349" y="11722"/>
                  </a:cubicBezTo>
                  <a:cubicBezTo>
                    <a:pt x="3299" y="11784"/>
                    <a:pt x="3299" y="11784"/>
                    <a:pt x="3299" y="11784"/>
                  </a:cubicBezTo>
                  <a:cubicBezTo>
                    <a:pt x="3272" y="11748"/>
                    <a:pt x="3240" y="11708"/>
                    <a:pt x="3212" y="11677"/>
                  </a:cubicBezTo>
                  <a:lnTo>
                    <a:pt x="3251" y="11628"/>
                  </a:lnTo>
                  <a:close/>
                  <a:moveTo>
                    <a:pt x="3340" y="11759"/>
                  </a:moveTo>
                  <a:cubicBezTo>
                    <a:pt x="3437" y="11838"/>
                    <a:pt x="3437" y="11838"/>
                    <a:pt x="3437" y="11838"/>
                  </a:cubicBezTo>
                  <a:cubicBezTo>
                    <a:pt x="3396" y="11890"/>
                    <a:pt x="3396" y="11890"/>
                    <a:pt x="3396" y="11890"/>
                  </a:cubicBezTo>
                  <a:cubicBezTo>
                    <a:pt x="3395" y="11888"/>
                    <a:pt x="3395" y="11888"/>
                    <a:pt x="3395" y="11888"/>
                  </a:cubicBezTo>
                  <a:cubicBezTo>
                    <a:pt x="3359" y="11870"/>
                    <a:pt x="3359" y="11870"/>
                    <a:pt x="3359" y="11870"/>
                  </a:cubicBezTo>
                  <a:cubicBezTo>
                    <a:pt x="3352" y="11859"/>
                    <a:pt x="3333" y="11831"/>
                    <a:pt x="3309" y="11798"/>
                  </a:cubicBezTo>
                  <a:lnTo>
                    <a:pt x="3340" y="11759"/>
                  </a:lnTo>
                  <a:close/>
                  <a:moveTo>
                    <a:pt x="3365" y="11924"/>
                  </a:moveTo>
                  <a:cubicBezTo>
                    <a:pt x="3467" y="12053"/>
                    <a:pt x="3467" y="12053"/>
                    <a:pt x="3467" y="12053"/>
                  </a:cubicBezTo>
                  <a:cubicBezTo>
                    <a:pt x="3467" y="12054"/>
                    <a:pt x="3466" y="12055"/>
                    <a:pt x="3466" y="12056"/>
                  </a:cubicBezTo>
                  <a:cubicBezTo>
                    <a:pt x="3462" y="12063"/>
                    <a:pt x="3456" y="12073"/>
                    <a:pt x="3450" y="12086"/>
                  </a:cubicBezTo>
                  <a:cubicBezTo>
                    <a:pt x="3437" y="12110"/>
                    <a:pt x="3420" y="12143"/>
                    <a:pt x="3404" y="12176"/>
                  </a:cubicBezTo>
                  <a:cubicBezTo>
                    <a:pt x="3377" y="12229"/>
                    <a:pt x="3351" y="12282"/>
                    <a:pt x="3342" y="12301"/>
                  </a:cubicBezTo>
                  <a:cubicBezTo>
                    <a:pt x="3124" y="12217"/>
                    <a:pt x="3124" y="12217"/>
                    <a:pt x="3124" y="12217"/>
                  </a:cubicBezTo>
                  <a:cubicBezTo>
                    <a:pt x="3184" y="12068"/>
                    <a:pt x="3184" y="12068"/>
                    <a:pt x="3184" y="12068"/>
                  </a:cubicBezTo>
                  <a:cubicBezTo>
                    <a:pt x="2946" y="11987"/>
                    <a:pt x="2946" y="11987"/>
                    <a:pt x="2946" y="11987"/>
                  </a:cubicBezTo>
                  <a:cubicBezTo>
                    <a:pt x="2976" y="11902"/>
                    <a:pt x="3008" y="11810"/>
                    <a:pt x="3018" y="11780"/>
                  </a:cubicBezTo>
                  <a:cubicBezTo>
                    <a:pt x="3225" y="11852"/>
                    <a:pt x="3225" y="11852"/>
                    <a:pt x="3225" y="11852"/>
                  </a:cubicBezTo>
                  <a:lnTo>
                    <a:pt x="3365" y="11924"/>
                  </a:lnTo>
                  <a:close/>
                  <a:moveTo>
                    <a:pt x="3162" y="12078"/>
                  </a:moveTo>
                  <a:cubicBezTo>
                    <a:pt x="3102" y="12226"/>
                    <a:pt x="3102" y="12226"/>
                    <a:pt x="3102" y="12226"/>
                  </a:cubicBezTo>
                  <a:cubicBezTo>
                    <a:pt x="3336" y="12316"/>
                    <a:pt x="3336" y="12316"/>
                    <a:pt x="3336" y="12316"/>
                  </a:cubicBezTo>
                  <a:cubicBezTo>
                    <a:pt x="3243" y="12499"/>
                    <a:pt x="3243" y="12499"/>
                    <a:pt x="3243" y="12499"/>
                  </a:cubicBezTo>
                  <a:cubicBezTo>
                    <a:pt x="3212" y="12485"/>
                    <a:pt x="3182" y="12474"/>
                    <a:pt x="3152" y="12465"/>
                  </a:cubicBezTo>
                  <a:cubicBezTo>
                    <a:pt x="3065" y="12439"/>
                    <a:pt x="2984" y="12413"/>
                    <a:pt x="2882" y="12391"/>
                  </a:cubicBezTo>
                  <a:cubicBezTo>
                    <a:pt x="2858" y="12152"/>
                    <a:pt x="2858" y="12152"/>
                    <a:pt x="2858" y="12152"/>
                  </a:cubicBezTo>
                  <a:cubicBezTo>
                    <a:pt x="2871" y="12154"/>
                    <a:pt x="2879" y="12155"/>
                    <a:pt x="2881" y="12155"/>
                  </a:cubicBezTo>
                  <a:cubicBezTo>
                    <a:pt x="2881" y="12155"/>
                    <a:pt x="2881" y="12155"/>
                    <a:pt x="2881" y="12155"/>
                  </a:cubicBezTo>
                  <a:cubicBezTo>
                    <a:pt x="2886" y="12155"/>
                    <a:pt x="2886" y="12155"/>
                    <a:pt x="2886" y="12155"/>
                  </a:cubicBezTo>
                  <a:cubicBezTo>
                    <a:pt x="2888" y="12150"/>
                    <a:pt x="2888" y="12150"/>
                    <a:pt x="2888" y="12150"/>
                  </a:cubicBezTo>
                  <a:cubicBezTo>
                    <a:pt x="2889" y="12149"/>
                    <a:pt x="2913" y="12081"/>
                    <a:pt x="2940" y="12002"/>
                  </a:cubicBezTo>
                  <a:lnTo>
                    <a:pt x="3162" y="12078"/>
                  </a:lnTo>
                  <a:close/>
                  <a:moveTo>
                    <a:pt x="3349" y="12321"/>
                  </a:moveTo>
                  <a:cubicBezTo>
                    <a:pt x="3350" y="12321"/>
                    <a:pt x="3350" y="12321"/>
                    <a:pt x="3350" y="12321"/>
                  </a:cubicBezTo>
                  <a:cubicBezTo>
                    <a:pt x="3353" y="12315"/>
                    <a:pt x="3353" y="12315"/>
                    <a:pt x="3353" y="12315"/>
                  </a:cubicBezTo>
                  <a:cubicBezTo>
                    <a:pt x="3353" y="12315"/>
                    <a:pt x="3382" y="12255"/>
                    <a:pt x="3414" y="12193"/>
                  </a:cubicBezTo>
                  <a:cubicBezTo>
                    <a:pt x="3439" y="12143"/>
                    <a:pt x="3465" y="12091"/>
                    <a:pt x="3478" y="12067"/>
                  </a:cubicBezTo>
                  <a:cubicBezTo>
                    <a:pt x="3582" y="12198"/>
                    <a:pt x="3582" y="12198"/>
                    <a:pt x="3582" y="12198"/>
                  </a:cubicBezTo>
                  <a:cubicBezTo>
                    <a:pt x="3598" y="12215"/>
                    <a:pt x="3598" y="12215"/>
                    <a:pt x="3598" y="12215"/>
                  </a:cubicBezTo>
                  <a:cubicBezTo>
                    <a:pt x="3463" y="12325"/>
                    <a:pt x="3463" y="12325"/>
                    <a:pt x="3463" y="12325"/>
                  </a:cubicBezTo>
                  <a:cubicBezTo>
                    <a:pt x="3564" y="12714"/>
                    <a:pt x="3564" y="12714"/>
                    <a:pt x="3564" y="12714"/>
                  </a:cubicBezTo>
                  <a:cubicBezTo>
                    <a:pt x="3563" y="12713"/>
                    <a:pt x="3562" y="12712"/>
                    <a:pt x="3561" y="12711"/>
                  </a:cubicBezTo>
                  <a:cubicBezTo>
                    <a:pt x="3500" y="12652"/>
                    <a:pt x="3379" y="12563"/>
                    <a:pt x="3255" y="12505"/>
                  </a:cubicBezTo>
                  <a:lnTo>
                    <a:pt x="3349" y="12321"/>
                  </a:lnTo>
                  <a:close/>
                  <a:moveTo>
                    <a:pt x="3740" y="12959"/>
                  </a:moveTo>
                  <a:cubicBezTo>
                    <a:pt x="3741" y="12763"/>
                    <a:pt x="3741" y="12763"/>
                    <a:pt x="3741" y="12763"/>
                  </a:cubicBezTo>
                  <a:cubicBezTo>
                    <a:pt x="3797" y="12744"/>
                    <a:pt x="3858" y="12720"/>
                    <a:pt x="3895" y="12688"/>
                  </a:cubicBezTo>
                  <a:cubicBezTo>
                    <a:pt x="3929" y="12659"/>
                    <a:pt x="3950" y="12632"/>
                    <a:pt x="3964" y="12608"/>
                  </a:cubicBezTo>
                  <a:cubicBezTo>
                    <a:pt x="3998" y="12638"/>
                    <a:pt x="4080" y="12714"/>
                    <a:pt x="4143" y="12770"/>
                  </a:cubicBezTo>
                  <a:cubicBezTo>
                    <a:pt x="4180" y="12803"/>
                    <a:pt x="4212" y="12828"/>
                    <a:pt x="4219" y="12835"/>
                  </a:cubicBezTo>
                  <a:cubicBezTo>
                    <a:pt x="4220" y="12836"/>
                    <a:pt x="4221" y="12837"/>
                    <a:pt x="4221" y="12838"/>
                  </a:cubicBezTo>
                  <a:cubicBezTo>
                    <a:pt x="4223" y="12840"/>
                    <a:pt x="4225" y="12842"/>
                    <a:pt x="4228" y="12845"/>
                  </a:cubicBezTo>
                  <a:cubicBezTo>
                    <a:pt x="4233" y="12852"/>
                    <a:pt x="4240" y="12860"/>
                    <a:pt x="4246" y="12870"/>
                  </a:cubicBezTo>
                  <a:cubicBezTo>
                    <a:pt x="4259" y="12889"/>
                    <a:pt x="4271" y="12914"/>
                    <a:pt x="4271" y="12928"/>
                  </a:cubicBezTo>
                  <a:cubicBezTo>
                    <a:pt x="4271" y="12930"/>
                    <a:pt x="4270" y="12935"/>
                    <a:pt x="4270" y="12940"/>
                  </a:cubicBezTo>
                  <a:cubicBezTo>
                    <a:pt x="4268" y="12942"/>
                    <a:pt x="4267" y="12943"/>
                    <a:pt x="4265" y="12945"/>
                  </a:cubicBezTo>
                  <a:cubicBezTo>
                    <a:pt x="4258" y="12954"/>
                    <a:pt x="4201" y="13006"/>
                    <a:pt x="4182" y="13023"/>
                  </a:cubicBezTo>
                  <a:cubicBezTo>
                    <a:pt x="4166" y="13037"/>
                    <a:pt x="4116" y="13047"/>
                    <a:pt x="4039" y="13143"/>
                  </a:cubicBezTo>
                  <a:cubicBezTo>
                    <a:pt x="4030" y="13155"/>
                    <a:pt x="4021" y="13167"/>
                    <a:pt x="4013" y="13179"/>
                  </a:cubicBezTo>
                  <a:cubicBezTo>
                    <a:pt x="3700" y="13063"/>
                    <a:pt x="3700" y="13063"/>
                    <a:pt x="3700" y="13063"/>
                  </a:cubicBezTo>
                  <a:lnTo>
                    <a:pt x="3740" y="12959"/>
                  </a:lnTo>
                  <a:close/>
                  <a:moveTo>
                    <a:pt x="4214" y="12820"/>
                  </a:moveTo>
                  <a:cubicBezTo>
                    <a:pt x="4214" y="12820"/>
                    <a:pt x="4214" y="12820"/>
                    <a:pt x="4214" y="12820"/>
                  </a:cubicBezTo>
                  <a:cubicBezTo>
                    <a:pt x="4214" y="12820"/>
                    <a:pt x="4214" y="12820"/>
                    <a:pt x="4214" y="12820"/>
                  </a:cubicBezTo>
                  <a:close/>
                  <a:moveTo>
                    <a:pt x="4214" y="12816"/>
                  </a:moveTo>
                  <a:cubicBezTo>
                    <a:pt x="4214" y="12816"/>
                    <a:pt x="4215" y="12815"/>
                    <a:pt x="4215" y="12815"/>
                  </a:cubicBezTo>
                  <a:cubicBezTo>
                    <a:pt x="4215" y="12815"/>
                    <a:pt x="4215" y="12815"/>
                    <a:pt x="4215" y="12815"/>
                  </a:cubicBezTo>
                  <a:cubicBezTo>
                    <a:pt x="4215" y="12815"/>
                    <a:pt x="4214" y="12816"/>
                    <a:pt x="4214" y="12816"/>
                  </a:cubicBezTo>
                  <a:close/>
                  <a:moveTo>
                    <a:pt x="4141" y="12125"/>
                  </a:moveTo>
                  <a:cubicBezTo>
                    <a:pt x="4118" y="12146"/>
                    <a:pt x="4095" y="12170"/>
                    <a:pt x="4078" y="12190"/>
                  </a:cubicBezTo>
                  <a:cubicBezTo>
                    <a:pt x="4068" y="12202"/>
                    <a:pt x="4060" y="12215"/>
                    <a:pt x="4052" y="12227"/>
                  </a:cubicBezTo>
                  <a:cubicBezTo>
                    <a:pt x="4050" y="12225"/>
                    <a:pt x="4047" y="12222"/>
                    <a:pt x="4043" y="12220"/>
                  </a:cubicBezTo>
                  <a:cubicBezTo>
                    <a:pt x="4027" y="12205"/>
                    <a:pt x="4005" y="12187"/>
                    <a:pt x="3984" y="12168"/>
                  </a:cubicBezTo>
                  <a:cubicBezTo>
                    <a:pt x="3948" y="12137"/>
                    <a:pt x="3912" y="12105"/>
                    <a:pt x="3901" y="12096"/>
                  </a:cubicBezTo>
                  <a:cubicBezTo>
                    <a:pt x="3849" y="11987"/>
                    <a:pt x="3849" y="11987"/>
                    <a:pt x="3849" y="11987"/>
                  </a:cubicBezTo>
                  <a:cubicBezTo>
                    <a:pt x="4090" y="11913"/>
                    <a:pt x="4090" y="11913"/>
                    <a:pt x="4090" y="11913"/>
                  </a:cubicBezTo>
                  <a:cubicBezTo>
                    <a:pt x="4208" y="12068"/>
                    <a:pt x="4208" y="12068"/>
                    <a:pt x="4208" y="12068"/>
                  </a:cubicBezTo>
                  <a:cubicBezTo>
                    <a:pt x="4208" y="12068"/>
                    <a:pt x="4208" y="12068"/>
                    <a:pt x="4208" y="12068"/>
                  </a:cubicBezTo>
                  <a:cubicBezTo>
                    <a:pt x="4208" y="12068"/>
                    <a:pt x="4208" y="12068"/>
                    <a:pt x="4209" y="12069"/>
                  </a:cubicBezTo>
                  <a:cubicBezTo>
                    <a:pt x="4209" y="12069"/>
                    <a:pt x="4209" y="12069"/>
                    <a:pt x="4209" y="12069"/>
                  </a:cubicBezTo>
                  <a:cubicBezTo>
                    <a:pt x="4204" y="12072"/>
                    <a:pt x="4173" y="12096"/>
                    <a:pt x="4141" y="12125"/>
                  </a:cubicBezTo>
                  <a:close/>
                  <a:moveTo>
                    <a:pt x="4079" y="11899"/>
                  </a:moveTo>
                  <a:cubicBezTo>
                    <a:pt x="3842" y="11972"/>
                    <a:pt x="3842" y="11972"/>
                    <a:pt x="3842" y="11972"/>
                  </a:cubicBezTo>
                  <a:cubicBezTo>
                    <a:pt x="3761" y="11802"/>
                    <a:pt x="3761" y="11802"/>
                    <a:pt x="3761" y="11802"/>
                  </a:cubicBezTo>
                  <a:cubicBezTo>
                    <a:pt x="3757" y="11798"/>
                    <a:pt x="3757" y="11798"/>
                    <a:pt x="3757" y="11798"/>
                  </a:cubicBezTo>
                  <a:cubicBezTo>
                    <a:pt x="3757" y="11798"/>
                    <a:pt x="3600" y="11684"/>
                    <a:pt x="3571" y="11663"/>
                  </a:cubicBezTo>
                  <a:cubicBezTo>
                    <a:pt x="3570" y="11662"/>
                    <a:pt x="3570" y="11661"/>
                    <a:pt x="3569" y="11660"/>
                  </a:cubicBezTo>
                  <a:cubicBezTo>
                    <a:pt x="3566" y="11654"/>
                    <a:pt x="3563" y="11646"/>
                    <a:pt x="3558" y="11636"/>
                  </a:cubicBezTo>
                  <a:cubicBezTo>
                    <a:pt x="3549" y="11616"/>
                    <a:pt x="3537" y="11590"/>
                    <a:pt x="3525" y="11563"/>
                  </a:cubicBezTo>
                  <a:cubicBezTo>
                    <a:pt x="3500" y="11510"/>
                    <a:pt x="3477" y="11457"/>
                    <a:pt x="3477" y="11457"/>
                  </a:cubicBezTo>
                  <a:cubicBezTo>
                    <a:pt x="3475" y="11453"/>
                    <a:pt x="3475" y="11453"/>
                    <a:pt x="3475" y="11453"/>
                  </a:cubicBezTo>
                  <a:cubicBezTo>
                    <a:pt x="3614" y="11289"/>
                    <a:pt x="3614" y="11289"/>
                    <a:pt x="3614" y="11289"/>
                  </a:cubicBezTo>
                  <a:lnTo>
                    <a:pt x="4079" y="11899"/>
                  </a:lnTo>
                  <a:close/>
                  <a:moveTo>
                    <a:pt x="3461" y="11443"/>
                  </a:moveTo>
                  <a:cubicBezTo>
                    <a:pt x="3160" y="11282"/>
                    <a:pt x="3160" y="11282"/>
                    <a:pt x="3160" y="11282"/>
                  </a:cubicBezTo>
                  <a:cubicBezTo>
                    <a:pt x="3153" y="11294"/>
                    <a:pt x="3153" y="11294"/>
                    <a:pt x="3153" y="11294"/>
                  </a:cubicBezTo>
                  <a:cubicBezTo>
                    <a:pt x="3228" y="11135"/>
                    <a:pt x="3228" y="11135"/>
                    <a:pt x="3228" y="11135"/>
                  </a:cubicBezTo>
                  <a:cubicBezTo>
                    <a:pt x="3409" y="11021"/>
                    <a:pt x="3409" y="11021"/>
                    <a:pt x="3409" y="11021"/>
                  </a:cubicBezTo>
                  <a:cubicBezTo>
                    <a:pt x="3604" y="11276"/>
                    <a:pt x="3604" y="11276"/>
                    <a:pt x="3604" y="11276"/>
                  </a:cubicBezTo>
                  <a:lnTo>
                    <a:pt x="3461" y="11443"/>
                  </a:lnTo>
                  <a:close/>
                  <a:moveTo>
                    <a:pt x="3212" y="11429"/>
                  </a:moveTo>
                  <a:cubicBezTo>
                    <a:pt x="3163" y="11491"/>
                    <a:pt x="3163" y="11491"/>
                    <a:pt x="3163" y="11491"/>
                  </a:cubicBezTo>
                  <a:cubicBezTo>
                    <a:pt x="3157" y="11487"/>
                    <a:pt x="3157" y="11487"/>
                    <a:pt x="3157" y="11487"/>
                  </a:cubicBezTo>
                  <a:cubicBezTo>
                    <a:pt x="3148" y="11496"/>
                    <a:pt x="3148" y="11496"/>
                    <a:pt x="3148" y="11496"/>
                  </a:cubicBezTo>
                  <a:cubicBezTo>
                    <a:pt x="3118" y="11526"/>
                    <a:pt x="3118" y="11526"/>
                    <a:pt x="3118" y="11526"/>
                  </a:cubicBezTo>
                  <a:cubicBezTo>
                    <a:pt x="3034" y="11461"/>
                    <a:pt x="3034" y="11461"/>
                    <a:pt x="3034" y="11461"/>
                  </a:cubicBezTo>
                  <a:cubicBezTo>
                    <a:pt x="3119" y="11356"/>
                    <a:pt x="3119" y="11356"/>
                    <a:pt x="3119" y="11356"/>
                  </a:cubicBezTo>
                  <a:lnTo>
                    <a:pt x="3212" y="11429"/>
                  </a:lnTo>
                  <a:close/>
                  <a:moveTo>
                    <a:pt x="3119" y="11545"/>
                  </a:moveTo>
                  <a:cubicBezTo>
                    <a:pt x="3157" y="11507"/>
                    <a:pt x="3157" y="11507"/>
                    <a:pt x="3157" y="11507"/>
                  </a:cubicBezTo>
                  <a:cubicBezTo>
                    <a:pt x="3159" y="11509"/>
                    <a:pt x="3159" y="11509"/>
                    <a:pt x="3159" y="11509"/>
                  </a:cubicBezTo>
                  <a:cubicBezTo>
                    <a:pt x="3161" y="11507"/>
                    <a:pt x="3161" y="11507"/>
                    <a:pt x="3161" y="11507"/>
                  </a:cubicBezTo>
                  <a:cubicBezTo>
                    <a:pt x="3162" y="11508"/>
                    <a:pt x="3162" y="11508"/>
                    <a:pt x="3162" y="11508"/>
                  </a:cubicBezTo>
                  <a:cubicBezTo>
                    <a:pt x="3096" y="11590"/>
                    <a:pt x="3096" y="11590"/>
                    <a:pt x="3096" y="11590"/>
                  </a:cubicBezTo>
                  <a:cubicBezTo>
                    <a:pt x="3052" y="11563"/>
                    <a:pt x="3005" y="11538"/>
                    <a:pt x="2969" y="11520"/>
                  </a:cubicBezTo>
                  <a:cubicBezTo>
                    <a:pt x="3016" y="11464"/>
                    <a:pt x="3016" y="11464"/>
                    <a:pt x="3016" y="11464"/>
                  </a:cubicBezTo>
                  <a:lnTo>
                    <a:pt x="3119" y="11545"/>
                  </a:lnTo>
                  <a:close/>
                  <a:moveTo>
                    <a:pt x="2904" y="11592"/>
                  </a:moveTo>
                  <a:cubicBezTo>
                    <a:pt x="2980" y="11641"/>
                    <a:pt x="3049" y="11650"/>
                    <a:pt x="3099" y="11702"/>
                  </a:cubicBezTo>
                  <a:cubicBezTo>
                    <a:pt x="3131" y="11735"/>
                    <a:pt x="3157" y="11766"/>
                    <a:pt x="3173" y="11787"/>
                  </a:cubicBezTo>
                  <a:cubicBezTo>
                    <a:pt x="2902" y="11692"/>
                    <a:pt x="2902" y="11692"/>
                    <a:pt x="2902" y="11692"/>
                  </a:cubicBezTo>
                  <a:cubicBezTo>
                    <a:pt x="2809" y="11588"/>
                    <a:pt x="2809" y="11588"/>
                    <a:pt x="2809" y="11588"/>
                  </a:cubicBezTo>
                  <a:cubicBezTo>
                    <a:pt x="2822" y="11556"/>
                    <a:pt x="2822" y="11556"/>
                    <a:pt x="2822" y="11556"/>
                  </a:cubicBezTo>
                  <a:cubicBezTo>
                    <a:pt x="2842" y="11560"/>
                    <a:pt x="2869" y="11569"/>
                    <a:pt x="2904" y="11592"/>
                  </a:cubicBezTo>
                  <a:close/>
                  <a:moveTo>
                    <a:pt x="2598" y="11986"/>
                  </a:moveTo>
                  <a:cubicBezTo>
                    <a:pt x="2561" y="12106"/>
                    <a:pt x="2561" y="12106"/>
                    <a:pt x="2561" y="12106"/>
                  </a:cubicBezTo>
                  <a:cubicBezTo>
                    <a:pt x="2570" y="12107"/>
                    <a:pt x="2570" y="12107"/>
                    <a:pt x="2570" y="12107"/>
                  </a:cubicBezTo>
                  <a:cubicBezTo>
                    <a:pt x="2571" y="12107"/>
                    <a:pt x="2762" y="12137"/>
                    <a:pt x="2844" y="12150"/>
                  </a:cubicBezTo>
                  <a:cubicBezTo>
                    <a:pt x="2868" y="12387"/>
                    <a:pt x="2868" y="12387"/>
                    <a:pt x="2868" y="12387"/>
                  </a:cubicBezTo>
                  <a:cubicBezTo>
                    <a:pt x="2799" y="12373"/>
                    <a:pt x="2721" y="12360"/>
                    <a:pt x="2626" y="12351"/>
                  </a:cubicBezTo>
                  <a:cubicBezTo>
                    <a:pt x="2462" y="12335"/>
                    <a:pt x="2364" y="12325"/>
                    <a:pt x="2318" y="12320"/>
                  </a:cubicBezTo>
                  <a:cubicBezTo>
                    <a:pt x="2319" y="12317"/>
                    <a:pt x="2319" y="12314"/>
                    <a:pt x="2320" y="12309"/>
                  </a:cubicBezTo>
                  <a:cubicBezTo>
                    <a:pt x="2322" y="12299"/>
                    <a:pt x="2324" y="12285"/>
                    <a:pt x="2326" y="12269"/>
                  </a:cubicBezTo>
                  <a:cubicBezTo>
                    <a:pt x="2331" y="12236"/>
                    <a:pt x="2338" y="12193"/>
                    <a:pt x="2344" y="12150"/>
                  </a:cubicBezTo>
                  <a:cubicBezTo>
                    <a:pt x="2356" y="12068"/>
                    <a:pt x="2368" y="11988"/>
                    <a:pt x="2369" y="11979"/>
                  </a:cubicBezTo>
                  <a:cubicBezTo>
                    <a:pt x="2369" y="11978"/>
                    <a:pt x="2369" y="11977"/>
                    <a:pt x="2370" y="11975"/>
                  </a:cubicBezTo>
                  <a:lnTo>
                    <a:pt x="2598" y="11986"/>
                  </a:lnTo>
                  <a:close/>
                  <a:moveTo>
                    <a:pt x="2621" y="12396"/>
                  </a:moveTo>
                  <a:cubicBezTo>
                    <a:pt x="2861" y="12420"/>
                    <a:pt x="2990" y="12463"/>
                    <a:pt x="3139" y="12508"/>
                  </a:cubicBezTo>
                  <a:cubicBezTo>
                    <a:pt x="3194" y="12524"/>
                    <a:pt x="3254" y="12553"/>
                    <a:pt x="3312" y="12585"/>
                  </a:cubicBezTo>
                  <a:cubicBezTo>
                    <a:pt x="2887" y="13089"/>
                    <a:pt x="2887" y="13089"/>
                    <a:pt x="2887" y="13089"/>
                  </a:cubicBezTo>
                  <a:cubicBezTo>
                    <a:pt x="2859" y="13068"/>
                    <a:pt x="2829" y="13050"/>
                    <a:pt x="2797" y="13039"/>
                  </a:cubicBezTo>
                  <a:cubicBezTo>
                    <a:pt x="2724" y="13015"/>
                    <a:pt x="2617" y="12984"/>
                    <a:pt x="2527" y="12959"/>
                  </a:cubicBezTo>
                  <a:cubicBezTo>
                    <a:pt x="2620" y="12396"/>
                    <a:pt x="2620" y="12396"/>
                    <a:pt x="2620" y="12396"/>
                  </a:cubicBezTo>
                  <a:cubicBezTo>
                    <a:pt x="2621" y="12396"/>
                    <a:pt x="2621" y="12396"/>
                    <a:pt x="2621" y="12396"/>
                  </a:cubicBezTo>
                  <a:close/>
                  <a:moveTo>
                    <a:pt x="2898" y="13098"/>
                  </a:moveTo>
                  <a:cubicBezTo>
                    <a:pt x="3324" y="12592"/>
                    <a:pt x="3324" y="12592"/>
                    <a:pt x="3324" y="12592"/>
                  </a:cubicBezTo>
                  <a:cubicBezTo>
                    <a:pt x="3410" y="12643"/>
                    <a:pt x="3488" y="12702"/>
                    <a:pt x="3530" y="12743"/>
                  </a:cubicBezTo>
                  <a:cubicBezTo>
                    <a:pt x="3582" y="12794"/>
                    <a:pt x="3612" y="12841"/>
                    <a:pt x="3613" y="12907"/>
                  </a:cubicBezTo>
                  <a:cubicBezTo>
                    <a:pt x="3613" y="12935"/>
                    <a:pt x="3607" y="12966"/>
                    <a:pt x="3594" y="13002"/>
                  </a:cubicBezTo>
                  <a:cubicBezTo>
                    <a:pt x="3565" y="13089"/>
                    <a:pt x="3442" y="13172"/>
                    <a:pt x="3382" y="13205"/>
                  </a:cubicBezTo>
                  <a:cubicBezTo>
                    <a:pt x="3365" y="13214"/>
                    <a:pt x="3353" y="13220"/>
                    <a:pt x="3350" y="13221"/>
                  </a:cubicBezTo>
                  <a:cubicBezTo>
                    <a:pt x="3285" y="13246"/>
                    <a:pt x="3156" y="13260"/>
                    <a:pt x="3049" y="13282"/>
                  </a:cubicBezTo>
                  <a:cubicBezTo>
                    <a:pt x="3026" y="13243"/>
                    <a:pt x="2971" y="13159"/>
                    <a:pt x="2898" y="13098"/>
                  </a:cubicBezTo>
                  <a:close/>
                  <a:moveTo>
                    <a:pt x="3367" y="13263"/>
                  </a:moveTo>
                  <a:cubicBezTo>
                    <a:pt x="3368" y="13263"/>
                    <a:pt x="3368" y="13263"/>
                    <a:pt x="3368" y="13263"/>
                  </a:cubicBezTo>
                  <a:cubicBezTo>
                    <a:pt x="3369" y="13263"/>
                    <a:pt x="3369" y="13263"/>
                    <a:pt x="3369" y="13263"/>
                  </a:cubicBezTo>
                  <a:cubicBezTo>
                    <a:pt x="3370" y="13262"/>
                    <a:pt x="3423" y="13236"/>
                    <a:pt x="3483" y="13194"/>
                  </a:cubicBezTo>
                  <a:cubicBezTo>
                    <a:pt x="3534" y="13157"/>
                    <a:pt x="3590" y="13109"/>
                    <a:pt x="3622" y="13050"/>
                  </a:cubicBezTo>
                  <a:cubicBezTo>
                    <a:pt x="3679" y="13072"/>
                    <a:pt x="3679" y="13072"/>
                    <a:pt x="3679" y="13072"/>
                  </a:cubicBezTo>
                  <a:cubicBezTo>
                    <a:pt x="3679" y="13073"/>
                    <a:pt x="3679" y="13073"/>
                    <a:pt x="3679" y="13073"/>
                  </a:cubicBezTo>
                  <a:cubicBezTo>
                    <a:pt x="4004" y="13194"/>
                    <a:pt x="4004" y="13194"/>
                    <a:pt x="4004" y="13194"/>
                  </a:cubicBezTo>
                  <a:cubicBezTo>
                    <a:pt x="3954" y="13275"/>
                    <a:pt x="3923" y="13371"/>
                    <a:pt x="3914" y="13396"/>
                  </a:cubicBezTo>
                  <a:cubicBezTo>
                    <a:pt x="3856" y="13406"/>
                    <a:pt x="3367" y="13479"/>
                    <a:pt x="3330" y="13485"/>
                  </a:cubicBezTo>
                  <a:cubicBezTo>
                    <a:pt x="3330" y="13485"/>
                    <a:pt x="3329" y="13485"/>
                    <a:pt x="3328" y="13484"/>
                  </a:cubicBezTo>
                  <a:cubicBezTo>
                    <a:pt x="3326" y="13483"/>
                    <a:pt x="3322" y="13481"/>
                    <a:pt x="3318" y="13478"/>
                  </a:cubicBezTo>
                  <a:cubicBezTo>
                    <a:pt x="3310" y="13474"/>
                    <a:pt x="3299" y="13466"/>
                    <a:pt x="3286" y="13458"/>
                  </a:cubicBezTo>
                  <a:cubicBezTo>
                    <a:pt x="3260" y="13440"/>
                    <a:pt x="3226" y="13417"/>
                    <a:pt x="3192" y="13394"/>
                  </a:cubicBezTo>
                  <a:cubicBezTo>
                    <a:pt x="3151" y="13366"/>
                    <a:pt x="3112" y="13339"/>
                    <a:pt x="3086" y="13321"/>
                  </a:cubicBezTo>
                  <a:cubicBezTo>
                    <a:pt x="3185" y="13303"/>
                    <a:pt x="3300" y="13288"/>
                    <a:pt x="3367" y="13263"/>
                  </a:cubicBezTo>
                  <a:close/>
                  <a:moveTo>
                    <a:pt x="3928" y="13407"/>
                  </a:moveTo>
                  <a:cubicBezTo>
                    <a:pt x="3931" y="13400"/>
                    <a:pt x="3942" y="13363"/>
                    <a:pt x="3961" y="13316"/>
                  </a:cubicBezTo>
                  <a:cubicBezTo>
                    <a:pt x="3983" y="13264"/>
                    <a:pt x="4014" y="13200"/>
                    <a:pt x="4052" y="13154"/>
                  </a:cubicBezTo>
                  <a:cubicBezTo>
                    <a:pt x="4129" y="13059"/>
                    <a:pt x="4169" y="13054"/>
                    <a:pt x="4192" y="13035"/>
                  </a:cubicBezTo>
                  <a:cubicBezTo>
                    <a:pt x="4210" y="13020"/>
                    <a:pt x="4256" y="12978"/>
                    <a:pt x="4273" y="12961"/>
                  </a:cubicBezTo>
                  <a:cubicBezTo>
                    <a:pt x="4632" y="13064"/>
                    <a:pt x="4632" y="13064"/>
                    <a:pt x="4632" y="13064"/>
                  </a:cubicBezTo>
                  <a:cubicBezTo>
                    <a:pt x="4634" y="13058"/>
                    <a:pt x="4634" y="13058"/>
                    <a:pt x="4634" y="13058"/>
                  </a:cubicBezTo>
                  <a:cubicBezTo>
                    <a:pt x="4633" y="13060"/>
                    <a:pt x="4632" y="13062"/>
                    <a:pt x="4631" y="13065"/>
                  </a:cubicBezTo>
                  <a:cubicBezTo>
                    <a:pt x="4610" y="13119"/>
                    <a:pt x="4573" y="13215"/>
                    <a:pt x="4547" y="13285"/>
                  </a:cubicBezTo>
                  <a:cubicBezTo>
                    <a:pt x="4535" y="13319"/>
                    <a:pt x="4526" y="13345"/>
                    <a:pt x="4522" y="13363"/>
                  </a:cubicBezTo>
                  <a:cubicBezTo>
                    <a:pt x="4513" y="13413"/>
                    <a:pt x="4494" y="13524"/>
                    <a:pt x="4488" y="13576"/>
                  </a:cubicBezTo>
                  <a:cubicBezTo>
                    <a:pt x="4485" y="13599"/>
                    <a:pt x="4470" y="13706"/>
                    <a:pt x="4454" y="13811"/>
                  </a:cubicBezTo>
                  <a:cubicBezTo>
                    <a:pt x="4442" y="13894"/>
                    <a:pt x="4429" y="13978"/>
                    <a:pt x="4421" y="14021"/>
                  </a:cubicBezTo>
                  <a:cubicBezTo>
                    <a:pt x="4394" y="14017"/>
                    <a:pt x="4334" y="14007"/>
                    <a:pt x="4276" y="13998"/>
                  </a:cubicBezTo>
                  <a:cubicBezTo>
                    <a:pt x="4209" y="13987"/>
                    <a:pt x="4145" y="13976"/>
                    <a:pt x="4130" y="13974"/>
                  </a:cubicBezTo>
                  <a:cubicBezTo>
                    <a:pt x="3928" y="13758"/>
                    <a:pt x="3928" y="13758"/>
                    <a:pt x="3928" y="13758"/>
                  </a:cubicBezTo>
                  <a:lnTo>
                    <a:pt x="3928" y="13407"/>
                  </a:lnTo>
                  <a:close/>
                  <a:moveTo>
                    <a:pt x="4409" y="12954"/>
                  </a:moveTo>
                  <a:cubicBezTo>
                    <a:pt x="4409" y="12953"/>
                    <a:pt x="4409" y="12952"/>
                    <a:pt x="4409" y="12951"/>
                  </a:cubicBezTo>
                  <a:cubicBezTo>
                    <a:pt x="4409" y="12944"/>
                    <a:pt x="4409" y="12934"/>
                    <a:pt x="4409" y="12921"/>
                  </a:cubicBezTo>
                  <a:cubicBezTo>
                    <a:pt x="4409" y="12855"/>
                    <a:pt x="4412" y="12731"/>
                    <a:pt x="4412" y="12731"/>
                  </a:cubicBezTo>
                  <a:cubicBezTo>
                    <a:pt x="4412" y="12727"/>
                    <a:pt x="4412" y="12727"/>
                    <a:pt x="4412" y="12727"/>
                  </a:cubicBezTo>
                  <a:cubicBezTo>
                    <a:pt x="4307" y="12635"/>
                    <a:pt x="4307" y="12635"/>
                    <a:pt x="4307" y="12635"/>
                  </a:cubicBezTo>
                  <a:cubicBezTo>
                    <a:pt x="4318" y="12574"/>
                    <a:pt x="4318" y="12574"/>
                    <a:pt x="4318" y="12574"/>
                  </a:cubicBezTo>
                  <a:cubicBezTo>
                    <a:pt x="4230" y="12420"/>
                    <a:pt x="4230" y="12420"/>
                    <a:pt x="4230" y="12420"/>
                  </a:cubicBezTo>
                  <a:cubicBezTo>
                    <a:pt x="4286" y="12380"/>
                    <a:pt x="4286" y="12380"/>
                    <a:pt x="4286" y="12380"/>
                  </a:cubicBezTo>
                  <a:cubicBezTo>
                    <a:pt x="4187" y="12145"/>
                    <a:pt x="4187" y="12145"/>
                    <a:pt x="4187" y="12145"/>
                  </a:cubicBezTo>
                  <a:cubicBezTo>
                    <a:pt x="4212" y="12122"/>
                    <a:pt x="4232" y="12107"/>
                    <a:pt x="4232" y="12106"/>
                  </a:cubicBezTo>
                  <a:cubicBezTo>
                    <a:pt x="4236" y="12103"/>
                    <a:pt x="4236" y="12103"/>
                    <a:pt x="4236" y="12103"/>
                  </a:cubicBezTo>
                  <a:cubicBezTo>
                    <a:pt x="4268" y="12144"/>
                    <a:pt x="4324" y="12216"/>
                    <a:pt x="4389" y="12299"/>
                  </a:cubicBezTo>
                  <a:cubicBezTo>
                    <a:pt x="4490" y="12429"/>
                    <a:pt x="4612" y="12586"/>
                    <a:pt x="4697" y="12697"/>
                  </a:cubicBezTo>
                  <a:cubicBezTo>
                    <a:pt x="4739" y="12751"/>
                    <a:pt x="4773" y="12796"/>
                    <a:pt x="4789" y="12817"/>
                  </a:cubicBezTo>
                  <a:cubicBezTo>
                    <a:pt x="4738" y="12886"/>
                    <a:pt x="4676" y="12984"/>
                    <a:pt x="4652" y="13023"/>
                  </a:cubicBezTo>
                  <a:cubicBezTo>
                    <a:pt x="4648" y="13022"/>
                    <a:pt x="4648" y="13022"/>
                    <a:pt x="4648" y="13022"/>
                  </a:cubicBezTo>
                  <a:cubicBezTo>
                    <a:pt x="4648" y="13022"/>
                    <a:pt x="4648" y="13023"/>
                    <a:pt x="4648" y="13023"/>
                  </a:cubicBezTo>
                  <a:lnTo>
                    <a:pt x="4409" y="12954"/>
                  </a:lnTo>
                  <a:close/>
                  <a:moveTo>
                    <a:pt x="4761" y="12672"/>
                  </a:moveTo>
                  <a:cubicBezTo>
                    <a:pt x="4705" y="12600"/>
                    <a:pt x="4631" y="12504"/>
                    <a:pt x="4557" y="12409"/>
                  </a:cubicBezTo>
                  <a:cubicBezTo>
                    <a:pt x="4422" y="12235"/>
                    <a:pt x="4270" y="12036"/>
                    <a:pt x="4244" y="12002"/>
                  </a:cubicBezTo>
                  <a:cubicBezTo>
                    <a:pt x="4312" y="11906"/>
                    <a:pt x="4312" y="11906"/>
                    <a:pt x="4312" y="11906"/>
                  </a:cubicBezTo>
                  <a:cubicBezTo>
                    <a:pt x="4323" y="11645"/>
                    <a:pt x="4323" y="11645"/>
                    <a:pt x="4323" y="11645"/>
                  </a:cubicBezTo>
                  <a:cubicBezTo>
                    <a:pt x="4327" y="11648"/>
                    <a:pt x="4333" y="11653"/>
                    <a:pt x="4341" y="11658"/>
                  </a:cubicBezTo>
                  <a:cubicBezTo>
                    <a:pt x="4358" y="11671"/>
                    <a:pt x="4382" y="11688"/>
                    <a:pt x="4410" y="11709"/>
                  </a:cubicBezTo>
                  <a:cubicBezTo>
                    <a:pt x="4467" y="11751"/>
                    <a:pt x="4543" y="11807"/>
                    <a:pt x="4619" y="11863"/>
                  </a:cubicBezTo>
                  <a:cubicBezTo>
                    <a:pt x="4752" y="11961"/>
                    <a:pt x="4886" y="12060"/>
                    <a:pt x="4936" y="12095"/>
                  </a:cubicBezTo>
                  <a:cubicBezTo>
                    <a:pt x="4921" y="12117"/>
                    <a:pt x="4906" y="12138"/>
                    <a:pt x="4892" y="12158"/>
                  </a:cubicBezTo>
                  <a:cubicBezTo>
                    <a:pt x="4859" y="12206"/>
                    <a:pt x="4846" y="12253"/>
                    <a:pt x="4846" y="12300"/>
                  </a:cubicBezTo>
                  <a:cubicBezTo>
                    <a:pt x="4846" y="12360"/>
                    <a:pt x="4865" y="12416"/>
                    <a:pt x="4883" y="12480"/>
                  </a:cubicBezTo>
                  <a:cubicBezTo>
                    <a:pt x="4894" y="12522"/>
                    <a:pt x="4899" y="12558"/>
                    <a:pt x="4899" y="12588"/>
                  </a:cubicBezTo>
                  <a:cubicBezTo>
                    <a:pt x="4899" y="12666"/>
                    <a:pt x="4869" y="12715"/>
                    <a:pt x="4831" y="12764"/>
                  </a:cubicBezTo>
                  <a:cubicBezTo>
                    <a:pt x="4830" y="12763"/>
                    <a:pt x="4829" y="12762"/>
                    <a:pt x="4828" y="12760"/>
                  </a:cubicBezTo>
                  <a:cubicBezTo>
                    <a:pt x="4812" y="12739"/>
                    <a:pt x="4789" y="12708"/>
                    <a:pt x="4761" y="12672"/>
                  </a:cubicBezTo>
                  <a:close/>
                  <a:moveTo>
                    <a:pt x="4965" y="12588"/>
                  </a:moveTo>
                  <a:cubicBezTo>
                    <a:pt x="4965" y="12551"/>
                    <a:pt x="4959" y="12509"/>
                    <a:pt x="4946" y="12463"/>
                  </a:cubicBezTo>
                  <a:cubicBezTo>
                    <a:pt x="4927" y="12397"/>
                    <a:pt x="4912" y="12345"/>
                    <a:pt x="4912" y="12300"/>
                  </a:cubicBezTo>
                  <a:cubicBezTo>
                    <a:pt x="4912" y="12265"/>
                    <a:pt x="4920" y="12233"/>
                    <a:pt x="4946" y="12195"/>
                  </a:cubicBezTo>
                  <a:cubicBezTo>
                    <a:pt x="4963" y="12170"/>
                    <a:pt x="4982" y="12143"/>
                    <a:pt x="5001" y="12116"/>
                  </a:cubicBezTo>
                  <a:cubicBezTo>
                    <a:pt x="5085" y="12120"/>
                    <a:pt x="5367" y="12140"/>
                    <a:pt x="5420" y="12144"/>
                  </a:cubicBezTo>
                  <a:cubicBezTo>
                    <a:pt x="5323" y="12623"/>
                    <a:pt x="5323" y="12623"/>
                    <a:pt x="5323" y="12623"/>
                  </a:cubicBezTo>
                  <a:cubicBezTo>
                    <a:pt x="5354" y="12924"/>
                    <a:pt x="5354" y="12924"/>
                    <a:pt x="5354" y="12924"/>
                  </a:cubicBezTo>
                  <a:cubicBezTo>
                    <a:pt x="5348" y="12923"/>
                    <a:pt x="5344" y="12922"/>
                    <a:pt x="5344" y="12922"/>
                  </a:cubicBezTo>
                  <a:cubicBezTo>
                    <a:pt x="5336" y="12920"/>
                    <a:pt x="5011" y="12873"/>
                    <a:pt x="4908" y="12859"/>
                  </a:cubicBezTo>
                  <a:cubicBezTo>
                    <a:pt x="4897" y="12845"/>
                    <a:pt x="4885" y="12831"/>
                    <a:pt x="4872" y="12817"/>
                  </a:cubicBezTo>
                  <a:cubicBezTo>
                    <a:pt x="4917" y="12762"/>
                    <a:pt x="4965" y="12692"/>
                    <a:pt x="4965" y="12588"/>
                  </a:cubicBezTo>
                  <a:close/>
                  <a:moveTo>
                    <a:pt x="5370" y="12941"/>
                  </a:moveTo>
                  <a:cubicBezTo>
                    <a:pt x="5446" y="12955"/>
                    <a:pt x="5649" y="12994"/>
                    <a:pt x="5732" y="13009"/>
                  </a:cubicBezTo>
                  <a:cubicBezTo>
                    <a:pt x="5718" y="13138"/>
                    <a:pt x="5718" y="13138"/>
                    <a:pt x="5718" y="13138"/>
                  </a:cubicBezTo>
                  <a:cubicBezTo>
                    <a:pt x="5384" y="13075"/>
                    <a:pt x="5384" y="13075"/>
                    <a:pt x="5384" y="13075"/>
                  </a:cubicBezTo>
                  <a:lnTo>
                    <a:pt x="5370" y="12941"/>
                  </a:lnTo>
                  <a:close/>
                  <a:moveTo>
                    <a:pt x="5555" y="12962"/>
                  </a:moveTo>
                  <a:cubicBezTo>
                    <a:pt x="5480" y="12948"/>
                    <a:pt x="5406" y="12934"/>
                    <a:pt x="5369" y="12927"/>
                  </a:cubicBezTo>
                  <a:cubicBezTo>
                    <a:pt x="5352" y="12770"/>
                    <a:pt x="5352" y="12770"/>
                    <a:pt x="5352" y="12770"/>
                  </a:cubicBezTo>
                  <a:cubicBezTo>
                    <a:pt x="5411" y="12781"/>
                    <a:pt x="5679" y="12832"/>
                    <a:pt x="5751" y="12845"/>
                  </a:cubicBezTo>
                  <a:cubicBezTo>
                    <a:pt x="5734" y="12995"/>
                    <a:pt x="5734" y="12995"/>
                    <a:pt x="5734" y="12995"/>
                  </a:cubicBezTo>
                  <a:cubicBezTo>
                    <a:pt x="5693" y="12988"/>
                    <a:pt x="5623" y="12975"/>
                    <a:pt x="5555" y="12962"/>
                  </a:cubicBezTo>
                  <a:close/>
                  <a:moveTo>
                    <a:pt x="5602" y="12369"/>
                  </a:moveTo>
                  <a:cubicBezTo>
                    <a:pt x="5510" y="12352"/>
                    <a:pt x="5419" y="12335"/>
                    <a:pt x="5396" y="12330"/>
                  </a:cubicBezTo>
                  <a:cubicBezTo>
                    <a:pt x="5444" y="12093"/>
                    <a:pt x="5444" y="12093"/>
                    <a:pt x="5444" y="12093"/>
                  </a:cubicBezTo>
                  <a:cubicBezTo>
                    <a:pt x="5445" y="12095"/>
                    <a:pt x="5445" y="12095"/>
                    <a:pt x="5445" y="12095"/>
                  </a:cubicBezTo>
                  <a:cubicBezTo>
                    <a:pt x="5445" y="12098"/>
                    <a:pt x="5445" y="12098"/>
                    <a:pt x="5445" y="12098"/>
                  </a:cubicBezTo>
                  <a:cubicBezTo>
                    <a:pt x="5445" y="12101"/>
                    <a:pt x="5445" y="12101"/>
                    <a:pt x="5445" y="12101"/>
                  </a:cubicBezTo>
                  <a:cubicBezTo>
                    <a:pt x="5450" y="12101"/>
                    <a:pt x="5551" y="12120"/>
                    <a:pt x="5647" y="12138"/>
                  </a:cubicBezTo>
                  <a:cubicBezTo>
                    <a:pt x="5724" y="12153"/>
                    <a:pt x="5799" y="12167"/>
                    <a:pt x="5827" y="12173"/>
                  </a:cubicBezTo>
                  <a:cubicBezTo>
                    <a:pt x="5801" y="12407"/>
                    <a:pt x="5801" y="12407"/>
                    <a:pt x="5801" y="12407"/>
                  </a:cubicBezTo>
                  <a:cubicBezTo>
                    <a:pt x="5767" y="12400"/>
                    <a:pt x="5684" y="12385"/>
                    <a:pt x="5602" y="12369"/>
                  </a:cubicBezTo>
                  <a:close/>
                  <a:moveTo>
                    <a:pt x="5445" y="12087"/>
                  </a:moveTo>
                  <a:cubicBezTo>
                    <a:pt x="5445" y="12088"/>
                    <a:pt x="5445" y="12087"/>
                    <a:pt x="5445" y="12087"/>
                  </a:cubicBezTo>
                  <a:cubicBezTo>
                    <a:pt x="5481" y="11910"/>
                    <a:pt x="5481" y="11910"/>
                    <a:pt x="5481" y="11910"/>
                  </a:cubicBezTo>
                  <a:cubicBezTo>
                    <a:pt x="5853" y="11943"/>
                    <a:pt x="5853" y="11943"/>
                    <a:pt x="5853" y="11943"/>
                  </a:cubicBezTo>
                  <a:cubicBezTo>
                    <a:pt x="5829" y="12159"/>
                    <a:pt x="5829" y="12159"/>
                    <a:pt x="5829" y="12159"/>
                  </a:cubicBezTo>
                  <a:cubicBezTo>
                    <a:pt x="5763" y="12146"/>
                    <a:pt x="5460" y="12088"/>
                    <a:pt x="5445" y="12087"/>
                  </a:cubicBezTo>
                  <a:close/>
                  <a:moveTo>
                    <a:pt x="5664" y="11881"/>
                  </a:moveTo>
                  <a:cubicBezTo>
                    <a:pt x="5664" y="11876"/>
                    <a:pt x="5663" y="11871"/>
                    <a:pt x="5662" y="11864"/>
                  </a:cubicBezTo>
                  <a:cubicBezTo>
                    <a:pt x="5659" y="11846"/>
                    <a:pt x="5656" y="11821"/>
                    <a:pt x="5652" y="11797"/>
                  </a:cubicBezTo>
                  <a:cubicBezTo>
                    <a:pt x="5645" y="11748"/>
                    <a:pt x="5639" y="11700"/>
                    <a:pt x="5639" y="11700"/>
                  </a:cubicBezTo>
                  <a:cubicBezTo>
                    <a:pt x="5638" y="11697"/>
                    <a:pt x="5638" y="11697"/>
                    <a:pt x="5638" y="11697"/>
                  </a:cubicBezTo>
                  <a:cubicBezTo>
                    <a:pt x="5439" y="11539"/>
                    <a:pt x="5439" y="11539"/>
                    <a:pt x="5439" y="11539"/>
                  </a:cubicBezTo>
                  <a:cubicBezTo>
                    <a:pt x="5729" y="11441"/>
                    <a:pt x="5729" y="11441"/>
                    <a:pt x="5729" y="11441"/>
                  </a:cubicBezTo>
                  <a:cubicBezTo>
                    <a:pt x="5739" y="11441"/>
                    <a:pt x="5810" y="11436"/>
                    <a:pt x="5847" y="11434"/>
                  </a:cubicBezTo>
                  <a:cubicBezTo>
                    <a:pt x="5840" y="11530"/>
                    <a:pt x="5840" y="11530"/>
                    <a:pt x="5840" y="11530"/>
                  </a:cubicBezTo>
                  <a:cubicBezTo>
                    <a:pt x="5888" y="11637"/>
                    <a:pt x="5888" y="11637"/>
                    <a:pt x="5888" y="11637"/>
                  </a:cubicBezTo>
                  <a:cubicBezTo>
                    <a:pt x="5858" y="11898"/>
                    <a:pt x="5858" y="11898"/>
                    <a:pt x="5858" y="11898"/>
                  </a:cubicBezTo>
                  <a:lnTo>
                    <a:pt x="5664" y="11881"/>
                  </a:lnTo>
                  <a:close/>
                  <a:moveTo>
                    <a:pt x="5869" y="11152"/>
                  </a:moveTo>
                  <a:cubicBezTo>
                    <a:pt x="5588" y="11130"/>
                    <a:pt x="5588" y="11130"/>
                    <a:pt x="5588" y="11130"/>
                  </a:cubicBezTo>
                  <a:cubicBezTo>
                    <a:pt x="5117" y="11189"/>
                    <a:pt x="5117" y="11189"/>
                    <a:pt x="5117" y="11189"/>
                  </a:cubicBezTo>
                  <a:cubicBezTo>
                    <a:pt x="5107" y="11105"/>
                    <a:pt x="5096" y="11011"/>
                    <a:pt x="5084" y="10915"/>
                  </a:cubicBezTo>
                  <a:cubicBezTo>
                    <a:pt x="5127" y="10906"/>
                    <a:pt x="5214" y="10887"/>
                    <a:pt x="5302" y="10868"/>
                  </a:cubicBezTo>
                  <a:cubicBezTo>
                    <a:pt x="5424" y="10842"/>
                    <a:pt x="5551" y="10816"/>
                    <a:pt x="5552" y="10816"/>
                  </a:cubicBezTo>
                  <a:cubicBezTo>
                    <a:pt x="5558" y="10816"/>
                    <a:pt x="5818" y="10836"/>
                    <a:pt x="5892" y="10841"/>
                  </a:cubicBezTo>
                  <a:lnTo>
                    <a:pt x="5869" y="11152"/>
                  </a:lnTo>
                  <a:close/>
                  <a:moveTo>
                    <a:pt x="5552" y="10802"/>
                  </a:moveTo>
                  <a:cubicBezTo>
                    <a:pt x="5542" y="10803"/>
                    <a:pt x="5187" y="10879"/>
                    <a:pt x="5083" y="10901"/>
                  </a:cubicBezTo>
                  <a:cubicBezTo>
                    <a:pt x="5078" y="10866"/>
                    <a:pt x="5074" y="10831"/>
                    <a:pt x="5070" y="10796"/>
                  </a:cubicBezTo>
                  <a:cubicBezTo>
                    <a:pt x="5065" y="10750"/>
                    <a:pt x="5059" y="10705"/>
                    <a:pt x="5054" y="10661"/>
                  </a:cubicBezTo>
                  <a:cubicBezTo>
                    <a:pt x="5397" y="10593"/>
                    <a:pt x="5397" y="10593"/>
                    <a:pt x="5397" y="10593"/>
                  </a:cubicBezTo>
                  <a:cubicBezTo>
                    <a:pt x="5413" y="10593"/>
                    <a:pt x="5739" y="10590"/>
                    <a:pt x="5874" y="10590"/>
                  </a:cubicBezTo>
                  <a:cubicBezTo>
                    <a:pt x="5889" y="10590"/>
                    <a:pt x="5902" y="10590"/>
                    <a:pt x="5911" y="10590"/>
                  </a:cubicBezTo>
                  <a:cubicBezTo>
                    <a:pt x="5893" y="10827"/>
                    <a:pt x="5893" y="10827"/>
                    <a:pt x="5893" y="10827"/>
                  </a:cubicBezTo>
                  <a:cubicBezTo>
                    <a:pt x="5820" y="10822"/>
                    <a:pt x="5560" y="10802"/>
                    <a:pt x="5552" y="10802"/>
                  </a:cubicBezTo>
                  <a:close/>
                  <a:moveTo>
                    <a:pt x="5965" y="9986"/>
                  </a:moveTo>
                  <a:cubicBezTo>
                    <a:pt x="5886" y="9991"/>
                    <a:pt x="5793" y="9998"/>
                    <a:pt x="5692" y="10007"/>
                  </a:cubicBezTo>
                  <a:cubicBezTo>
                    <a:pt x="5686" y="9649"/>
                    <a:pt x="5686" y="9649"/>
                    <a:pt x="5686" y="9649"/>
                  </a:cubicBezTo>
                  <a:cubicBezTo>
                    <a:pt x="5703" y="9589"/>
                    <a:pt x="5703" y="9589"/>
                    <a:pt x="5703" y="9589"/>
                  </a:cubicBezTo>
                  <a:cubicBezTo>
                    <a:pt x="5859" y="9614"/>
                    <a:pt x="5859" y="9614"/>
                    <a:pt x="5859" y="9614"/>
                  </a:cubicBezTo>
                  <a:cubicBezTo>
                    <a:pt x="5811" y="9745"/>
                    <a:pt x="5811" y="9745"/>
                    <a:pt x="5811" y="9745"/>
                  </a:cubicBezTo>
                  <a:cubicBezTo>
                    <a:pt x="5746" y="9742"/>
                    <a:pt x="5692" y="9740"/>
                    <a:pt x="5689" y="9740"/>
                  </a:cubicBezTo>
                  <a:cubicBezTo>
                    <a:pt x="5689" y="9754"/>
                    <a:pt x="5689" y="9754"/>
                    <a:pt x="5689" y="9754"/>
                  </a:cubicBezTo>
                  <a:cubicBezTo>
                    <a:pt x="5691" y="9754"/>
                    <a:pt x="5743" y="9756"/>
                    <a:pt x="5807" y="9759"/>
                  </a:cubicBezTo>
                  <a:cubicBezTo>
                    <a:pt x="5762" y="9883"/>
                    <a:pt x="5762" y="9883"/>
                    <a:pt x="5762" y="9883"/>
                  </a:cubicBezTo>
                  <a:cubicBezTo>
                    <a:pt x="5760" y="9889"/>
                    <a:pt x="5760" y="9889"/>
                    <a:pt x="5760" y="9889"/>
                  </a:cubicBezTo>
                  <a:cubicBezTo>
                    <a:pt x="5902" y="9943"/>
                    <a:pt x="5902" y="9943"/>
                    <a:pt x="5902" y="9943"/>
                  </a:cubicBezTo>
                  <a:cubicBezTo>
                    <a:pt x="5966" y="9765"/>
                    <a:pt x="5966" y="9765"/>
                    <a:pt x="5966" y="9765"/>
                  </a:cubicBezTo>
                  <a:cubicBezTo>
                    <a:pt x="6003" y="9766"/>
                    <a:pt x="6031" y="9767"/>
                    <a:pt x="6043" y="9768"/>
                  </a:cubicBezTo>
                  <a:lnTo>
                    <a:pt x="5965" y="9986"/>
                  </a:lnTo>
                  <a:close/>
                  <a:moveTo>
                    <a:pt x="5971" y="9751"/>
                  </a:moveTo>
                  <a:cubicBezTo>
                    <a:pt x="6012" y="9638"/>
                    <a:pt x="6012" y="9638"/>
                    <a:pt x="6012" y="9638"/>
                  </a:cubicBezTo>
                  <a:cubicBezTo>
                    <a:pt x="6084" y="9650"/>
                    <a:pt x="6084" y="9650"/>
                    <a:pt x="6084" y="9650"/>
                  </a:cubicBezTo>
                  <a:cubicBezTo>
                    <a:pt x="6047" y="9754"/>
                    <a:pt x="6047" y="9754"/>
                    <a:pt x="6047" y="9754"/>
                  </a:cubicBezTo>
                  <a:cubicBezTo>
                    <a:pt x="6044" y="9754"/>
                    <a:pt x="6014" y="9753"/>
                    <a:pt x="5971" y="9751"/>
                  </a:cubicBezTo>
                  <a:close/>
                  <a:moveTo>
                    <a:pt x="6017" y="9625"/>
                  </a:moveTo>
                  <a:cubicBezTo>
                    <a:pt x="6062" y="9499"/>
                    <a:pt x="6062" y="9499"/>
                    <a:pt x="6062" y="9499"/>
                  </a:cubicBezTo>
                  <a:cubicBezTo>
                    <a:pt x="6134" y="9510"/>
                    <a:pt x="6134" y="9510"/>
                    <a:pt x="6134" y="9510"/>
                  </a:cubicBezTo>
                  <a:cubicBezTo>
                    <a:pt x="6089" y="9637"/>
                    <a:pt x="6089" y="9637"/>
                    <a:pt x="6089" y="9637"/>
                  </a:cubicBezTo>
                  <a:lnTo>
                    <a:pt x="6017" y="9625"/>
                  </a:lnTo>
                  <a:close/>
                  <a:moveTo>
                    <a:pt x="6067" y="9485"/>
                  </a:moveTo>
                  <a:cubicBezTo>
                    <a:pt x="6112" y="9359"/>
                    <a:pt x="6112" y="9359"/>
                    <a:pt x="6112" y="9359"/>
                  </a:cubicBezTo>
                  <a:cubicBezTo>
                    <a:pt x="6180" y="9371"/>
                    <a:pt x="6180" y="9371"/>
                    <a:pt x="6180" y="9371"/>
                  </a:cubicBezTo>
                  <a:cubicBezTo>
                    <a:pt x="6183" y="9357"/>
                    <a:pt x="6183" y="9357"/>
                    <a:pt x="6183" y="9357"/>
                  </a:cubicBezTo>
                  <a:cubicBezTo>
                    <a:pt x="6117" y="9346"/>
                    <a:pt x="6117" y="9346"/>
                    <a:pt x="6117" y="9346"/>
                  </a:cubicBezTo>
                  <a:cubicBezTo>
                    <a:pt x="6159" y="9230"/>
                    <a:pt x="6159" y="9230"/>
                    <a:pt x="6159" y="9230"/>
                  </a:cubicBezTo>
                  <a:cubicBezTo>
                    <a:pt x="6226" y="9243"/>
                    <a:pt x="6226" y="9243"/>
                    <a:pt x="6226" y="9243"/>
                  </a:cubicBezTo>
                  <a:cubicBezTo>
                    <a:pt x="6229" y="9229"/>
                    <a:pt x="6229" y="9229"/>
                    <a:pt x="6229" y="9229"/>
                  </a:cubicBezTo>
                  <a:cubicBezTo>
                    <a:pt x="6163" y="9217"/>
                    <a:pt x="6163" y="9217"/>
                    <a:pt x="6163" y="9217"/>
                  </a:cubicBezTo>
                  <a:cubicBezTo>
                    <a:pt x="6202" y="9109"/>
                    <a:pt x="6202" y="9109"/>
                    <a:pt x="6202" y="9109"/>
                  </a:cubicBezTo>
                  <a:cubicBezTo>
                    <a:pt x="6270" y="9124"/>
                    <a:pt x="6270" y="9124"/>
                    <a:pt x="6270" y="9124"/>
                  </a:cubicBezTo>
                  <a:cubicBezTo>
                    <a:pt x="6139" y="9497"/>
                    <a:pt x="6139" y="9497"/>
                    <a:pt x="6139" y="9497"/>
                  </a:cubicBezTo>
                  <a:lnTo>
                    <a:pt x="6067" y="9485"/>
                  </a:lnTo>
                  <a:close/>
                  <a:moveTo>
                    <a:pt x="6207" y="9096"/>
                  </a:moveTo>
                  <a:cubicBezTo>
                    <a:pt x="6251" y="8972"/>
                    <a:pt x="6251" y="8972"/>
                    <a:pt x="6251" y="8972"/>
                  </a:cubicBezTo>
                  <a:cubicBezTo>
                    <a:pt x="6320" y="8984"/>
                    <a:pt x="6320" y="8984"/>
                    <a:pt x="6320" y="8984"/>
                  </a:cubicBezTo>
                  <a:cubicBezTo>
                    <a:pt x="6275" y="9111"/>
                    <a:pt x="6275" y="9111"/>
                    <a:pt x="6275" y="9111"/>
                  </a:cubicBezTo>
                  <a:lnTo>
                    <a:pt x="6207" y="9096"/>
                  </a:lnTo>
                  <a:close/>
                  <a:moveTo>
                    <a:pt x="6256" y="8958"/>
                  </a:moveTo>
                  <a:cubicBezTo>
                    <a:pt x="6294" y="8853"/>
                    <a:pt x="6294" y="8853"/>
                    <a:pt x="6294" y="8853"/>
                  </a:cubicBezTo>
                  <a:cubicBezTo>
                    <a:pt x="6363" y="8863"/>
                    <a:pt x="6363" y="8863"/>
                    <a:pt x="6363" y="8863"/>
                  </a:cubicBezTo>
                  <a:cubicBezTo>
                    <a:pt x="6325" y="8971"/>
                    <a:pt x="6325" y="8971"/>
                    <a:pt x="6325" y="8971"/>
                  </a:cubicBezTo>
                  <a:lnTo>
                    <a:pt x="6256" y="8958"/>
                  </a:lnTo>
                  <a:close/>
                  <a:moveTo>
                    <a:pt x="6299" y="8839"/>
                  </a:moveTo>
                  <a:cubicBezTo>
                    <a:pt x="6348" y="8704"/>
                    <a:pt x="6348" y="8704"/>
                    <a:pt x="6348" y="8704"/>
                  </a:cubicBezTo>
                  <a:cubicBezTo>
                    <a:pt x="6412" y="8711"/>
                    <a:pt x="6412" y="8711"/>
                    <a:pt x="6412" y="8711"/>
                  </a:cubicBezTo>
                  <a:cubicBezTo>
                    <a:pt x="6413" y="8697"/>
                    <a:pt x="6413" y="8697"/>
                    <a:pt x="6413" y="8697"/>
                  </a:cubicBezTo>
                  <a:cubicBezTo>
                    <a:pt x="6352" y="8691"/>
                    <a:pt x="6352" y="8691"/>
                    <a:pt x="6352" y="8691"/>
                  </a:cubicBezTo>
                  <a:cubicBezTo>
                    <a:pt x="6406" y="8542"/>
                    <a:pt x="6406" y="8542"/>
                    <a:pt x="6406" y="8542"/>
                  </a:cubicBezTo>
                  <a:cubicBezTo>
                    <a:pt x="6476" y="8543"/>
                    <a:pt x="6476" y="8543"/>
                    <a:pt x="6476" y="8543"/>
                  </a:cubicBezTo>
                  <a:cubicBezTo>
                    <a:pt x="6368" y="8849"/>
                    <a:pt x="6368" y="8849"/>
                    <a:pt x="6368" y="8849"/>
                  </a:cubicBezTo>
                  <a:lnTo>
                    <a:pt x="6299" y="8839"/>
                  </a:lnTo>
                  <a:close/>
                  <a:moveTo>
                    <a:pt x="6397" y="8528"/>
                  </a:moveTo>
                  <a:cubicBezTo>
                    <a:pt x="6263" y="8526"/>
                    <a:pt x="6263" y="8526"/>
                    <a:pt x="6263" y="8526"/>
                  </a:cubicBezTo>
                  <a:cubicBezTo>
                    <a:pt x="6312" y="8392"/>
                    <a:pt x="6312" y="8392"/>
                    <a:pt x="6312" y="8392"/>
                  </a:cubicBezTo>
                  <a:cubicBezTo>
                    <a:pt x="6430" y="8437"/>
                    <a:pt x="6430" y="8437"/>
                    <a:pt x="6430" y="8437"/>
                  </a:cubicBezTo>
                  <a:lnTo>
                    <a:pt x="6397" y="8528"/>
                  </a:lnTo>
                  <a:close/>
                  <a:moveTo>
                    <a:pt x="6392" y="8542"/>
                  </a:moveTo>
                  <a:cubicBezTo>
                    <a:pt x="6339" y="8689"/>
                    <a:pt x="6339" y="8689"/>
                    <a:pt x="6339" y="8689"/>
                  </a:cubicBezTo>
                  <a:cubicBezTo>
                    <a:pt x="6210" y="8676"/>
                    <a:pt x="6210" y="8676"/>
                    <a:pt x="6210" y="8676"/>
                  </a:cubicBezTo>
                  <a:cubicBezTo>
                    <a:pt x="6258" y="8540"/>
                    <a:pt x="6258" y="8540"/>
                    <a:pt x="6258" y="8540"/>
                  </a:cubicBezTo>
                  <a:lnTo>
                    <a:pt x="6392" y="8542"/>
                  </a:lnTo>
                  <a:close/>
                  <a:moveTo>
                    <a:pt x="6196" y="8674"/>
                  </a:moveTo>
                  <a:cubicBezTo>
                    <a:pt x="5871" y="8640"/>
                    <a:pt x="5871" y="8640"/>
                    <a:pt x="5871" y="8640"/>
                  </a:cubicBezTo>
                  <a:cubicBezTo>
                    <a:pt x="5880" y="8604"/>
                    <a:pt x="5889" y="8568"/>
                    <a:pt x="5897" y="8535"/>
                  </a:cubicBezTo>
                  <a:cubicBezTo>
                    <a:pt x="6245" y="8540"/>
                    <a:pt x="6245" y="8540"/>
                    <a:pt x="6245" y="8540"/>
                  </a:cubicBezTo>
                  <a:lnTo>
                    <a:pt x="6196" y="8674"/>
                  </a:lnTo>
                  <a:close/>
                  <a:moveTo>
                    <a:pt x="5886" y="8521"/>
                  </a:moveTo>
                  <a:cubicBezTo>
                    <a:pt x="5881" y="8521"/>
                    <a:pt x="5881" y="8521"/>
                    <a:pt x="5881" y="8521"/>
                  </a:cubicBezTo>
                  <a:cubicBezTo>
                    <a:pt x="5880" y="8535"/>
                    <a:pt x="5880" y="8535"/>
                    <a:pt x="5880" y="8535"/>
                  </a:cubicBezTo>
                  <a:cubicBezTo>
                    <a:pt x="5883" y="8535"/>
                    <a:pt x="5883" y="8535"/>
                    <a:pt x="5883" y="8535"/>
                  </a:cubicBezTo>
                  <a:cubicBezTo>
                    <a:pt x="5882" y="8537"/>
                    <a:pt x="5882" y="8539"/>
                    <a:pt x="5881" y="8541"/>
                  </a:cubicBezTo>
                  <a:cubicBezTo>
                    <a:pt x="5878" y="8555"/>
                    <a:pt x="5874" y="8570"/>
                    <a:pt x="5870" y="8586"/>
                  </a:cubicBezTo>
                  <a:cubicBezTo>
                    <a:pt x="5835" y="8579"/>
                    <a:pt x="5504" y="8519"/>
                    <a:pt x="5438" y="8512"/>
                  </a:cubicBezTo>
                  <a:cubicBezTo>
                    <a:pt x="5433" y="8478"/>
                    <a:pt x="5426" y="8443"/>
                    <a:pt x="5420" y="8409"/>
                  </a:cubicBezTo>
                  <a:cubicBezTo>
                    <a:pt x="5502" y="8423"/>
                    <a:pt x="5871" y="8484"/>
                    <a:pt x="5895" y="8487"/>
                  </a:cubicBezTo>
                  <a:cubicBezTo>
                    <a:pt x="5892" y="8498"/>
                    <a:pt x="5889" y="8509"/>
                    <a:pt x="5886" y="8521"/>
                  </a:cubicBezTo>
                  <a:close/>
                  <a:moveTo>
                    <a:pt x="5442" y="8894"/>
                  </a:moveTo>
                  <a:cubicBezTo>
                    <a:pt x="5470" y="8899"/>
                    <a:pt x="5538" y="8910"/>
                    <a:pt x="5605" y="8921"/>
                  </a:cubicBezTo>
                  <a:cubicBezTo>
                    <a:pt x="5690" y="8935"/>
                    <a:pt x="5773" y="8949"/>
                    <a:pt x="5778" y="8950"/>
                  </a:cubicBezTo>
                  <a:cubicBezTo>
                    <a:pt x="5771" y="8976"/>
                    <a:pt x="5766" y="8993"/>
                    <a:pt x="5764" y="8997"/>
                  </a:cubicBezTo>
                  <a:cubicBezTo>
                    <a:pt x="5763" y="8998"/>
                    <a:pt x="5763" y="8999"/>
                    <a:pt x="5762" y="9000"/>
                  </a:cubicBezTo>
                  <a:cubicBezTo>
                    <a:pt x="5762" y="9001"/>
                    <a:pt x="5762" y="9002"/>
                    <a:pt x="5762" y="9003"/>
                  </a:cubicBezTo>
                  <a:cubicBezTo>
                    <a:pt x="5762" y="9012"/>
                    <a:pt x="5770" y="9036"/>
                    <a:pt x="5779" y="9064"/>
                  </a:cubicBezTo>
                  <a:cubicBezTo>
                    <a:pt x="5751" y="9059"/>
                    <a:pt x="5653" y="9042"/>
                    <a:pt x="5556" y="9026"/>
                  </a:cubicBezTo>
                  <a:cubicBezTo>
                    <a:pt x="5481" y="9013"/>
                    <a:pt x="5407" y="9000"/>
                    <a:pt x="5362" y="8993"/>
                  </a:cubicBezTo>
                  <a:cubicBezTo>
                    <a:pt x="5384" y="8970"/>
                    <a:pt x="5401" y="8951"/>
                    <a:pt x="5414" y="8937"/>
                  </a:cubicBezTo>
                  <a:cubicBezTo>
                    <a:pt x="5425" y="8924"/>
                    <a:pt x="5435" y="8910"/>
                    <a:pt x="5442" y="8894"/>
                  </a:cubicBezTo>
                  <a:close/>
                  <a:moveTo>
                    <a:pt x="4963" y="9173"/>
                  </a:moveTo>
                  <a:cubicBezTo>
                    <a:pt x="4973" y="8712"/>
                    <a:pt x="4973" y="8712"/>
                    <a:pt x="4973" y="8712"/>
                  </a:cubicBezTo>
                  <a:cubicBezTo>
                    <a:pt x="5013" y="8720"/>
                    <a:pt x="5042" y="8725"/>
                    <a:pt x="5046" y="8725"/>
                  </a:cubicBezTo>
                  <a:cubicBezTo>
                    <a:pt x="5052" y="8724"/>
                    <a:pt x="5057" y="8721"/>
                    <a:pt x="5069" y="8715"/>
                  </a:cubicBezTo>
                  <a:cubicBezTo>
                    <a:pt x="5080" y="8710"/>
                    <a:pt x="5095" y="8702"/>
                    <a:pt x="5112" y="8692"/>
                  </a:cubicBezTo>
                  <a:cubicBezTo>
                    <a:pt x="5137" y="8679"/>
                    <a:pt x="5166" y="8663"/>
                    <a:pt x="5197" y="8645"/>
                  </a:cubicBezTo>
                  <a:cubicBezTo>
                    <a:pt x="5203" y="8661"/>
                    <a:pt x="5229" y="8728"/>
                    <a:pt x="5256" y="8797"/>
                  </a:cubicBezTo>
                  <a:cubicBezTo>
                    <a:pt x="5286" y="8873"/>
                    <a:pt x="5316" y="8949"/>
                    <a:pt x="5325" y="8966"/>
                  </a:cubicBezTo>
                  <a:cubicBezTo>
                    <a:pt x="5253" y="9041"/>
                    <a:pt x="5135" y="9143"/>
                    <a:pt x="4963" y="9173"/>
                  </a:cubicBezTo>
                  <a:close/>
                  <a:moveTo>
                    <a:pt x="4709" y="10235"/>
                  </a:moveTo>
                  <a:cubicBezTo>
                    <a:pt x="4801" y="10607"/>
                    <a:pt x="4801" y="10607"/>
                    <a:pt x="4801" y="10607"/>
                  </a:cubicBezTo>
                  <a:cubicBezTo>
                    <a:pt x="4746" y="10611"/>
                    <a:pt x="4684" y="10617"/>
                    <a:pt x="4624" y="10622"/>
                  </a:cubicBezTo>
                  <a:cubicBezTo>
                    <a:pt x="4535" y="10280"/>
                    <a:pt x="4535" y="10280"/>
                    <a:pt x="4535" y="10280"/>
                  </a:cubicBezTo>
                  <a:cubicBezTo>
                    <a:pt x="4594" y="10265"/>
                    <a:pt x="4652" y="10249"/>
                    <a:pt x="4709" y="10235"/>
                  </a:cubicBezTo>
                  <a:close/>
                  <a:moveTo>
                    <a:pt x="4610" y="10624"/>
                  </a:moveTo>
                  <a:cubicBezTo>
                    <a:pt x="4545" y="10629"/>
                    <a:pt x="4483" y="10635"/>
                    <a:pt x="4433" y="10639"/>
                  </a:cubicBezTo>
                  <a:cubicBezTo>
                    <a:pt x="4347" y="10332"/>
                    <a:pt x="4347" y="10332"/>
                    <a:pt x="4347" y="10332"/>
                  </a:cubicBezTo>
                  <a:cubicBezTo>
                    <a:pt x="4406" y="10315"/>
                    <a:pt x="4464" y="10299"/>
                    <a:pt x="4522" y="10284"/>
                  </a:cubicBezTo>
                  <a:lnTo>
                    <a:pt x="4610" y="10624"/>
                  </a:lnTo>
                  <a:close/>
                  <a:moveTo>
                    <a:pt x="4418" y="10641"/>
                  </a:moveTo>
                  <a:cubicBezTo>
                    <a:pt x="4389" y="10643"/>
                    <a:pt x="4364" y="10646"/>
                    <a:pt x="4346" y="10647"/>
                  </a:cubicBezTo>
                  <a:cubicBezTo>
                    <a:pt x="4326" y="10649"/>
                    <a:pt x="4317" y="10650"/>
                    <a:pt x="4313" y="10651"/>
                  </a:cubicBezTo>
                  <a:cubicBezTo>
                    <a:pt x="4309" y="10652"/>
                    <a:pt x="4282" y="10664"/>
                    <a:pt x="4260" y="10673"/>
                  </a:cubicBezTo>
                  <a:cubicBezTo>
                    <a:pt x="4257" y="10664"/>
                    <a:pt x="4174" y="10452"/>
                    <a:pt x="4152" y="10388"/>
                  </a:cubicBezTo>
                  <a:cubicBezTo>
                    <a:pt x="4212" y="10370"/>
                    <a:pt x="4273" y="10353"/>
                    <a:pt x="4333" y="10336"/>
                  </a:cubicBezTo>
                  <a:lnTo>
                    <a:pt x="4418" y="10641"/>
                  </a:lnTo>
                  <a:close/>
                  <a:moveTo>
                    <a:pt x="4190" y="10530"/>
                  </a:moveTo>
                  <a:cubicBezTo>
                    <a:pt x="4218" y="10603"/>
                    <a:pt x="4246" y="10675"/>
                    <a:pt x="4247" y="10678"/>
                  </a:cubicBezTo>
                  <a:cubicBezTo>
                    <a:pt x="4239" y="10681"/>
                    <a:pt x="4233" y="10684"/>
                    <a:pt x="4233" y="10684"/>
                  </a:cubicBezTo>
                  <a:cubicBezTo>
                    <a:pt x="4230" y="10685"/>
                    <a:pt x="4230" y="10685"/>
                    <a:pt x="4230" y="10685"/>
                  </a:cubicBezTo>
                  <a:cubicBezTo>
                    <a:pt x="4121" y="10996"/>
                    <a:pt x="4121" y="10996"/>
                    <a:pt x="4121" y="10996"/>
                  </a:cubicBezTo>
                  <a:cubicBezTo>
                    <a:pt x="3939" y="11050"/>
                    <a:pt x="3939" y="11050"/>
                    <a:pt x="3939" y="11050"/>
                  </a:cubicBezTo>
                  <a:cubicBezTo>
                    <a:pt x="3939" y="11049"/>
                    <a:pt x="3939" y="11049"/>
                    <a:pt x="3939" y="11049"/>
                  </a:cubicBezTo>
                  <a:cubicBezTo>
                    <a:pt x="3601" y="11162"/>
                    <a:pt x="3601" y="11162"/>
                    <a:pt x="3601" y="11162"/>
                  </a:cubicBezTo>
                  <a:cubicBezTo>
                    <a:pt x="3453" y="10969"/>
                    <a:pt x="3453" y="10969"/>
                    <a:pt x="3453" y="10969"/>
                  </a:cubicBezTo>
                  <a:cubicBezTo>
                    <a:pt x="3453" y="10969"/>
                    <a:pt x="3453" y="10969"/>
                    <a:pt x="3453" y="10969"/>
                  </a:cubicBezTo>
                  <a:cubicBezTo>
                    <a:pt x="3232" y="10677"/>
                    <a:pt x="3232" y="10677"/>
                    <a:pt x="3232" y="10677"/>
                  </a:cubicBezTo>
                  <a:cubicBezTo>
                    <a:pt x="3234" y="10676"/>
                    <a:pt x="3236" y="10675"/>
                    <a:pt x="3238" y="10674"/>
                  </a:cubicBezTo>
                  <a:cubicBezTo>
                    <a:pt x="3267" y="10664"/>
                    <a:pt x="3308" y="10650"/>
                    <a:pt x="3360" y="10633"/>
                  </a:cubicBezTo>
                  <a:cubicBezTo>
                    <a:pt x="3464" y="10599"/>
                    <a:pt x="3610" y="10552"/>
                    <a:pt x="3776" y="10501"/>
                  </a:cubicBezTo>
                  <a:cubicBezTo>
                    <a:pt x="3889" y="10466"/>
                    <a:pt x="4013" y="10429"/>
                    <a:pt x="4138" y="10392"/>
                  </a:cubicBezTo>
                  <a:cubicBezTo>
                    <a:pt x="4141" y="10401"/>
                    <a:pt x="4146" y="10412"/>
                    <a:pt x="4151" y="10426"/>
                  </a:cubicBezTo>
                  <a:cubicBezTo>
                    <a:pt x="4161" y="10455"/>
                    <a:pt x="4176" y="10493"/>
                    <a:pt x="4190" y="10530"/>
                  </a:cubicBezTo>
                  <a:close/>
                  <a:moveTo>
                    <a:pt x="3399" y="11007"/>
                  </a:moveTo>
                  <a:cubicBezTo>
                    <a:pt x="3399" y="11007"/>
                    <a:pt x="3399" y="11007"/>
                    <a:pt x="3399" y="11007"/>
                  </a:cubicBezTo>
                  <a:cubicBezTo>
                    <a:pt x="3399" y="11008"/>
                    <a:pt x="3399" y="11008"/>
                    <a:pt x="3399" y="11008"/>
                  </a:cubicBezTo>
                  <a:cubicBezTo>
                    <a:pt x="3224" y="11118"/>
                    <a:pt x="3224" y="11118"/>
                    <a:pt x="3224" y="11118"/>
                  </a:cubicBezTo>
                  <a:cubicBezTo>
                    <a:pt x="3112" y="10954"/>
                    <a:pt x="3112" y="10954"/>
                    <a:pt x="3112" y="10954"/>
                  </a:cubicBezTo>
                  <a:cubicBezTo>
                    <a:pt x="2891" y="10871"/>
                    <a:pt x="2891" y="10871"/>
                    <a:pt x="2891" y="10871"/>
                  </a:cubicBezTo>
                  <a:cubicBezTo>
                    <a:pt x="2893" y="10870"/>
                    <a:pt x="2895" y="10868"/>
                    <a:pt x="2896" y="10866"/>
                  </a:cubicBezTo>
                  <a:cubicBezTo>
                    <a:pt x="2896" y="10866"/>
                    <a:pt x="2906" y="10857"/>
                    <a:pt x="2912" y="10850"/>
                  </a:cubicBezTo>
                  <a:cubicBezTo>
                    <a:pt x="2961" y="10806"/>
                    <a:pt x="3011" y="10771"/>
                    <a:pt x="3066" y="10745"/>
                  </a:cubicBezTo>
                  <a:cubicBezTo>
                    <a:pt x="3109" y="10725"/>
                    <a:pt x="3145" y="10712"/>
                    <a:pt x="3169" y="10703"/>
                  </a:cubicBezTo>
                  <a:lnTo>
                    <a:pt x="3399" y="11007"/>
                  </a:lnTo>
                  <a:close/>
                  <a:moveTo>
                    <a:pt x="3101" y="10968"/>
                  </a:moveTo>
                  <a:cubicBezTo>
                    <a:pt x="3213" y="11130"/>
                    <a:pt x="3213" y="11130"/>
                    <a:pt x="3213" y="11130"/>
                  </a:cubicBezTo>
                  <a:cubicBezTo>
                    <a:pt x="3131" y="11303"/>
                    <a:pt x="3131" y="11303"/>
                    <a:pt x="3131" y="11303"/>
                  </a:cubicBezTo>
                  <a:cubicBezTo>
                    <a:pt x="2954" y="11513"/>
                    <a:pt x="2954" y="11513"/>
                    <a:pt x="2954" y="11513"/>
                  </a:cubicBezTo>
                  <a:cubicBezTo>
                    <a:pt x="2946" y="11509"/>
                    <a:pt x="2939" y="11506"/>
                    <a:pt x="2933" y="11504"/>
                  </a:cubicBezTo>
                  <a:cubicBezTo>
                    <a:pt x="2933" y="11503"/>
                    <a:pt x="2933" y="11503"/>
                    <a:pt x="2933" y="11503"/>
                  </a:cubicBezTo>
                  <a:cubicBezTo>
                    <a:pt x="2932" y="11502"/>
                    <a:pt x="2931" y="11499"/>
                    <a:pt x="2929" y="11496"/>
                  </a:cubicBezTo>
                  <a:cubicBezTo>
                    <a:pt x="2926" y="11490"/>
                    <a:pt x="2922" y="11482"/>
                    <a:pt x="2917" y="11472"/>
                  </a:cubicBezTo>
                  <a:cubicBezTo>
                    <a:pt x="2907" y="11453"/>
                    <a:pt x="2895" y="11430"/>
                    <a:pt x="2887" y="11414"/>
                  </a:cubicBezTo>
                  <a:cubicBezTo>
                    <a:pt x="2884" y="11408"/>
                    <a:pt x="2881" y="11404"/>
                    <a:pt x="2880" y="11401"/>
                  </a:cubicBezTo>
                  <a:cubicBezTo>
                    <a:pt x="2909" y="11264"/>
                    <a:pt x="2909" y="11264"/>
                    <a:pt x="2909" y="11264"/>
                  </a:cubicBezTo>
                  <a:cubicBezTo>
                    <a:pt x="2909" y="11262"/>
                    <a:pt x="2909" y="11262"/>
                    <a:pt x="2909" y="11262"/>
                  </a:cubicBezTo>
                  <a:cubicBezTo>
                    <a:pt x="2909" y="11262"/>
                    <a:pt x="2911" y="11183"/>
                    <a:pt x="2911" y="11146"/>
                  </a:cubicBezTo>
                  <a:cubicBezTo>
                    <a:pt x="2911" y="11136"/>
                    <a:pt x="2911" y="11131"/>
                    <a:pt x="2910" y="11124"/>
                  </a:cubicBezTo>
                  <a:cubicBezTo>
                    <a:pt x="2909" y="11122"/>
                    <a:pt x="2912" y="11121"/>
                    <a:pt x="2903" y="11111"/>
                  </a:cubicBezTo>
                  <a:cubicBezTo>
                    <a:pt x="2903" y="11111"/>
                    <a:pt x="2903" y="11111"/>
                    <a:pt x="2902" y="11111"/>
                  </a:cubicBezTo>
                  <a:cubicBezTo>
                    <a:pt x="2901" y="11109"/>
                    <a:pt x="2898" y="11106"/>
                    <a:pt x="2895" y="11104"/>
                  </a:cubicBezTo>
                  <a:cubicBezTo>
                    <a:pt x="2887" y="11098"/>
                    <a:pt x="2876" y="11093"/>
                    <a:pt x="2855" y="11086"/>
                  </a:cubicBezTo>
                  <a:cubicBezTo>
                    <a:pt x="2830" y="11078"/>
                    <a:pt x="2768" y="11059"/>
                    <a:pt x="2723" y="11046"/>
                  </a:cubicBezTo>
                  <a:cubicBezTo>
                    <a:pt x="2779" y="10977"/>
                    <a:pt x="2839" y="10919"/>
                    <a:pt x="2877" y="10884"/>
                  </a:cubicBezTo>
                  <a:lnTo>
                    <a:pt x="3101" y="10968"/>
                  </a:lnTo>
                  <a:close/>
                  <a:moveTo>
                    <a:pt x="2739" y="11098"/>
                  </a:moveTo>
                  <a:cubicBezTo>
                    <a:pt x="2778" y="11110"/>
                    <a:pt x="2822" y="11123"/>
                    <a:pt x="2841" y="11129"/>
                  </a:cubicBezTo>
                  <a:cubicBezTo>
                    <a:pt x="2855" y="11133"/>
                    <a:pt x="2862" y="11137"/>
                    <a:pt x="2866" y="11139"/>
                  </a:cubicBezTo>
                  <a:cubicBezTo>
                    <a:pt x="2866" y="11141"/>
                    <a:pt x="2866" y="11143"/>
                    <a:pt x="2866" y="11146"/>
                  </a:cubicBezTo>
                  <a:cubicBezTo>
                    <a:pt x="2866" y="11178"/>
                    <a:pt x="2864" y="11246"/>
                    <a:pt x="2864" y="11259"/>
                  </a:cubicBezTo>
                  <a:cubicBezTo>
                    <a:pt x="2834" y="11397"/>
                    <a:pt x="2834" y="11397"/>
                    <a:pt x="2834" y="11397"/>
                  </a:cubicBezTo>
                  <a:cubicBezTo>
                    <a:pt x="2783" y="11531"/>
                    <a:pt x="2783" y="11531"/>
                    <a:pt x="2783" y="11531"/>
                  </a:cubicBezTo>
                  <a:cubicBezTo>
                    <a:pt x="2777" y="11532"/>
                    <a:pt x="2772" y="11533"/>
                    <a:pt x="2767" y="11534"/>
                  </a:cubicBezTo>
                  <a:cubicBezTo>
                    <a:pt x="2748" y="11538"/>
                    <a:pt x="2728" y="11556"/>
                    <a:pt x="2705" y="11575"/>
                  </a:cubicBezTo>
                  <a:cubicBezTo>
                    <a:pt x="2683" y="11594"/>
                    <a:pt x="2662" y="11615"/>
                    <a:pt x="2649" y="11625"/>
                  </a:cubicBezTo>
                  <a:cubicBezTo>
                    <a:pt x="2635" y="11638"/>
                    <a:pt x="2571" y="11648"/>
                    <a:pt x="2524" y="11648"/>
                  </a:cubicBezTo>
                  <a:cubicBezTo>
                    <a:pt x="2515" y="11648"/>
                    <a:pt x="2506" y="11647"/>
                    <a:pt x="2498" y="11647"/>
                  </a:cubicBezTo>
                  <a:cubicBezTo>
                    <a:pt x="2479" y="11645"/>
                    <a:pt x="2472" y="11638"/>
                    <a:pt x="2468" y="11632"/>
                  </a:cubicBezTo>
                  <a:cubicBezTo>
                    <a:pt x="2464" y="11626"/>
                    <a:pt x="2464" y="11619"/>
                    <a:pt x="2464" y="11618"/>
                  </a:cubicBezTo>
                  <a:cubicBezTo>
                    <a:pt x="2464" y="11617"/>
                    <a:pt x="2464" y="11617"/>
                    <a:pt x="2464" y="11617"/>
                  </a:cubicBezTo>
                  <a:cubicBezTo>
                    <a:pt x="2464" y="11617"/>
                    <a:pt x="2464" y="11617"/>
                    <a:pt x="2464" y="11617"/>
                  </a:cubicBezTo>
                  <a:cubicBezTo>
                    <a:pt x="2463" y="11617"/>
                    <a:pt x="2463" y="11617"/>
                    <a:pt x="2463" y="11617"/>
                  </a:cubicBezTo>
                  <a:cubicBezTo>
                    <a:pt x="2503" y="11575"/>
                    <a:pt x="2534" y="11520"/>
                    <a:pt x="2544" y="11454"/>
                  </a:cubicBezTo>
                  <a:cubicBezTo>
                    <a:pt x="2548" y="11422"/>
                    <a:pt x="2561" y="11388"/>
                    <a:pt x="2572" y="11363"/>
                  </a:cubicBezTo>
                  <a:cubicBezTo>
                    <a:pt x="2584" y="11337"/>
                    <a:pt x="2594" y="11320"/>
                    <a:pt x="2594" y="11320"/>
                  </a:cubicBezTo>
                  <a:cubicBezTo>
                    <a:pt x="2573" y="11308"/>
                    <a:pt x="2573" y="11308"/>
                    <a:pt x="2573" y="11308"/>
                  </a:cubicBezTo>
                  <a:cubicBezTo>
                    <a:pt x="2573" y="11308"/>
                    <a:pt x="2529" y="11379"/>
                    <a:pt x="2519" y="11450"/>
                  </a:cubicBezTo>
                  <a:cubicBezTo>
                    <a:pt x="2510" y="11515"/>
                    <a:pt x="2479" y="11568"/>
                    <a:pt x="2439" y="11607"/>
                  </a:cubicBezTo>
                  <a:cubicBezTo>
                    <a:pt x="2430" y="11616"/>
                    <a:pt x="2409" y="11622"/>
                    <a:pt x="2383" y="11627"/>
                  </a:cubicBezTo>
                  <a:cubicBezTo>
                    <a:pt x="2414" y="11554"/>
                    <a:pt x="2452" y="11473"/>
                    <a:pt x="2493" y="11396"/>
                  </a:cubicBezTo>
                  <a:cubicBezTo>
                    <a:pt x="2527" y="11331"/>
                    <a:pt x="2557" y="11283"/>
                    <a:pt x="2587" y="11235"/>
                  </a:cubicBezTo>
                  <a:cubicBezTo>
                    <a:pt x="2619" y="11185"/>
                    <a:pt x="2652" y="11137"/>
                    <a:pt x="2693" y="11084"/>
                  </a:cubicBezTo>
                  <a:cubicBezTo>
                    <a:pt x="2706" y="11088"/>
                    <a:pt x="2722" y="11093"/>
                    <a:pt x="2739" y="11098"/>
                  </a:cubicBezTo>
                  <a:close/>
                  <a:moveTo>
                    <a:pt x="2339" y="11247"/>
                  </a:moveTo>
                  <a:cubicBezTo>
                    <a:pt x="2322" y="11321"/>
                    <a:pt x="2322" y="11321"/>
                    <a:pt x="2322" y="11321"/>
                  </a:cubicBezTo>
                  <a:cubicBezTo>
                    <a:pt x="2266" y="11295"/>
                    <a:pt x="2266" y="11295"/>
                    <a:pt x="2266" y="11295"/>
                  </a:cubicBezTo>
                  <a:cubicBezTo>
                    <a:pt x="2265" y="11294"/>
                    <a:pt x="2265" y="11294"/>
                    <a:pt x="2265" y="11294"/>
                  </a:cubicBezTo>
                  <a:cubicBezTo>
                    <a:pt x="2265" y="11294"/>
                    <a:pt x="2208" y="11275"/>
                    <a:pt x="2150" y="11256"/>
                  </a:cubicBezTo>
                  <a:cubicBezTo>
                    <a:pt x="2110" y="11243"/>
                    <a:pt x="2072" y="11230"/>
                    <a:pt x="2048" y="11223"/>
                  </a:cubicBezTo>
                  <a:cubicBezTo>
                    <a:pt x="2103" y="11073"/>
                    <a:pt x="2103" y="11073"/>
                    <a:pt x="2103" y="11073"/>
                  </a:cubicBezTo>
                  <a:cubicBezTo>
                    <a:pt x="2105" y="11070"/>
                    <a:pt x="2105" y="11070"/>
                    <a:pt x="2105" y="11070"/>
                  </a:cubicBezTo>
                  <a:cubicBezTo>
                    <a:pt x="2063" y="11054"/>
                    <a:pt x="2063" y="11054"/>
                    <a:pt x="2063" y="11054"/>
                  </a:cubicBezTo>
                  <a:cubicBezTo>
                    <a:pt x="1960" y="11334"/>
                    <a:pt x="1960" y="11334"/>
                    <a:pt x="1960" y="11334"/>
                  </a:cubicBezTo>
                  <a:cubicBezTo>
                    <a:pt x="1891" y="11390"/>
                    <a:pt x="1891" y="11390"/>
                    <a:pt x="1891" y="11390"/>
                  </a:cubicBezTo>
                  <a:cubicBezTo>
                    <a:pt x="1522" y="10983"/>
                    <a:pt x="1522" y="10983"/>
                    <a:pt x="1522" y="10983"/>
                  </a:cubicBezTo>
                  <a:cubicBezTo>
                    <a:pt x="1535" y="10976"/>
                    <a:pt x="1549" y="10970"/>
                    <a:pt x="1561" y="10964"/>
                  </a:cubicBezTo>
                  <a:cubicBezTo>
                    <a:pt x="1641" y="10929"/>
                    <a:pt x="1878" y="10834"/>
                    <a:pt x="1975" y="10813"/>
                  </a:cubicBezTo>
                  <a:cubicBezTo>
                    <a:pt x="1976" y="10812"/>
                    <a:pt x="1978" y="10812"/>
                    <a:pt x="1980" y="10812"/>
                  </a:cubicBezTo>
                  <a:cubicBezTo>
                    <a:pt x="2074" y="11058"/>
                    <a:pt x="2074" y="11058"/>
                    <a:pt x="2074" y="11058"/>
                  </a:cubicBezTo>
                  <a:cubicBezTo>
                    <a:pt x="2457" y="11059"/>
                    <a:pt x="2457" y="11059"/>
                    <a:pt x="2457" y="11059"/>
                  </a:cubicBezTo>
                  <a:lnTo>
                    <a:pt x="2339" y="11247"/>
                  </a:lnTo>
                  <a:close/>
                  <a:moveTo>
                    <a:pt x="2312" y="11367"/>
                  </a:moveTo>
                  <a:cubicBezTo>
                    <a:pt x="2270" y="11551"/>
                    <a:pt x="2270" y="11551"/>
                    <a:pt x="2270" y="11551"/>
                  </a:cubicBezTo>
                  <a:cubicBezTo>
                    <a:pt x="1977" y="11486"/>
                    <a:pt x="1977" y="11486"/>
                    <a:pt x="1977" y="11486"/>
                  </a:cubicBezTo>
                  <a:cubicBezTo>
                    <a:pt x="1921" y="11424"/>
                    <a:pt x="1921" y="11424"/>
                    <a:pt x="1921" y="11424"/>
                  </a:cubicBezTo>
                  <a:cubicBezTo>
                    <a:pt x="1998" y="11361"/>
                    <a:pt x="1998" y="11361"/>
                    <a:pt x="1998" y="11361"/>
                  </a:cubicBezTo>
                  <a:cubicBezTo>
                    <a:pt x="2033" y="11265"/>
                    <a:pt x="2033" y="11265"/>
                    <a:pt x="2033" y="11265"/>
                  </a:cubicBezTo>
                  <a:cubicBezTo>
                    <a:pt x="2038" y="11267"/>
                    <a:pt x="2044" y="11269"/>
                    <a:pt x="2052" y="11271"/>
                  </a:cubicBezTo>
                  <a:cubicBezTo>
                    <a:pt x="2074" y="11279"/>
                    <a:pt x="2103" y="11288"/>
                    <a:pt x="2133" y="11298"/>
                  </a:cubicBezTo>
                  <a:cubicBezTo>
                    <a:pt x="2187" y="11316"/>
                    <a:pt x="2240" y="11334"/>
                    <a:pt x="2250" y="11337"/>
                  </a:cubicBezTo>
                  <a:lnTo>
                    <a:pt x="2312" y="11367"/>
                  </a:lnTo>
                  <a:close/>
                  <a:moveTo>
                    <a:pt x="1908" y="11434"/>
                  </a:moveTo>
                  <a:cubicBezTo>
                    <a:pt x="1969" y="11501"/>
                    <a:pt x="1969" y="11501"/>
                    <a:pt x="1969" y="11501"/>
                  </a:cubicBezTo>
                  <a:cubicBezTo>
                    <a:pt x="2283" y="11571"/>
                    <a:pt x="2283" y="11571"/>
                    <a:pt x="2283" y="11571"/>
                  </a:cubicBezTo>
                  <a:cubicBezTo>
                    <a:pt x="2327" y="11374"/>
                    <a:pt x="2327" y="11374"/>
                    <a:pt x="2327" y="11374"/>
                  </a:cubicBezTo>
                  <a:cubicBezTo>
                    <a:pt x="2407" y="11412"/>
                    <a:pt x="2407" y="11412"/>
                    <a:pt x="2407" y="11412"/>
                  </a:cubicBezTo>
                  <a:cubicBezTo>
                    <a:pt x="2369" y="11489"/>
                    <a:pt x="2333" y="11566"/>
                    <a:pt x="2304" y="11635"/>
                  </a:cubicBezTo>
                  <a:cubicBezTo>
                    <a:pt x="2290" y="11636"/>
                    <a:pt x="2276" y="11636"/>
                    <a:pt x="2262" y="11636"/>
                  </a:cubicBezTo>
                  <a:cubicBezTo>
                    <a:pt x="2220" y="11636"/>
                    <a:pt x="2178" y="11634"/>
                    <a:pt x="2147" y="11632"/>
                  </a:cubicBezTo>
                  <a:cubicBezTo>
                    <a:pt x="2107" y="11630"/>
                    <a:pt x="2054" y="11610"/>
                    <a:pt x="2011" y="11590"/>
                  </a:cubicBezTo>
                  <a:cubicBezTo>
                    <a:pt x="1973" y="11573"/>
                    <a:pt x="1944" y="11556"/>
                    <a:pt x="1937" y="11552"/>
                  </a:cubicBezTo>
                  <a:cubicBezTo>
                    <a:pt x="1861" y="11472"/>
                    <a:pt x="1861" y="11472"/>
                    <a:pt x="1861" y="11472"/>
                  </a:cubicBezTo>
                  <a:lnTo>
                    <a:pt x="1908" y="11434"/>
                  </a:lnTo>
                  <a:close/>
                  <a:moveTo>
                    <a:pt x="1922" y="11572"/>
                  </a:moveTo>
                  <a:cubicBezTo>
                    <a:pt x="1923" y="11573"/>
                    <a:pt x="1923" y="11573"/>
                    <a:pt x="1923" y="11573"/>
                  </a:cubicBezTo>
                  <a:cubicBezTo>
                    <a:pt x="1924" y="11573"/>
                    <a:pt x="2055" y="11650"/>
                    <a:pt x="2146" y="11656"/>
                  </a:cubicBezTo>
                  <a:cubicBezTo>
                    <a:pt x="2177" y="11658"/>
                    <a:pt x="2219" y="11660"/>
                    <a:pt x="2262" y="11660"/>
                  </a:cubicBezTo>
                  <a:cubicBezTo>
                    <a:pt x="2273" y="11660"/>
                    <a:pt x="2283" y="11660"/>
                    <a:pt x="2294" y="11660"/>
                  </a:cubicBezTo>
                  <a:cubicBezTo>
                    <a:pt x="2286" y="11680"/>
                    <a:pt x="2278" y="11699"/>
                    <a:pt x="2271" y="11718"/>
                  </a:cubicBezTo>
                  <a:cubicBezTo>
                    <a:pt x="2251" y="11717"/>
                    <a:pt x="2232" y="11717"/>
                    <a:pt x="2224" y="11717"/>
                  </a:cubicBezTo>
                  <a:cubicBezTo>
                    <a:pt x="2188" y="11717"/>
                    <a:pt x="2097" y="11713"/>
                    <a:pt x="2017" y="11678"/>
                  </a:cubicBezTo>
                  <a:cubicBezTo>
                    <a:pt x="1943" y="11647"/>
                    <a:pt x="1876" y="11592"/>
                    <a:pt x="1848" y="11567"/>
                  </a:cubicBezTo>
                  <a:cubicBezTo>
                    <a:pt x="1841" y="11560"/>
                    <a:pt x="1837" y="11556"/>
                    <a:pt x="1835" y="11555"/>
                  </a:cubicBezTo>
                  <a:cubicBezTo>
                    <a:pt x="1804" y="11519"/>
                    <a:pt x="1804" y="11519"/>
                    <a:pt x="1804" y="11519"/>
                  </a:cubicBezTo>
                  <a:cubicBezTo>
                    <a:pt x="1842" y="11488"/>
                    <a:pt x="1842" y="11488"/>
                    <a:pt x="1842" y="11488"/>
                  </a:cubicBezTo>
                  <a:lnTo>
                    <a:pt x="1922" y="11572"/>
                  </a:lnTo>
                  <a:close/>
                  <a:moveTo>
                    <a:pt x="2224" y="11786"/>
                  </a:moveTo>
                  <a:cubicBezTo>
                    <a:pt x="2231" y="11786"/>
                    <a:pt x="2239" y="11786"/>
                    <a:pt x="2246" y="11786"/>
                  </a:cubicBezTo>
                  <a:cubicBezTo>
                    <a:pt x="2223" y="11853"/>
                    <a:pt x="2215" y="11881"/>
                    <a:pt x="2213" y="11893"/>
                  </a:cubicBezTo>
                  <a:cubicBezTo>
                    <a:pt x="2205" y="11905"/>
                    <a:pt x="2185" y="11939"/>
                    <a:pt x="2155" y="11985"/>
                  </a:cubicBezTo>
                  <a:cubicBezTo>
                    <a:pt x="2148" y="11997"/>
                    <a:pt x="2139" y="12010"/>
                    <a:pt x="2130" y="12023"/>
                  </a:cubicBezTo>
                  <a:cubicBezTo>
                    <a:pt x="2183" y="11784"/>
                    <a:pt x="2183" y="11784"/>
                    <a:pt x="2183" y="11784"/>
                  </a:cubicBezTo>
                  <a:cubicBezTo>
                    <a:pt x="2200" y="11785"/>
                    <a:pt x="2214" y="11785"/>
                    <a:pt x="2224" y="11786"/>
                  </a:cubicBezTo>
                  <a:close/>
                  <a:moveTo>
                    <a:pt x="2275" y="11923"/>
                  </a:moveTo>
                  <a:cubicBezTo>
                    <a:pt x="2279" y="11916"/>
                    <a:pt x="2279" y="11916"/>
                    <a:pt x="2279" y="11916"/>
                  </a:cubicBezTo>
                  <a:cubicBezTo>
                    <a:pt x="2279" y="11910"/>
                    <a:pt x="2279" y="11910"/>
                    <a:pt x="2279" y="11910"/>
                  </a:cubicBezTo>
                  <a:cubicBezTo>
                    <a:pt x="2280" y="11909"/>
                    <a:pt x="2280" y="11909"/>
                    <a:pt x="2280" y="11908"/>
                  </a:cubicBezTo>
                  <a:cubicBezTo>
                    <a:pt x="2280" y="11906"/>
                    <a:pt x="2281" y="11901"/>
                    <a:pt x="2284" y="11893"/>
                  </a:cubicBezTo>
                  <a:cubicBezTo>
                    <a:pt x="2288" y="11877"/>
                    <a:pt x="2297" y="11848"/>
                    <a:pt x="2314" y="11798"/>
                  </a:cubicBezTo>
                  <a:cubicBezTo>
                    <a:pt x="2317" y="11791"/>
                    <a:pt x="2320" y="11784"/>
                    <a:pt x="2322" y="11777"/>
                  </a:cubicBezTo>
                  <a:cubicBezTo>
                    <a:pt x="2424" y="11769"/>
                    <a:pt x="2424" y="11769"/>
                    <a:pt x="2424" y="11769"/>
                  </a:cubicBezTo>
                  <a:cubicBezTo>
                    <a:pt x="2422" y="11774"/>
                    <a:pt x="2419" y="11781"/>
                    <a:pt x="2417" y="11789"/>
                  </a:cubicBezTo>
                  <a:cubicBezTo>
                    <a:pt x="2409" y="11810"/>
                    <a:pt x="2400" y="11837"/>
                    <a:pt x="2390" y="11865"/>
                  </a:cubicBezTo>
                  <a:cubicBezTo>
                    <a:pt x="2371" y="11920"/>
                    <a:pt x="2353" y="11974"/>
                    <a:pt x="2353" y="11974"/>
                  </a:cubicBezTo>
                  <a:cubicBezTo>
                    <a:pt x="2353" y="11975"/>
                    <a:pt x="2353" y="11975"/>
                    <a:pt x="2353" y="11975"/>
                  </a:cubicBezTo>
                  <a:cubicBezTo>
                    <a:pt x="2353" y="11976"/>
                    <a:pt x="2353" y="11976"/>
                    <a:pt x="2353" y="11976"/>
                  </a:cubicBezTo>
                  <a:cubicBezTo>
                    <a:pt x="2353" y="11976"/>
                    <a:pt x="2341" y="12059"/>
                    <a:pt x="2328" y="12143"/>
                  </a:cubicBezTo>
                  <a:cubicBezTo>
                    <a:pt x="2317" y="12221"/>
                    <a:pt x="2305" y="12302"/>
                    <a:pt x="2302" y="12318"/>
                  </a:cubicBezTo>
                  <a:cubicBezTo>
                    <a:pt x="2266" y="12314"/>
                    <a:pt x="2122" y="12300"/>
                    <a:pt x="2024" y="12292"/>
                  </a:cubicBezTo>
                  <a:cubicBezTo>
                    <a:pt x="2038" y="12273"/>
                    <a:pt x="2051" y="12255"/>
                    <a:pt x="2062" y="12240"/>
                  </a:cubicBezTo>
                  <a:cubicBezTo>
                    <a:pt x="2182" y="12081"/>
                    <a:pt x="2275" y="11924"/>
                    <a:pt x="2275" y="11923"/>
                  </a:cubicBezTo>
                  <a:close/>
                  <a:moveTo>
                    <a:pt x="2281" y="12361"/>
                  </a:moveTo>
                  <a:cubicBezTo>
                    <a:pt x="2281" y="12361"/>
                    <a:pt x="2281" y="12361"/>
                    <a:pt x="2281" y="12361"/>
                  </a:cubicBezTo>
                  <a:cubicBezTo>
                    <a:pt x="2281" y="12361"/>
                    <a:pt x="2376" y="12371"/>
                    <a:pt x="2607" y="12394"/>
                  </a:cubicBezTo>
                  <a:cubicBezTo>
                    <a:pt x="2514" y="12955"/>
                    <a:pt x="2514" y="12955"/>
                    <a:pt x="2514" y="12955"/>
                  </a:cubicBezTo>
                  <a:cubicBezTo>
                    <a:pt x="2435" y="12933"/>
                    <a:pt x="2371" y="12916"/>
                    <a:pt x="2358" y="12912"/>
                  </a:cubicBezTo>
                  <a:cubicBezTo>
                    <a:pt x="2254" y="12761"/>
                    <a:pt x="2254" y="12761"/>
                    <a:pt x="2254" y="12761"/>
                  </a:cubicBezTo>
                  <a:cubicBezTo>
                    <a:pt x="2087" y="12703"/>
                    <a:pt x="2087" y="12703"/>
                    <a:pt x="2087" y="12703"/>
                  </a:cubicBezTo>
                  <a:cubicBezTo>
                    <a:pt x="2173" y="12351"/>
                    <a:pt x="2173" y="12351"/>
                    <a:pt x="2173" y="12351"/>
                  </a:cubicBezTo>
                  <a:cubicBezTo>
                    <a:pt x="2216" y="12355"/>
                    <a:pt x="2255" y="12359"/>
                    <a:pt x="2281" y="12361"/>
                  </a:cubicBezTo>
                  <a:close/>
                  <a:moveTo>
                    <a:pt x="2444" y="13661"/>
                  </a:moveTo>
                  <a:cubicBezTo>
                    <a:pt x="2151" y="13948"/>
                    <a:pt x="2151" y="13948"/>
                    <a:pt x="2151" y="13948"/>
                  </a:cubicBezTo>
                  <a:cubicBezTo>
                    <a:pt x="1933" y="13814"/>
                    <a:pt x="1933" y="13814"/>
                    <a:pt x="1933" y="13814"/>
                  </a:cubicBezTo>
                  <a:cubicBezTo>
                    <a:pt x="1945" y="13803"/>
                    <a:pt x="1957" y="13792"/>
                    <a:pt x="1968" y="13781"/>
                  </a:cubicBezTo>
                  <a:cubicBezTo>
                    <a:pt x="2069" y="13684"/>
                    <a:pt x="2170" y="13589"/>
                    <a:pt x="2191" y="13569"/>
                  </a:cubicBezTo>
                  <a:lnTo>
                    <a:pt x="2444" y="13661"/>
                  </a:lnTo>
                  <a:close/>
                  <a:moveTo>
                    <a:pt x="2153" y="13965"/>
                  </a:moveTo>
                  <a:cubicBezTo>
                    <a:pt x="2341" y="14081"/>
                    <a:pt x="2341" y="14081"/>
                    <a:pt x="2341" y="14081"/>
                  </a:cubicBezTo>
                  <a:cubicBezTo>
                    <a:pt x="2305" y="14117"/>
                    <a:pt x="2271" y="14150"/>
                    <a:pt x="2243" y="14177"/>
                  </a:cubicBezTo>
                  <a:cubicBezTo>
                    <a:pt x="2054" y="14062"/>
                    <a:pt x="2054" y="14062"/>
                    <a:pt x="2054" y="14062"/>
                  </a:cubicBezTo>
                  <a:lnTo>
                    <a:pt x="2153" y="13965"/>
                  </a:lnTo>
                  <a:close/>
                  <a:moveTo>
                    <a:pt x="2262" y="14178"/>
                  </a:moveTo>
                  <a:cubicBezTo>
                    <a:pt x="2289" y="14152"/>
                    <a:pt x="2320" y="14121"/>
                    <a:pt x="2354" y="14089"/>
                  </a:cubicBezTo>
                  <a:cubicBezTo>
                    <a:pt x="2583" y="14230"/>
                    <a:pt x="2583" y="14230"/>
                    <a:pt x="2583" y="14230"/>
                  </a:cubicBezTo>
                  <a:cubicBezTo>
                    <a:pt x="2485" y="14326"/>
                    <a:pt x="2485" y="14326"/>
                    <a:pt x="2485" y="14326"/>
                  </a:cubicBezTo>
                  <a:cubicBezTo>
                    <a:pt x="2255" y="14185"/>
                    <a:pt x="2255" y="14185"/>
                    <a:pt x="2255" y="14185"/>
                  </a:cubicBezTo>
                  <a:cubicBezTo>
                    <a:pt x="2257" y="14182"/>
                    <a:pt x="2260" y="14180"/>
                    <a:pt x="2262" y="14178"/>
                  </a:cubicBezTo>
                  <a:close/>
                  <a:moveTo>
                    <a:pt x="2595" y="14238"/>
                  </a:moveTo>
                  <a:cubicBezTo>
                    <a:pt x="2718" y="14314"/>
                    <a:pt x="2718" y="14314"/>
                    <a:pt x="2718" y="14314"/>
                  </a:cubicBezTo>
                  <a:cubicBezTo>
                    <a:pt x="2649" y="14427"/>
                    <a:pt x="2649" y="14427"/>
                    <a:pt x="2649" y="14427"/>
                  </a:cubicBezTo>
                  <a:cubicBezTo>
                    <a:pt x="2497" y="14334"/>
                    <a:pt x="2497" y="14334"/>
                    <a:pt x="2497" y="14334"/>
                  </a:cubicBezTo>
                  <a:lnTo>
                    <a:pt x="2595" y="14238"/>
                  </a:lnTo>
                  <a:close/>
                  <a:moveTo>
                    <a:pt x="2592" y="14221"/>
                  </a:moveTo>
                  <a:cubicBezTo>
                    <a:pt x="2363" y="14080"/>
                    <a:pt x="2363" y="14080"/>
                    <a:pt x="2363" y="14080"/>
                  </a:cubicBezTo>
                  <a:cubicBezTo>
                    <a:pt x="2390" y="14054"/>
                    <a:pt x="2418" y="14027"/>
                    <a:pt x="2446" y="14000"/>
                  </a:cubicBezTo>
                  <a:cubicBezTo>
                    <a:pt x="2558" y="13893"/>
                    <a:pt x="2670" y="13786"/>
                    <a:pt x="2703" y="13755"/>
                  </a:cubicBezTo>
                  <a:cubicBezTo>
                    <a:pt x="2967" y="13851"/>
                    <a:pt x="2967" y="13851"/>
                    <a:pt x="2967" y="13851"/>
                  </a:cubicBezTo>
                  <a:lnTo>
                    <a:pt x="2592" y="14221"/>
                  </a:lnTo>
                  <a:close/>
                  <a:moveTo>
                    <a:pt x="2743" y="13700"/>
                  </a:moveTo>
                  <a:cubicBezTo>
                    <a:pt x="2747" y="13679"/>
                    <a:pt x="2753" y="13651"/>
                    <a:pt x="2761" y="13620"/>
                  </a:cubicBezTo>
                  <a:cubicBezTo>
                    <a:pt x="2778" y="13556"/>
                    <a:pt x="2804" y="13478"/>
                    <a:pt x="2838" y="13424"/>
                  </a:cubicBezTo>
                  <a:cubicBezTo>
                    <a:pt x="2859" y="13390"/>
                    <a:pt x="2902" y="13373"/>
                    <a:pt x="2965" y="13351"/>
                  </a:cubicBezTo>
                  <a:cubicBezTo>
                    <a:pt x="2993" y="13341"/>
                    <a:pt x="3028" y="13332"/>
                    <a:pt x="3067" y="13325"/>
                  </a:cubicBezTo>
                  <a:cubicBezTo>
                    <a:pt x="3115" y="13359"/>
                    <a:pt x="3263" y="13461"/>
                    <a:pt x="3311" y="13490"/>
                  </a:cubicBezTo>
                  <a:cubicBezTo>
                    <a:pt x="3312" y="13491"/>
                    <a:pt x="3312" y="13491"/>
                    <a:pt x="3313" y="13491"/>
                  </a:cubicBezTo>
                  <a:cubicBezTo>
                    <a:pt x="3162" y="13852"/>
                    <a:pt x="3162" y="13852"/>
                    <a:pt x="3162" y="13852"/>
                  </a:cubicBezTo>
                  <a:lnTo>
                    <a:pt x="2743" y="13700"/>
                  </a:lnTo>
                  <a:close/>
                  <a:moveTo>
                    <a:pt x="3325" y="13498"/>
                  </a:moveTo>
                  <a:cubicBezTo>
                    <a:pt x="3326" y="13499"/>
                    <a:pt x="3328" y="13499"/>
                    <a:pt x="3330" y="13499"/>
                  </a:cubicBezTo>
                  <a:cubicBezTo>
                    <a:pt x="3330" y="13499"/>
                    <a:pt x="3330" y="13499"/>
                    <a:pt x="3330" y="13499"/>
                  </a:cubicBezTo>
                  <a:cubicBezTo>
                    <a:pt x="3331" y="13499"/>
                    <a:pt x="3331" y="13499"/>
                    <a:pt x="3331" y="13499"/>
                  </a:cubicBezTo>
                  <a:cubicBezTo>
                    <a:pt x="3331" y="13499"/>
                    <a:pt x="3331" y="13499"/>
                    <a:pt x="3331" y="13499"/>
                  </a:cubicBezTo>
                  <a:cubicBezTo>
                    <a:pt x="3335" y="13498"/>
                    <a:pt x="3469" y="13478"/>
                    <a:pt x="3609" y="13457"/>
                  </a:cubicBezTo>
                  <a:cubicBezTo>
                    <a:pt x="3576" y="14002"/>
                    <a:pt x="3576" y="14002"/>
                    <a:pt x="3576" y="14002"/>
                  </a:cubicBezTo>
                  <a:cubicBezTo>
                    <a:pt x="3175" y="13856"/>
                    <a:pt x="3175" y="13856"/>
                    <a:pt x="3175" y="13856"/>
                  </a:cubicBezTo>
                  <a:lnTo>
                    <a:pt x="3325" y="13498"/>
                  </a:lnTo>
                  <a:close/>
                  <a:moveTo>
                    <a:pt x="3623" y="13455"/>
                  </a:moveTo>
                  <a:cubicBezTo>
                    <a:pt x="3748" y="13436"/>
                    <a:pt x="3874" y="13417"/>
                    <a:pt x="3912" y="13411"/>
                  </a:cubicBezTo>
                  <a:cubicBezTo>
                    <a:pt x="3912" y="13764"/>
                    <a:pt x="3912" y="13764"/>
                    <a:pt x="3912" y="13764"/>
                  </a:cubicBezTo>
                  <a:cubicBezTo>
                    <a:pt x="4116" y="13984"/>
                    <a:pt x="4116" y="13984"/>
                    <a:pt x="4116" y="13984"/>
                  </a:cubicBezTo>
                  <a:cubicBezTo>
                    <a:pt x="4096" y="14080"/>
                    <a:pt x="4096" y="14080"/>
                    <a:pt x="4096" y="14080"/>
                  </a:cubicBezTo>
                  <a:cubicBezTo>
                    <a:pt x="4178" y="14220"/>
                    <a:pt x="4178" y="14220"/>
                    <a:pt x="4178" y="14220"/>
                  </a:cubicBezTo>
                  <a:cubicBezTo>
                    <a:pt x="3589" y="14007"/>
                    <a:pt x="3589" y="14007"/>
                    <a:pt x="3589" y="14007"/>
                  </a:cubicBezTo>
                  <a:lnTo>
                    <a:pt x="3623" y="13455"/>
                  </a:lnTo>
                  <a:close/>
                  <a:moveTo>
                    <a:pt x="4113" y="14077"/>
                  </a:moveTo>
                  <a:cubicBezTo>
                    <a:pt x="4132" y="13991"/>
                    <a:pt x="4132" y="13991"/>
                    <a:pt x="4132" y="13991"/>
                  </a:cubicBezTo>
                  <a:cubicBezTo>
                    <a:pt x="4172" y="13998"/>
                    <a:pt x="4359" y="14029"/>
                    <a:pt x="4418" y="14037"/>
                  </a:cubicBezTo>
                  <a:cubicBezTo>
                    <a:pt x="4417" y="14040"/>
                    <a:pt x="4417" y="14044"/>
                    <a:pt x="4416" y="14046"/>
                  </a:cubicBezTo>
                  <a:cubicBezTo>
                    <a:pt x="4404" y="14095"/>
                    <a:pt x="4392" y="14128"/>
                    <a:pt x="4368" y="14165"/>
                  </a:cubicBezTo>
                  <a:cubicBezTo>
                    <a:pt x="4348" y="14195"/>
                    <a:pt x="4312" y="14243"/>
                    <a:pt x="4296" y="14263"/>
                  </a:cubicBezTo>
                  <a:cubicBezTo>
                    <a:pt x="4202" y="14229"/>
                    <a:pt x="4202" y="14229"/>
                    <a:pt x="4202" y="14229"/>
                  </a:cubicBezTo>
                  <a:lnTo>
                    <a:pt x="4113" y="14077"/>
                  </a:lnTo>
                  <a:close/>
                  <a:moveTo>
                    <a:pt x="4425" y="14203"/>
                  </a:moveTo>
                  <a:cubicBezTo>
                    <a:pt x="4455" y="14158"/>
                    <a:pt x="4470" y="14114"/>
                    <a:pt x="4483" y="14062"/>
                  </a:cubicBezTo>
                  <a:cubicBezTo>
                    <a:pt x="4490" y="14033"/>
                    <a:pt x="4506" y="13928"/>
                    <a:pt x="4522" y="13821"/>
                  </a:cubicBezTo>
                  <a:cubicBezTo>
                    <a:pt x="4538" y="13715"/>
                    <a:pt x="4553" y="13610"/>
                    <a:pt x="4556" y="13584"/>
                  </a:cubicBezTo>
                  <a:cubicBezTo>
                    <a:pt x="4561" y="13545"/>
                    <a:pt x="4574" y="13461"/>
                    <a:pt x="4584" y="13406"/>
                  </a:cubicBezTo>
                  <a:cubicBezTo>
                    <a:pt x="4739" y="13549"/>
                    <a:pt x="4739" y="13549"/>
                    <a:pt x="4739" y="13549"/>
                  </a:cubicBezTo>
                  <a:cubicBezTo>
                    <a:pt x="4738" y="13574"/>
                    <a:pt x="4728" y="13729"/>
                    <a:pt x="4717" y="13889"/>
                  </a:cubicBezTo>
                  <a:cubicBezTo>
                    <a:pt x="4707" y="14050"/>
                    <a:pt x="4696" y="14215"/>
                    <a:pt x="4693" y="14250"/>
                  </a:cubicBezTo>
                  <a:cubicBezTo>
                    <a:pt x="4691" y="14250"/>
                    <a:pt x="4689" y="14250"/>
                    <a:pt x="4687" y="14250"/>
                  </a:cubicBezTo>
                  <a:cubicBezTo>
                    <a:pt x="4640" y="14250"/>
                    <a:pt x="4469" y="14248"/>
                    <a:pt x="4394" y="14246"/>
                  </a:cubicBezTo>
                  <a:cubicBezTo>
                    <a:pt x="4405" y="14231"/>
                    <a:pt x="4416" y="14216"/>
                    <a:pt x="4425" y="14203"/>
                  </a:cubicBezTo>
                  <a:close/>
                  <a:moveTo>
                    <a:pt x="4836" y="13700"/>
                  </a:moveTo>
                  <a:cubicBezTo>
                    <a:pt x="4830" y="13758"/>
                    <a:pt x="4830" y="13758"/>
                    <a:pt x="4830" y="13758"/>
                  </a:cubicBezTo>
                  <a:cubicBezTo>
                    <a:pt x="4817" y="13758"/>
                    <a:pt x="4817" y="13758"/>
                    <a:pt x="4817" y="13758"/>
                  </a:cubicBezTo>
                  <a:cubicBezTo>
                    <a:pt x="4808" y="13806"/>
                    <a:pt x="4808" y="13806"/>
                    <a:pt x="4808" y="13806"/>
                  </a:cubicBezTo>
                  <a:cubicBezTo>
                    <a:pt x="4772" y="13804"/>
                    <a:pt x="4772" y="13804"/>
                    <a:pt x="4772" y="13804"/>
                  </a:cubicBezTo>
                  <a:cubicBezTo>
                    <a:pt x="4766" y="13856"/>
                    <a:pt x="4766" y="13856"/>
                    <a:pt x="4766" y="13856"/>
                  </a:cubicBezTo>
                  <a:cubicBezTo>
                    <a:pt x="4736" y="13854"/>
                    <a:pt x="4736" y="13854"/>
                    <a:pt x="4736" y="13854"/>
                  </a:cubicBezTo>
                  <a:cubicBezTo>
                    <a:pt x="4741" y="13781"/>
                    <a:pt x="4745" y="13712"/>
                    <a:pt x="4749" y="13657"/>
                  </a:cubicBezTo>
                  <a:cubicBezTo>
                    <a:pt x="4753" y="13657"/>
                    <a:pt x="4773" y="13658"/>
                    <a:pt x="4800" y="13660"/>
                  </a:cubicBezTo>
                  <a:cubicBezTo>
                    <a:pt x="4795" y="13698"/>
                    <a:pt x="4795" y="13698"/>
                    <a:pt x="4795" y="13698"/>
                  </a:cubicBezTo>
                  <a:lnTo>
                    <a:pt x="4836" y="13700"/>
                  </a:lnTo>
                  <a:close/>
                  <a:moveTo>
                    <a:pt x="4929" y="13669"/>
                  </a:moveTo>
                  <a:cubicBezTo>
                    <a:pt x="4919" y="13756"/>
                    <a:pt x="4919" y="13756"/>
                    <a:pt x="4919" y="13756"/>
                  </a:cubicBezTo>
                  <a:cubicBezTo>
                    <a:pt x="4907" y="13755"/>
                    <a:pt x="4907" y="13755"/>
                    <a:pt x="4907" y="13755"/>
                  </a:cubicBezTo>
                  <a:cubicBezTo>
                    <a:pt x="4906" y="13768"/>
                    <a:pt x="4906" y="13768"/>
                    <a:pt x="4906" y="13768"/>
                  </a:cubicBezTo>
                  <a:cubicBezTo>
                    <a:pt x="4895" y="13862"/>
                    <a:pt x="4895" y="13862"/>
                    <a:pt x="4895" y="13862"/>
                  </a:cubicBezTo>
                  <a:cubicBezTo>
                    <a:pt x="4780" y="13856"/>
                    <a:pt x="4780" y="13856"/>
                    <a:pt x="4780" y="13856"/>
                  </a:cubicBezTo>
                  <a:cubicBezTo>
                    <a:pt x="4784" y="13819"/>
                    <a:pt x="4784" y="13819"/>
                    <a:pt x="4784" y="13819"/>
                  </a:cubicBezTo>
                  <a:cubicBezTo>
                    <a:pt x="4807" y="13820"/>
                    <a:pt x="4807" y="13820"/>
                    <a:pt x="4807" y="13820"/>
                  </a:cubicBezTo>
                  <a:cubicBezTo>
                    <a:pt x="4820" y="13821"/>
                    <a:pt x="4820" y="13821"/>
                    <a:pt x="4820" y="13821"/>
                  </a:cubicBezTo>
                  <a:cubicBezTo>
                    <a:pt x="4822" y="13809"/>
                    <a:pt x="4822" y="13809"/>
                    <a:pt x="4822" y="13809"/>
                  </a:cubicBezTo>
                  <a:cubicBezTo>
                    <a:pt x="4828" y="13772"/>
                    <a:pt x="4828" y="13772"/>
                    <a:pt x="4828" y="13772"/>
                  </a:cubicBezTo>
                  <a:cubicBezTo>
                    <a:pt x="4830" y="13772"/>
                    <a:pt x="4830" y="13772"/>
                    <a:pt x="4830" y="13772"/>
                  </a:cubicBezTo>
                  <a:cubicBezTo>
                    <a:pt x="4843" y="13772"/>
                    <a:pt x="4843" y="13772"/>
                    <a:pt x="4843" y="13772"/>
                  </a:cubicBezTo>
                  <a:cubicBezTo>
                    <a:pt x="4844" y="13760"/>
                    <a:pt x="4844" y="13760"/>
                    <a:pt x="4844" y="13760"/>
                  </a:cubicBezTo>
                  <a:cubicBezTo>
                    <a:pt x="4850" y="13701"/>
                    <a:pt x="4850" y="13701"/>
                    <a:pt x="4850" y="13701"/>
                  </a:cubicBezTo>
                  <a:cubicBezTo>
                    <a:pt x="4851" y="13686"/>
                    <a:pt x="4851" y="13686"/>
                    <a:pt x="4851" y="13686"/>
                  </a:cubicBezTo>
                  <a:cubicBezTo>
                    <a:pt x="4836" y="13686"/>
                    <a:pt x="4836" y="13686"/>
                    <a:pt x="4836" y="13686"/>
                  </a:cubicBezTo>
                  <a:cubicBezTo>
                    <a:pt x="4811" y="13684"/>
                    <a:pt x="4811" y="13684"/>
                    <a:pt x="4811" y="13684"/>
                  </a:cubicBezTo>
                  <a:cubicBezTo>
                    <a:pt x="4814" y="13661"/>
                    <a:pt x="4814" y="13661"/>
                    <a:pt x="4814" y="13661"/>
                  </a:cubicBezTo>
                  <a:cubicBezTo>
                    <a:pt x="4851" y="13664"/>
                    <a:pt x="4895" y="13667"/>
                    <a:pt x="4929" y="13669"/>
                  </a:cubicBezTo>
                  <a:close/>
                  <a:moveTo>
                    <a:pt x="4816" y="13645"/>
                  </a:moveTo>
                  <a:cubicBezTo>
                    <a:pt x="4820" y="13612"/>
                    <a:pt x="4820" y="13612"/>
                    <a:pt x="4820" y="13612"/>
                  </a:cubicBezTo>
                  <a:cubicBezTo>
                    <a:pt x="4845" y="13613"/>
                    <a:pt x="4845" y="13613"/>
                    <a:pt x="4845" y="13613"/>
                  </a:cubicBezTo>
                  <a:cubicBezTo>
                    <a:pt x="4858" y="13614"/>
                    <a:pt x="4858" y="13614"/>
                    <a:pt x="4858" y="13614"/>
                  </a:cubicBezTo>
                  <a:cubicBezTo>
                    <a:pt x="4860" y="13601"/>
                    <a:pt x="4860" y="13601"/>
                    <a:pt x="4860" y="13601"/>
                  </a:cubicBezTo>
                  <a:cubicBezTo>
                    <a:pt x="4864" y="13564"/>
                    <a:pt x="4864" y="13564"/>
                    <a:pt x="4864" y="13564"/>
                  </a:cubicBezTo>
                  <a:cubicBezTo>
                    <a:pt x="4940" y="13572"/>
                    <a:pt x="4940" y="13572"/>
                    <a:pt x="4940" y="13572"/>
                  </a:cubicBezTo>
                  <a:cubicBezTo>
                    <a:pt x="4931" y="13653"/>
                    <a:pt x="4931" y="13653"/>
                    <a:pt x="4931" y="13653"/>
                  </a:cubicBezTo>
                  <a:cubicBezTo>
                    <a:pt x="4924" y="13653"/>
                    <a:pt x="4916" y="13652"/>
                    <a:pt x="4907" y="13652"/>
                  </a:cubicBezTo>
                  <a:cubicBezTo>
                    <a:pt x="4878" y="13650"/>
                    <a:pt x="4845" y="13647"/>
                    <a:pt x="4816" y="13645"/>
                  </a:cubicBezTo>
                  <a:close/>
                  <a:moveTo>
                    <a:pt x="4800" y="13895"/>
                  </a:moveTo>
                  <a:cubicBezTo>
                    <a:pt x="4776" y="13893"/>
                    <a:pt x="4776" y="13893"/>
                    <a:pt x="4776" y="13893"/>
                  </a:cubicBezTo>
                  <a:cubicBezTo>
                    <a:pt x="4778" y="13873"/>
                    <a:pt x="4778" y="13873"/>
                    <a:pt x="4778" y="13873"/>
                  </a:cubicBezTo>
                  <a:cubicBezTo>
                    <a:pt x="4893" y="13878"/>
                    <a:pt x="4893" y="13878"/>
                    <a:pt x="4893" y="13878"/>
                  </a:cubicBezTo>
                  <a:cubicBezTo>
                    <a:pt x="4883" y="13960"/>
                    <a:pt x="4883" y="13960"/>
                    <a:pt x="4883" y="13960"/>
                  </a:cubicBezTo>
                  <a:cubicBezTo>
                    <a:pt x="4809" y="13950"/>
                    <a:pt x="4809" y="13950"/>
                    <a:pt x="4809" y="13950"/>
                  </a:cubicBezTo>
                  <a:cubicBezTo>
                    <a:pt x="4813" y="13910"/>
                    <a:pt x="4813" y="13910"/>
                    <a:pt x="4813" y="13910"/>
                  </a:cubicBezTo>
                  <a:cubicBezTo>
                    <a:pt x="4814" y="13896"/>
                    <a:pt x="4814" y="13896"/>
                    <a:pt x="4814" y="13896"/>
                  </a:cubicBezTo>
                  <a:lnTo>
                    <a:pt x="4800" y="13895"/>
                  </a:lnTo>
                  <a:close/>
                  <a:moveTo>
                    <a:pt x="4733" y="13902"/>
                  </a:moveTo>
                  <a:cubicBezTo>
                    <a:pt x="4734" y="13892"/>
                    <a:pt x="4734" y="13881"/>
                    <a:pt x="4735" y="13870"/>
                  </a:cubicBezTo>
                  <a:cubicBezTo>
                    <a:pt x="4764" y="13872"/>
                    <a:pt x="4764" y="13872"/>
                    <a:pt x="4764" y="13872"/>
                  </a:cubicBezTo>
                  <a:cubicBezTo>
                    <a:pt x="4760" y="13906"/>
                    <a:pt x="4760" y="13906"/>
                    <a:pt x="4760" y="13906"/>
                  </a:cubicBezTo>
                  <a:cubicBezTo>
                    <a:pt x="4799" y="13909"/>
                    <a:pt x="4799" y="13909"/>
                    <a:pt x="4799" y="13909"/>
                  </a:cubicBezTo>
                  <a:cubicBezTo>
                    <a:pt x="4794" y="13963"/>
                    <a:pt x="4794" y="13963"/>
                    <a:pt x="4794" y="13963"/>
                  </a:cubicBezTo>
                  <a:cubicBezTo>
                    <a:pt x="4895" y="13975"/>
                    <a:pt x="4895" y="13975"/>
                    <a:pt x="4895" y="13975"/>
                  </a:cubicBezTo>
                  <a:cubicBezTo>
                    <a:pt x="4907" y="13879"/>
                    <a:pt x="4907" y="13879"/>
                    <a:pt x="4907" y="13879"/>
                  </a:cubicBezTo>
                  <a:cubicBezTo>
                    <a:pt x="4940" y="13881"/>
                    <a:pt x="4940" y="13881"/>
                    <a:pt x="4940" y="13881"/>
                  </a:cubicBezTo>
                  <a:cubicBezTo>
                    <a:pt x="4940" y="13889"/>
                    <a:pt x="4940" y="13898"/>
                    <a:pt x="4940" y="13908"/>
                  </a:cubicBezTo>
                  <a:cubicBezTo>
                    <a:pt x="4940" y="13929"/>
                    <a:pt x="4939" y="13946"/>
                    <a:pt x="4942" y="13971"/>
                  </a:cubicBezTo>
                  <a:cubicBezTo>
                    <a:pt x="4935" y="13975"/>
                    <a:pt x="4924" y="13981"/>
                    <a:pt x="4910" y="13988"/>
                  </a:cubicBezTo>
                  <a:cubicBezTo>
                    <a:pt x="4887" y="14000"/>
                    <a:pt x="4857" y="14016"/>
                    <a:pt x="4827" y="14032"/>
                  </a:cubicBezTo>
                  <a:cubicBezTo>
                    <a:pt x="4784" y="14055"/>
                    <a:pt x="4742" y="14077"/>
                    <a:pt x="4721" y="14089"/>
                  </a:cubicBezTo>
                  <a:cubicBezTo>
                    <a:pt x="4724" y="14032"/>
                    <a:pt x="4729" y="13967"/>
                    <a:pt x="4733" y="13902"/>
                  </a:cubicBezTo>
                  <a:close/>
                  <a:moveTo>
                    <a:pt x="4942" y="13856"/>
                  </a:moveTo>
                  <a:cubicBezTo>
                    <a:pt x="4941" y="13858"/>
                    <a:pt x="4941" y="13861"/>
                    <a:pt x="4941" y="13864"/>
                  </a:cubicBezTo>
                  <a:cubicBezTo>
                    <a:pt x="4909" y="13863"/>
                    <a:pt x="4909" y="13863"/>
                    <a:pt x="4909" y="13863"/>
                  </a:cubicBezTo>
                  <a:cubicBezTo>
                    <a:pt x="4920" y="13769"/>
                    <a:pt x="4920" y="13769"/>
                    <a:pt x="4920" y="13769"/>
                  </a:cubicBezTo>
                  <a:cubicBezTo>
                    <a:pt x="4932" y="13770"/>
                    <a:pt x="4932" y="13770"/>
                    <a:pt x="4932" y="13770"/>
                  </a:cubicBezTo>
                  <a:cubicBezTo>
                    <a:pt x="4943" y="13670"/>
                    <a:pt x="4943" y="13670"/>
                    <a:pt x="4943" y="13670"/>
                  </a:cubicBezTo>
                  <a:cubicBezTo>
                    <a:pt x="4950" y="13671"/>
                    <a:pt x="4957" y="13671"/>
                    <a:pt x="4963" y="13672"/>
                  </a:cubicBezTo>
                  <a:cubicBezTo>
                    <a:pt x="4956" y="13724"/>
                    <a:pt x="4947" y="13795"/>
                    <a:pt x="4942" y="13856"/>
                  </a:cubicBezTo>
                  <a:close/>
                  <a:moveTo>
                    <a:pt x="4946" y="13654"/>
                  </a:moveTo>
                  <a:cubicBezTo>
                    <a:pt x="4946" y="13654"/>
                    <a:pt x="4946" y="13654"/>
                    <a:pt x="4946" y="13654"/>
                  </a:cubicBezTo>
                  <a:cubicBezTo>
                    <a:pt x="4946" y="13654"/>
                    <a:pt x="4946" y="13654"/>
                    <a:pt x="4945" y="13654"/>
                  </a:cubicBezTo>
                  <a:cubicBezTo>
                    <a:pt x="4955" y="13559"/>
                    <a:pt x="4955" y="13559"/>
                    <a:pt x="4955" y="13559"/>
                  </a:cubicBezTo>
                  <a:cubicBezTo>
                    <a:pt x="4852" y="13549"/>
                    <a:pt x="4852" y="13549"/>
                    <a:pt x="4852" y="13549"/>
                  </a:cubicBezTo>
                  <a:cubicBezTo>
                    <a:pt x="4846" y="13599"/>
                    <a:pt x="4846" y="13599"/>
                    <a:pt x="4846" y="13599"/>
                  </a:cubicBezTo>
                  <a:cubicBezTo>
                    <a:pt x="4808" y="13597"/>
                    <a:pt x="4808" y="13597"/>
                    <a:pt x="4808" y="13597"/>
                  </a:cubicBezTo>
                  <a:cubicBezTo>
                    <a:pt x="4802" y="13644"/>
                    <a:pt x="4802" y="13644"/>
                    <a:pt x="4802" y="13644"/>
                  </a:cubicBezTo>
                  <a:cubicBezTo>
                    <a:pt x="4776" y="13642"/>
                    <a:pt x="4756" y="13641"/>
                    <a:pt x="4750" y="13640"/>
                  </a:cubicBezTo>
                  <a:cubicBezTo>
                    <a:pt x="4753" y="13598"/>
                    <a:pt x="4755" y="13566"/>
                    <a:pt x="4755" y="13553"/>
                  </a:cubicBezTo>
                  <a:cubicBezTo>
                    <a:pt x="4789" y="13550"/>
                    <a:pt x="4934" y="13533"/>
                    <a:pt x="4983" y="13527"/>
                  </a:cubicBezTo>
                  <a:cubicBezTo>
                    <a:pt x="4979" y="13563"/>
                    <a:pt x="4974" y="13594"/>
                    <a:pt x="4972" y="13612"/>
                  </a:cubicBezTo>
                  <a:cubicBezTo>
                    <a:pt x="4970" y="13622"/>
                    <a:pt x="4968" y="13637"/>
                    <a:pt x="4965" y="13655"/>
                  </a:cubicBezTo>
                  <a:cubicBezTo>
                    <a:pt x="4960" y="13655"/>
                    <a:pt x="4954" y="13655"/>
                    <a:pt x="4946" y="13654"/>
                  </a:cubicBezTo>
                  <a:close/>
                  <a:moveTo>
                    <a:pt x="4963" y="13513"/>
                  </a:moveTo>
                  <a:cubicBezTo>
                    <a:pt x="4942" y="13515"/>
                    <a:pt x="4915" y="13519"/>
                    <a:pt x="4886" y="13522"/>
                  </a:cubicBezTo>
                  <a:cubicBezTo>
                    <a:pt x="4829" y="13529"/>
                    <a:pt x="4768" y="13535"/>
                    <a:pt x="4751" y="13537"/>
                  </a:cubicBezTo>
                  <a:cubicBezTo>
                    <a:pt x="4751" y="13537"/>
                    <a:pt x="4751" y="13537"/>
                    <a:pt x="4750" y="13537"/>
                  </a:cubicBezTo>
                  <a:cubicBezTo>
                    <a:pt x="4588" y="13387"/>
                    <a:pt x="4588" y="13387"/>
                    <a:pt x="4588" y="13387"/>
                  </a:cubicBezTo>
                  <a:cubicBezTo>
                    <a:pt x="4589" y="13383"/>
                    <a:pt x="4589" y="13379"/>
                    <a:pt x="4590" y="13376"/>
                  </a:cubicBezTo>
                  <a:cubicBezTo>
                    <a:pt x="4591" y="13369"/>
                    <a:pt x="4600" y="13341"/>
                    <a:pt x="4612" y="13308"/>
                  </a:cubicBezTo>
                  <a:cubicBezTo>
                    <a:pt x="4624" y="13275"/>
                    <a:pt x="4640" y="13235"/>
                    <a:pt x="4655" y="13196"/>
                  </a:cubicBezTo>
                  <a:cubicBezTo>
                    <a:pt x="4684" y="13122"/>
                    <a:pt x="4711" y="13054"/>
                    <a:pt x="4713" y="13049"/>
                  </a:cubicBezTo>
                  <a:cubicBezTo>
                    <a:pt x="4725" y="13030"/>
                    <a:pt x="4742" y="13004"/>
                    <a:pt x="4761" y="12974"/>
                  </a:cubicBezTo>
                  <a:cubicBezTo>
                    <a:pt x="4787" y="12934"/>
                    <a:pt x="4818" y="12888"/>
                    <a:pt x="4844" y="12853"/>
                  </a:cubicBezTo>
                  <a:cubicBezTo>
                    <a:pt x="4990" y="13011"/>
                    <a:pt x="5004" y="13221"/>
                    <a:pt x="5004" y="13312"/>
                  </a:cubicBezTo>
                  <a:cubicBezTo>
                    <a:pt x="5004" y="13326"/>
                    <a:pt x="5003" y="13336"/>
                    <a:pt x="5003" y="13344"/>
                  </a:cubicBezTo>
                  <a:cubicBezTo>
                    <a:pt x="5002" y="13355"/>
                    <a:pt x="4999" y="13397"/>
                    <a:pt x="4994" y="13443"/>
                  </a:cubicBezTo>
                  <a:cubicBezTo>
                    <a:pt x="4991" y="13465"/>
                    <a:pt x="4989" y="13488"/>
                    <a:pt x="4986" y="13510"/>
                  </a:cubicBezTo>
                  <a:cubicBezTo>
                    <a:pt x="4980" y="13511"/>
                    <a:pt x="4972" y="13512"/>
                    <a:pt x="4963" y="13513"/>
                  </a:cubicBezTo>
                  <a:close/>
                  <a:moveTo>
                    <a:pt x="4986" y="13860"/>
                  </a:moveTo>
                  <a:cubicBezTo>
                    <a:pt x="4994" y="13770"/>
                    <a:pt x="5011" y="13654"/>
                    <a:pt x="5016" y="13619"/>
                  </a:cubicBezTo>
                  <a:cubicBezTo>
                    <a:pt x="5021" y="13587"/>
                    <a:pt x="5031" y="13513"/>
                    <a:pt x="5039" y="13448"/>
                  </a:cubicBezTo>
                  <a:cubicBezTo>
                    <a:pt x="5043" y="13413"/>
                    <a:pt x="5045" y="13380"/>
                    <a:pt x="5047" y="13361"/>
                  </a:cubicBezTo>
                  <a:cubicBezTo>
                    <a:pt x="5047" y="13361"/>
                    <a:pt x="5047" y="13361"/>
                    <a:pt x="5047" y="13361"/>
                  </a:cubicBezTo>
                  <a:cubicBezTo>
                    <a:pt x="5047" y="13361"/>
                    <a:pt x="5047" y="13360"/>
                    <a:pt x="5047" y="13360"/>
                  </a:cubicBezTo>
                  <a:cubicBezTo>
                    <a:pt x="5291" y="13359"/>
                    <a:pt x="5291" y="13359"/>
                    <a:pt x="5291" y="13359"/>
                  </a:cubicBezTo>
                  <a:cubicBezTo>
                    <a:pt x="5431" y="13388"/>
                    <a:pt x="5431" y="13388"/>
                    <a:pt x="5431" y="13388"/>
                  </a:cubicBezTo>
                  <a:cubicBezTo>
                    <a:pt x="5407" y="13527"/>
                    <a:pt x="5407" y="13527"/>
                    <a:pt x="5407" y="13527"/>
                  </a:cubicBezTo>
                  <a:cubicBezTo>
                    <a:pt x="5368" y="13522"/>
                    <a:pt x="5368" y="13522"/>
                    <a:pt x="5368" y="13522"/>
                  </a:cubicBezTo>
                  <a:cubicBezTo>
                    <a:pt x="5366" y="13527"/>
                    <a:pt x="5366" y="13527"/>
                    <a:pt x="5366" y="13527"/>
                  </a:cubicBezTo>
                  <a:cubicBezTo>
                    <a:pt x="5365" y="13527"/>
                    <a:pt x="5278" y="13688"/>
                    <a:pt x="5231" y="13773"/>
                  </a:cubicBezTo>
                  <a:cubicBezTo>
                    <a:pt x="5217" y="13798"/>
                    <a:pt x="5206" y="13818"/>
                    <a:pt x="5203" y="13822"/>
                  </a:cubicBezTo>
                  <a:cubicBezTo>
                    <a:pt x="5202" y="13822"/>
                    <a:pt x="5202" y="13823"/>
                    <a:pt x="5200" y="13824"/>
                  </a:cubicBezTo>
                  <a:cubicBezTo>
                    <a:pt x="5199" y="13825"/>
                    <a:pt x="5196" y="13827"/>
                    <a:pt x="5193" y="13829"/>
                  </a:cubicBezTo>
                  <a:cubicBezTo>
                    <a:pt x="5186" y="13834"/>
                    <a:pt x="5177" y="13841"/>
                    <a:pt x="5166" y="13849"/>
                  </a:cubicBezTo>
                  <a:cubicBezTo>
                    <a:pt x="5145" y="13865"/>
                    <a:pt x="5116" y="13887"/>
                    <a:pt x="5088" y="13908"/>
                  </a:cubicBezTo>
                  <a:cubicBezTo>
                    <a:pt x="5049" y="13938"/>
                    <a:pt x="5011" y="13967"/>
                    <a:pt x="4990" y="13982"/>
                  </a:cubicBezTo>
                  <a:cubicBezTo>
                    <a:pt x="4989" y="13977"/>
                    <a:pt x="4988" y="13971"/>
                    <a:pt x="4988" y="13966"/>
                  </a:cubicBezTo>
                  <a:cubicBezTo>
                    <a:pt x="4988" y="13961"/>
                    <a:pt x="4988" y="13961"/>
                    <a:pt x="4988" y="13961"/>
                  </a:cubicBezTo>
                  <a:cubicBezTo>
                    <a:pt x="4986" y="13949"/>
                    <a:pt x="4985" y="13928"/>
                    <a:pt x="4985" y="13908"/>
                  </a:cubicBezTo>
                  <a:cubicBezTo>
                    <a:pt x="4985" y="13887"/>
                    <a:pt x="4986" y="13868"/>
                    <a:pt x="4986" y="13860"/>
                  </a:cubicBezTo>
                  <a:close/>
                  <a:moveTo>
                    <a:pt x="5426" y="13358"/>
                  </a:moveTo>
                  <a:cubicBezTo>
                    <a:pt x="5440" y="13281"/>
                    <a:pt x="5440" y="13281"/>
                    <a:pt x="5440" y="13281"/>
                  </a:cubicBezTo>
                  <a:cubicBezTo>
                    <a:pt x="5560" y="13303"/>
                    <a:pt x="5560" y="13303"/>
                    <a:pt x="5560" y="13303"/>
                  </a:cubicBezTo>
                  <a:cubicBezTo>
                    <a:pt x="5546" y="13380"/>
                    <a:pt x="5546" y="13380"/>
                    <a:pt x="5546" y="13380"/>
                  </a:cubicBezTo>
                  <a:lnTo>
                    <a:pt x="5426" y="13358"/>
                  </a:lnTo>
                  <a:close/>
                  <a:moveTo>
                    <a:pt x="5454" y="13377"/>
                  </a:moveTo>
                  <a:cubicBezTo>
                    <a:pt x="5452" y="13377"/>
                    <a:pt x="5451" y="13376"/>
                    <a:pt x="5450" y="13376"/>
                  </a:cubicBezTo>
                  <a:cubicBezTo>
                    <a:pt x="5450" y="13376"/>
                    <a:pt x="5450" y="13376"/>
                    <a:pt x="5450" y="13376"/>
                  </a:cubicBezTo>
                  <a:lnTo>
                    <a:pt x="5454" y="13377"/>
                  </a:lnTo>
                  <a:close/>
                  <a:moveTo>
                    <a:pt x="5447" y="13390"/>
                  </a:moveTo>
                  <a:cubicBezTo>
                    <a:pt x="5465" y="13393"/>
                    <a:pt x="5519" y="13403"/>
                    <a:pt x="5571" y="13411"/>
                  </a:cubicBezTo>
                  <a:cubicBezTo>
                    <a:pt x="5618" y="13418"/>
                    <a:pt x="5664" y="13425"/>
                    <a:pt x="5685" y="13428"/>
                  </a:cubicBezTo>
                  <a:cubicBezTo>
                    <a:pt x="5668" y="13578"/>
                    <a:pt x="5668" y="13578"/>
                    <a:pt x="5668" y="13578"/>
                  </a:cubicBezTo>
                  <a:cubicBezTo>
                    <a:pt x="5644" y="13575"/>
                    <a:pt x="5590" y="13565"/>
                    <a:pt x="5538" y="13555"/>
                  </a:cubicBezTo>
                  <a:cubicBezTo>
                    <a:pt x="5491" y="13546"/>
                    <a:pt x="5445" y="13537"/>
                    <a:pt x="5423" y="13532"/>
                  </a:cubicBezTo>
                  <a:lnTo>
                    <a:pt x="5447" y="13390"/>
                  </a:lnTo>
                  <a:close/>
                  <a:moveTo>
                    <a:pt x="5557" y="13393"/>
                  </a:moveTo>
                  <a:cubicBezTo>
                    <a:pt x="5575" y="13293"/>
                    <a:pt x="5575" y="13293"/>
                    <a:pt x="5575" y="13293"/>
                  </a:cubicBezTo>
                  <a:cubicBezTo>
                    <a:pt x="5429" y="13266"/>
                    <a:pt x="5429" y="13266"/>
                    <a:pt x="5429" y="13266"/>
                  </a:cubicBezTo>
                  <a:cubicBezTo>
                    <a:pt x="5412" y="13362"/>
                    <a:pt x="5412" y="13362"/>
                    <a:pt x="5412" y="13362"/>
                  </a:cubicBezTo>
                  <a:cubicBezTo>
                    <a:pt x="5411" y="13367"/>
                    <a:pt x="5411" y="13367"/>
                    <a:pt x="5411" y="13367"/>
                  </a:cubicBezTo>
                  <a:cubicBezTo>
                    <a:pt x="5325" y="13349"/>
                    <a:pt x="5325" y="13349"/>
                    <a:pt x="5325" y="13349"/>
                  </a:cubicBezTo>
                  <a:cubicBezTo>
                    <a:pt x="5326" y="13348"/>
                    <a:pt x="5326" y="13346"/>
                    <a:pt x="5327" y="13344"/>
                  </a:cubicBezTo>
                  <a:cubicBezTo>
                    <a:pt x="5329" y="13336"/>
                    <a:pt x="5332" y="13326"/>
                    <a:pt x="5335" y="13314"/>
                  </a:cubicBezTo>
                  <a:cubicBezTo>
                    <a:pt x="5341" y="13290"/>
                    <a:pt x="5349" y="13258"/>
                    <a:pt x="5357" y="13227"/>
                  </a:cubicBezTo>
                  <a:cubicBezTo>
                    <a:pt x="5372" y="13163"/>
                    <a:pt x="5386" y="13100"/>
                    <a:pt x="5386" y="13100"/>
                  </a:cubicBezTo>
                  <a:cubicBezTo>
                    <a:pt x="5387" y="13099"/>
                    <a:pt x="5387" y="13099"/>
                    <a:pt x="5387" y="13099"/>
                  </a:cubicBezTo>
                  <a:cubicBezTo>
                    <a:pt x="5385" y="13089"/>
                    <a:pt x="5385" y="13089"/>
                    <a:pt x="5385" y="13089"/>
                  </a:cubicBezTo>
                  <a:cubicBezTo>
                    <a:pt x="5716" y="13152"/>
                    <a:pt x="5716" y="13152"/>
                    <a:pt x="5716" y="13152"/>
                  </a:cubicBezTo>
                  <a:cubicBezTo>
                    <a:pt x="5687" y="13414"/>
                    <a:pt x="5687" y="13414"/>
                    <a:pt x="5687" y="13414"/>
                  </a:cubicBezTo>
                  <a:cubicBezTo>
                    <a:pt x="5663" y="13410"/>
                    <a:pt x="5609" y="13401"/>
                    <a:pt x="5557" y="13393"/>
                  </a:cubicBezTo>
                  <a:close/>
                  <a:moveTo>
                    <a:pt x="5697" y="13906"/>
                  </a:moveTo>
                  <a:cubicBezTo>
                    <a:pt x="5954" y="11639"/>
                    <a:pt x="5954" y="11639"/>
                    <a:pt x="5954" y="11639"/>
                  </a:cubicBezTo>
                  <a:cubicBezTo>
                    <a:pt x="6031" y="11411"/>
                    <a:pt x="6031" y="11411"/>
                    <a:pt x="6031" y="11411"/>
                  </a:cubicBezTo>
                  <a:cubicBezTo>
                    <a:pt x="6128" y="10926"/>
                    <a:pt x="6128" y="10926"/>
                    <a:pt x="6128" y="10926"/>
                  </a:cubicBezTo>
                  <a:cubicBezTo>
                    <a:pt x="6210" y="10927"/>
                    <a:pt x="6210" y="10927"/>
                    <a:pt x="6210" y="10927"/>
                  </a:cubicBezTo>
                  <a:cubicBezTo>
                    <a:pt x="6200" y="10982"/>
                    <a:pt x="6179" y="11097"/>
                    <a:pt x="6155" y="11224"/>
                  </a:cubicBezTo>
                  <a:cubicBezTo>
                    <a:pt x="6137" y="11319"/>
                    <a:pt x="6117" y="11421"/>
                    <a:pt x="6099" y="11509"/>
                  </a:cubicBezTo>
                  <a:cubicBezTo>
                    <a:pt x="6098" y="11509"/>
                    <a:pt x="6098" y="11509"/>
                    <a:pt x="6098" y="11509"/>
                  </a:cubicBezTo>
                  <a:cubicBezTo>
                    <a:pt x="6097" y="11521"/>
                    <a:pt x="6097" y="11521"/>
                    <a:pt x="6097" y="11521"/>
                  </a:cubicBezTo>
                  <a:cubicBezTo>
                    <a:pt x="6082" y="11590"/>
                    <a:pt x="6070" y="11649"/>
                    <a:pt x="6060" y="11687"/>
                  </a:cubicBezTo>
                  <a:cubicBezTo>
                    <a:pt x="6054" y="11710"/>
                    <a:pt x="6048" y="11726"/>
                    <a:pt x="6047" y="11729"/>
                  </a:cubicBezTo>
                  <a:cubicBezTo>
                    <a:pt x="6047" y="11729"/>
                    <a:pt x="6047" y="11729"/>
                    <a:pt x="6047" y="11729"/>
                  </a:cubicBezTo>
                  <a:cubicBezTo>
                    <a:pt x="6046" y="11729"/>
                    <a:pt x="6046" y="11729"/>
                    <a:pt x="6046" y="11729"/>
                  </a:cubicBezTo>
                  <a:cubicBezTo>
                    <a:pt x="6045" y="11731"/>
                    <a:pt x="6044" y="11732"/>
                    <a:pt x="6044" y="11734"/>
                  </a:cubicBezTo>
                  <a:cubicBezTo>
                    <a:pt x="6044" y="11735"/>
                    <a:pt x="6044" y="11736"/>
                    <a:pt x="6044" y="11736"/>
                  </a:cubicBezTo>
                  <a:cubicBezTo>
                    <a:pt x="6044" y="11749"/>
                    <a:pt x="6035" y="11824"/>
                    <a:pt x="6021" y="11937"/>
                  </a:cubicBezTo>
                  <a:cubicBezTo>
                    <a:pt x="6018" y="11937"/>
                    <a:pt x="6018" y="11937"/>
                    <a:pt x="6018" y="11937"/>
                  </a:cubicBezTo>
                  <a:cubicBezTo>
                    <a:pt x="6017" y="11951"/>
                    <a:pt x="6017" y="11951"/>
                    <a:pt x="6017" y="11951"/>
                  </a:cubicBezTo>
                  <a:cubicBezTo>
                    <a:pt x="6020" y="11951"/>
                    <a:pt x="6020" y="11951"/>
                    <a:pt x="6020" y="11951"/>
                  </a:cubicBezTo>
                  <a:cubicBezTo>
                    <a:pt x="6006" y="12060"/>
                    <a:pt x="5988" y="12203"/>
                    <a:pt x="5968" y="12362"/>
                  </a:cubicBezTo>
                  <a:cubicBezTo>
                    <a:pt x="5965" y="12362"/>
                    <a:pt x="5965" y="12362"/>
                    <a:pt x="5965" y="12362"/>
                  </a:cubicBezTo>
                  <a:cubicBezTo>
                    <a:pt x="5964" y="12376"/>
                    <a:pt x="5964" y="12376"/>
                    <a:pt x="5964" y="12376"/>
                  </a:cubicBezTo>
                  <a:cubicBezTo>
                    <a:pt x="5966" y="12376"/>
                    <a:pt x="5966" y="12376"/>
                    <a:pt x="5966" y="12376"/>
                  </a:cubicBezTo>
                  <a:cubicBezTo>
                    <a:pt x="5915" y="12768"/>
                    <a:pt x="5852" y="13254"/>
                    <a:pt x="5810" y="13570"/>
                  </a:cubicBezTo>
                  <a:cubicBezTo>
                    <a:pt x="5791" y="13715"/>
                    <a:pt x="5777" y="13824"/>
                    <a:pt x="5770" y="13871"/>
                  </a:cubicBezTo>
                  <a:cubicBezTo>
                    <a:pt x="5768" y="13871"/>
                    <a:pt x="5768" y="13871"/>
                    <a:pt x="5768" y="13871"/>
                  </a:cubicBezTo>
                  <a:cubicBezTo>
                    <a:pt x="5692" y="13926"/>
                    <a:pt x="5692" y="13926"/>
                    <a:pt x="5692" y="13926"/>
                  </a:cubicBezTo>
                  <a:lnTo>
                    <a:pt x="5697" y="13906"/>
                  </a:lnTo>
                  <a:close/>
                  <a:moveTo>
                    <a:pt x="6374" y="11159"/>
                  </a:moveTo>
                  <a:cubicBezTo>
                    <a:pt x="6340" y="11327"/>
                    <a:pt x="6340" y="11327"/>
                    <a:pt x="6340" y="11327"/>
                  </a:cubicBezTo>
                  <a:cubicBezTo>
                    <a:pt x="6204" y="11316"/>
                    <a:pt x="6204" y="11316"/>
                    <a:pt x="6204" y="11316"/>
                  </a:cubicBezTo>
                  <a:cubicBezTo>
                    <a:pt x="6239" y="11149"/>
                    <a:pt x="6239" y="11149"/>
                    <a:pt x="6239" y="11149"/>
                  </a:cubicBezTo>
                  <a:cubicBezTo>
                    <a:pt x="6275" y="11151"/>
                    <a:pt x="6323" y="11155"/>
                    <a:pt x="6374" y="11159"/>
                  </a:cubicBezTo>
                  <a:close/>
                  <a:moveTo>
                    <a:pt x="6242" y="11135"/>
                  </a:moveTo>
                  <a:cubicBezTo>
                    <a:pt x="6268" y="11010"/>
                    <a:pt x="6268" y="11010"/>
                    <a:pt x="6268" y="11010"/>
                  </a:cubicBezTo>
                  <a:cubicBezTo>
                    <a:pt x="6398" y="11037"/>
                    <a:pt x="6398" y="11037"/>
                    <a:pt x="6398" y="11037"/>
                  </a:cubicBezTo>
                  <a:cubicBezTo>
                    <a:pt x="6376" y="11145"/>
                    <a:pt x="6376" y="11145"/>
                    <a:pt x="6376" y="11145"/>
                  </a:cubicBezTo>
                  <a:cubicBezTo>
                    <a:pt x="6326" y="11141"/>
                    <a:pt x="6278" y="11138"/>
                    <a:pt x="6242" y="11135"/>
                  </a:cubicBezTo>
                  <a:close/>
                  <a:moveTo>
                    <a:pt x="6147" y="11527"/>
                  </a:moveTo>
                  <a:cubicBezTo>
                    <a:pt x="6105" y="11731"/>
                    <a:pt x="6105" y="11731"/>
                    <a:pt x="6105" y="11731"/>
                  </a:cubicBezTo>
                  <a:cubicBezTo>
                    <a:pt x="6086" y="11730"/>
                    <a:pt x="6071" y="11729"/>
                    <a:pt x="6062" y="11728"/>
                  </a:cubicBezTo>
                  <a:cubicBezTo>
                    <a:pt x="6063" y="11727"/>
                    <a:pt x="6063" y="11727"/>
                    <a:pt x="6063" y="11726"/>
                  </a:cubicBezTo>
                  <a:cubicBezTo>
                    <a:pt x="6065" y="11719"/>
                    <a:pt x="6068" y="11710"/>
                    <a:pt x="6071" y="11698"/>
                  </a:cubicBezTo>
                  <a:cubicBezTo>
                    <a:pt x="6078" y="11675"/>
                    <a:pt x="6085" y="11641"/>
                    <a:pt x="6094" y="11602"/>
                  </a:cubicBezTo>
                  <a:cubicBezTo>
                    <a:pt x="6099" y="11578"/>
                    <a:pt x="6105" y="11552"/>
                    <a:pt x="6110" y="11524"/>
                  </a:cubicBezTo>
                  <a:cubicBezTo>
                    <a:pt x="6119" y="11525"/>
                    <a:pt x="6132" y="11526"/>
                    <a:pt x="6147" y="11527"/>
                  </a:cubicBezTo>
                  <a:close/>
                  <a:moveTo>
                    <a:pt x="6113" y="11510"/>
                  </a:moveTo>
                  <a:cubicBezTo>
                    <a:pt x="6125" y="11453"/>
                    <a:pt x="6137" y="11390"/>
                    <a:pt x="6150" y="11326"/>
                  </a:cubicBezTo>
                  <a:cubicBezTo>
                    <a:pt x="6188" y="11329"/>
                    <a:pt x="6188" y="11329"/>
                    <a:pt x="6188" y="11329"/>
                  </a:cubicBezTo>
                  <a:cubicBezTo>
                    <a:pt x="6150" y="11514"/>
                    <a:pt x="6150" y="11514"/>
                    <a:pt x="6150" y="11514"/>
                  </a:cubicBezTo>
                  <a:cubicBezTo>
                    <a:pt x="6134" y="11512"/>
                    <a:pt x="6122" y="11511"/>
                    <a:pt x="6113" y="11510"/>
                  </a:cubicBezTo>
                  <a:close/>
                  <a:moveTo>
                    <a:pt x="6115" y="11745"/>
                  </a:moveTo>
                  <a:cubicBezTo>
                    <a:pt x="6122" y="11746"/>
                    <a:pt x="6129" y="11746"/>
                    <a:pt x="6137" y="11747"/>
                  </a:cubicBezTo>
                  <a:cubicBezTo>
                    <a:pt x="6170" y="11749"/>
                    <a:pt x="6211" y="11751"/>
                    <a:pt x="6253" y="11754"/>
                  </a:cubicBezTo>
                  <a:cubicBezTo>
                    <a:pt x="6219" y="11920"/>
                    <a:pt x="6219" y="11920"/>
                    <a:pt x="6219" y="11920"/>
                  </a:cubicBezTo>
                  <a:cubicBezTo>
                    <a:pt x="6084" y="11893"/>
                    <a:pt x="6084" y="11893"/>
                    <a:pt x="6084" y="11893"/>
                  </a:cubicBezTo>
                  <a:lnTo>
                    <a:pt x="6115" y="11745"/>
                  </a:lnTo>
                  <a:close/>
                  <a:moveTo>
                    <a:pt x="6118" y="11732"/>
                  </a:moveTo>
                  <a:cubicBezTo>
                    <a:pt x="6160" y="11529"/>
                    <a:pt x="6160" y="11529"/>
                    <a:pt x="6160" y="11529"/>
                  </a:cubicBezTo>
                  <a:cubicBezTo>
                    <a:pt x="6196" y="11532"/>
                    <a:pt x="6244" y="11537"/>
                    <a:pt x="6296" y="11542"/>
                  </a:cubicBezTo>
                  <a:cubicBezTo>
                    <a:pt x="6256" y="11740"/>
                    <a:pt x="6256" y="11740"/>
                    <a:pt x="6256" y="11740"/>
                  </a:cubicBezTo>
                  <a:cubicBezTo>
                    <a:pt x="6203" y="11737"/>
                    <a:pt x="6155" y="11734"/>
                    <a:pt x="6118" y="11732"/>
                  </a:cubicBezTo>
                  <a:close/>
                  <a:moveTo>
                    <a:pt x="6163" y="11515"/>
                  </a:moveTo>
                  <a:cubicBezTo>
                    <a:pt x="6202" y="11330"/>
                    <a:pt x="6202" y="11330"/>
                    <a:pt x="6202" y="11330"/>
                  </a:cubicBezTo>
                  <a:cubicBezTo>
                    <a:pt x="6337" y="11340"/>
                    <a:pt x="6337" y="11340"/>
                    <a:pt x="6337" y="11340"/>
                  </a:cubicBezTo>
                  <a:cubicBezTo>
                    <a:pt x="6299" y="11528"/>
                    <a:pt x="6299" y="11528"/>
                    <a:pt x="6299" y="11528"/>
                  </a:cubicBezTo>
                  <a:cubicBezTo>
                    <a:pt x="6247" y="11523"/>
                    <a:pt x="6199" y="11519"/>
                    <a:pt x="6163" y="11515"/>
                  </a:cubicBezTo>
                  <a:close/>
                  <a:moveTo>
                    <a:pt x="6191" y="11315"/>
                  </a:moveTo>
                  <a:cubicBezTo>
                    <a:pt x="6152" y="11312"/>
                    <a:pt x="6152" y="11312"/>
                    <a:pt x="6152" y="11312"/>
                  </a:cubicBezTo>
                  <a:cubicBezTo>
                    <a:pt x="6163" y="11255"/>
                    <a:pt x="6174" y="11197"/>
                    <a:pt x="6184" y="11144"/>
                  </a:cubicBezTo>
                  <a:cubicBezTo>
                    <a:pt x="6191" y="11145"/>
                    <a:pt x="6206" y="11146"/>
                    <a:pt x="6226" y="11147"/>
                  </a:cubicBezTo>
                  <a:lnTo>
                    <a:pt x="6191" y="11315"/>
                  </a:lnTo>
                  <a:close/>
                  <a:moveTo>
                    <a:pt x="6444" y="13246"/>
                  </a:moveTo>
                  <a:cubicBezTo>
                    <a:pt x="6423" y="13443"/>
                    <a:pt x="6423" y="13443"/>
                    <a:pt x="6423" y="13443"/>
                  </a:cubicBezTo>
                  <a:cubicBezTo>
                    <a:pt x="5847" y="13398"/>
                    <a:pt x="5847" y="13398"/>
                    <a:pt x="5847" y="13398"/>
                  </a:cubicBezTo>
                  <a:cubicBezTo>
                    <a:pt x="5864" y="13271"/>
                    <a:pt x="5882" y="13128"/>
                    <a:pt x="5902" y="12981"/>
                  </a:cubicBezTo>
                  <a:cubicBezTo>
                    <a:pt x="5951" y="12985"/>
                    <a:pt x="5951" y="12985"/>
                    <a:pt x="5951" y="12985"/>
                  </a:cubicBezTo>
                  <a:cubicBezTo>
                    <a:pt x="5935" y="13139"/>
                    <a:pt x="5935" y="13139"/>
                    <a:pt x="5935" y="13139"/>
                  </a:cubicBezTo>
                  <a:cubicBezTo>
                    <a:pt x="6096" y="13159"/>
                    <a:pt x="6096" y="13159"/>
                    <a:pt x="6096" y="13159"/>
                  </a:cubicBezTo>
                  <a:cubicBezTo>
                    <a:pt x="6113" y="12997"/>
                    <a:pt x="6113" y="12997"/>
                    <a:pt x="6113" y="12997"/>
                  </a:cubicBezTo>
                  <a:cubicBezTo>
                    <a:pt x="6468" y="13024"/>
                    <a:pt x="6468" y="13024"/>
                    <a:pt x="6468" y="13024"/>
                  </a:cubicBezTo>
                  <a:cubicBezTo>
                    <a:pt x="6446" y="13232"/>
                    <a:pt x="6446" y="13232"/>
                    <a:pt x="6446" y="13232"/>
                  </a:cubicBezTo>
                  <a:cubicBezTo>
                    <a:pt x="5875" y="13188"/>
                    <a:pt x="5875" y="13188"/>
                    <a:pt x="5875" y="13188"/>
                  </a:cubicBezTo>
                  <a:cubicBezTo>
                    <a:pt x="5874" y="13202"/>
                    <a:pt x="5874" y="13202"/>
                    <a:pt x="5874" y="13202"/>
                  </a:cubicBezTo>
                  <a:lnTo>
                    <a:pt x="6444" y="13246"/>
                  </a:lnTo>
                  <a:close/>
                  <a:moveTo>
                    <a:pt x="6422" y="13457"/>
                  </a:moveTo>
                  <a:cubicBezTo>
                    <a:pt x="6401" y="13655"/>
                    <a:pt x="6401" y="13655"/>
                    <a:pt x="6401" y="13655"/>
                  </a:cubicBezTo>
                  <a:cubicBezTo>
                    <a:pt x="5819" y="13610"/>
                    <a:pt x="5819" y="13610"/>
                    <a:pt x="5819" y="13610"/>
                  </a:cubicBezTo>
                  <a:cubicBezTo>
                    <a:pt x="5827" y="13551"/>
                    <a:pt x="5836" y="13484"/>
                    <a:pt x="5845" y="13412"/>
                  </a:cubicBezTo>
                  <a:lnTo>
                    <a:pt x="6422" y="13457"/>
                  </a:lnTo>
                  <a:close/>
                  <a:moveTo>
                    <a:pt x="5965" y="12972"/>
                  </a:moveTo>
                  <a:cubicBezTo>
                    <a:pt x="5986" y="12773"/>
                    <a:pt x="5986" y="12773"/>
                    <a:pt x="5986" y="12773"/>
                  </a:cubicBezTo>
                  <a:cubicBezTo>
                    <a:pt x="6121" y="12784"/>
                    <a:pt x="6121" y="12784"/>
                    <a:pt x="6121" y="12784"/>
                  </a:cubicBezTo>
                  <a:cubicBezTo>
                    <a:pt x="6101" y="12982"/>
                    <a:pt x="6101" y="12982"/>
                    <a:pt x="6101" y="12982"/>
                  </a:cubicBezTo>
                  <a:lnTo>
                    <a:pt x="5965" y="12972"/>
                  </a:lnTo>
                  <a:close/>
                  <a:moveTo>
                    <a:pt x="6099" y="12996"/>
                  </a:moveTo>
                  <a:cubicBezTo>
                    <a:pt x="6084" y="13144"/>
                    <a:pt x="6084" y="13144"/>
                    <a:pt x="6084" y="13144"/>
                  </a:cubicBezTo>
                  <a:cubicBezTo>
                    <a:pt x="5949" y="13127"/>
                    <a:pt x="5949" y="13127"/>
                    <a:pt x="5949" y="13127"/>
                  </a:cubicBezTo>
                  <a:cubicBezTo>
                    <a:pt x="5964" y="12986"/>
                    <a:pt x="5964" y="12986"/>
                    <a:pt x="5964" y="12986"/>
                  </a:cubicBezTo>
                  <a:lnTo>
                    <a:pt x="6099" y="12996"/>
                  </a:lnTo>
                  <a:close/>
                  <a:moveTo>
                    <a:pt x="5988" y="12760"/>
                  </a:moveTo>
                  <a:cubicBezTo>
                    <a:pt x="6007" y="12571"/>
                    <a:pt x="6007" y="12571"/>
                    <a:pt x="6007" y="12571"/>
                  </a:cubicBezTo>
                  <a:cubicBezTo>
                    <a:pt x="6142" y="12581"/>
                    <a:pt x="6142" y="12581"/>
                    <a:pt x="6142" y="12581"/>
                  </a:cubicBezTo>
                  <a:cubicBezTo>
                    <a:pt x="6122" y="12770"/>
                    <a:pt x="6122" y="12770"/>
                    <a:pt x="6122" y="12770"/>
                  </a:cubicBezTo>
                  <a:lnTo>
                    <a:pt x="5988" y="12760"/>
                  </a:lnTo>
                  <a:close/>
                  <a:moveTo>
                    <a:pt x="5974" y="12759"/>
                  </a:moveTo>
                  <a:cubicBezTo>
                    <a:pt x="5931" y="12755"/>
                    <a:pt x="5931" y="12755"/>
                    <a:pt x="5931" y="12755"/>
                  </a:cubicBezTo>
                  <a:cubicBezTo>
                    <a:pt x="5939" y="12692"/>
                    <a:pt x="5947" y="12629"/>
                    <a:pt x="5955" y="12567"/>
                  </a:cubicBezTo>
                  <a:cubicBezTo>
                    <a:pt x="5994" y="12570"/>
                    <a:pt x="5994" y="12570"/>
                    <a:pt x="5994" y="12570"/>
                  </a:cubicBezTo>
                  <a:lnTo>
                    <a:pt x="5974" y="12759"/>
                  </a:lnTo>
                  <a:close/>
                  <a:moveTo>
                    <a:pt x="5973" y="12772"/>
                  </a:moveTo>
                  <a:cubicBezTo>
                    <a:pt x="5952" y="12971"/>
                    <a:pt x="5952" y="12971"/>
                    <a:pt x="5952" y="12971"/>
                  </a:cubicBezTo>
                  <a:cubicBezTo>
                    <a:pt x="5903" y="12967"/>
                    <a:pt x="5903" y="12967"/>
                    <a:pt x="5903" y="12967"/>
                  </a:cubicBezTo>
                  <a:cubicBezTo>
                    <a:pt x="5912" y="12901"/>
                    <a:pt x="5921" y="12835"/>
                    <a:pt x="5929" y="12769"/>
                  </a:cubicBezTo>
                  <a:lnTo>
                    <a:pt x="5973" y="12772"/>
                  </a:lnTo>
                  <a:close/>
                  <a:moveTo>
                    <a:pt x="6114" y="12983"/>
                  </a:moveTo>
                  <a:cubicBezTo>
                    <a:pt x="6134" y="12785"/>
                    <a:pt x="6134" y="12785"/>
                    <a:pt x="6134" y="12785"/>
                  </a:cubicBezTo>
                  <a:cubicBezTo>
                    <a:pt x="6491" y="12812"/>
                    <a:pt x="6491" y="12812"/>
                    <a:pt x="6491" y="12812"/>
                  </a:cubicBezTo>
                  <a:cubicBezTo>
                    <a:pt x="6469" y="13011"/>
                    <a:pt x="6469" y="13011"/>
                    <a:pt x="6469" y="13011"/>
                  </a:cubicBezTo>
                  <a:lnTo>
                    <a:pt x="6114" y="12983"/>
                  </a:lnTo>
                  <a:close/>
                  <a:moveTo>
                    <a:pt x="6136" y="12771"/>
                  </a:moveTo>
                  <a:cubicBezTo>
                    <a:pt x="6155" y="12582"/>
                    <a:pt x="6155" y="12582"/>
                    <a:pt x="6155" y="12582"/>
                  </a:cubicBezTo>
                  <a:cubicBezTo>
                    <a:pt x="6512" y="12610"/>
                    <a:pt x="6512" y="12610"/>
                    <a:pt x="6512" y="12610"/>
                  </a:cubicBezTo>
                  <a:cubicBezTo>
                    <a:pt x="6492" y="12798"/>
                    <a:pt x="6492" y="12798"/>
                    <a:pt x="6492" y="12798"/>
                  </a:cubicBezTo>
                  <a:lnTo>
                    <a:pt x="6136" y="12771"/>
                  </a:lnTo>
                  <a:close/>
                  <a:moveTo>
                    <a:pt x="6156" y="12568"/>
                  </a:moveTo>
                  <a:cubicBezTo>
                    <a:pt x="6174" y="12392"/>
                    <a:pt x="6174" y="12392"/>
                    <a:pt x="6174" y="12392"/>
                  </a:cubicBezTo>
                  <a:cubicBezTo>
                    <a:pt x="6532" y="12419"/>
                    <a:pt x="6532" y="12419"/>
                    <a:pt x="6532" y="12419"/>
                  </a:cubicBezTo>
                  <a:cubicBezTo>
                    <a:pt x="6514" y="12596"/>
                    <a:pt x="6514" y="12596"/>
                    <a:pt x="6514" y="12596"/>
                  </a:cubicBezTo>
                  <a:lnTo>
                    <a:pt x="6156" y="12568"/>
                  </a:lnTo>
                  <a:close/>
                  <a:moveTo>
                    <a:pt x="6162" y="12377"/>
                  </a:moveTo>
                  <a:cubicBezTo>
                    <a:pt x="6029" y="12366"/>
                    <a:pt x="6029" y="12366"/>
                    <a:pt x="6029" y="12366"/>
                  </a:cubicBezTo>
                  <a:cubicBezTo>
                    <a:pt x="6042" y="12234"/>
                    <a:pt x="6042" y="12234"/>
                    <a:pt x="6042" y="12234"/>
                  </a:cubicBezTo>
                  <a:cubicBezTo>
                    <a:pt x="6175" y="12248"/>
                    <a:pt x="6175" y="12248"/>
                    <a:pt x="6175" y="12248"/>
                  </a:cubicBezTo>
                  <a:lnTo>
                    <a:pt x="6162" y="12377"/>
                  </a:lnTo>
                  <a:close/>
                  <a:moveTo>
                    <a:pt x="6161" y="12391"/>
                  </a:moveTo>
                  <a:cubicBezTo>
                    <a:pt x="6143" y="12567"/>
                    <a:pt x="6143" y="12567"/>
                    <a:pt x="6143" y="12567"/>
                  </a:cubicBezTo>
                  <a:cubicBezTo>
                    <a:pt x="6009" y="12557"/>
                    <a:pt x="6009" y="12557"/>
                    <a:pt x="6009" y="12557"/>
                  </a:cubicBezTo>
                  <a:cubicBezTo>
                    <a:pt x="6027" y="12380"/>
                    <a:pt x="6027" y="12380"/>
                    <a:pt x="6027" y="12380"/>
                  </a:cubicBezTo>
                  <a:lnTo>
                    <a:pt x="6161" y="12391"/>
                  </a:lnTo>
                  <a:close/>
                  <a:moveTo>
                    <a:pt x="5996" y="12556"/>
                  </a:moveTo>
                  <a:cubicBezTo>
                    <a:pt x="5957" y="12553"/>
                    <a:pt x="5957" y="12553"/>
                    <a:pt x="5957" y="12553"/>
                  </a:cubicBezTo>
                  <a:cubicBezTo>
                    <a:pt x="5965" y="12493"/>
                    <a:pt x="5973" y="12434"/>
                    <a:pt x="5980" y="12377"/>
                  </a:cubicBezTo>
                  <a:cubicBezTo>
                    <a:pt x="6014" y="12379"/>
                    <a:pt x="6014" y="12379"/>
                    <a:pt x="6014" y="12379"/>
                  </a:cubicBezTo>
                  <a:lnTo>
                    <a:pt x="5996" y="12556"/>
                  </a:lnTo>
                  <a:close/>
                  <a:moveTo>
                    <a:pt x="5817" y="13624"/>
                  </a:moveTo>
                  <a:cubicBezTo>
                    <a:pt x="6399" y="13669"/>
                    <a:pt x="6399" y="13669"/>
                    <a:pt x="6399" y="13669"/>
                  </a:cubicBezTo>
                  <a:cubicBezTo>
                    <a:pt x="6380" y="13853"/>
                    <a:pt x="6380" y="13853"/>
                    <a:pt x="6380" y="13853"/>
                  </a:cubicBezTo>
                  <a:cubicBezTo>
                    <a:pt x="6373" y="13854"/>
                    <a:pt x="6366" y="13855"/>
                    <a:pt x="6359" y="13855"/>
                  </a:cubicBezTo>
                  <a:cubicBezTo>
                    <a:pt x="6280" y="13863"/>
                    <a:pt x="6134" y="13867"/>
                    <a:pt x="6009" y="13869"/>
                  </a:cubicBezTo>
                  <a:cubicBezTo>
                    <a:pt x="5901" y="13871"/>
                    <a:pt x="5808" y="13871"/>
                    <a:pt x="5785" y="13871"/>
                  </a:cubicBezTo>
                  <a:cubicBezTo>
                    <a:pt x="5790" y="13829"/>
                    <a:pt x="5802" y="13741"/>
                    <a:pt x="5817" y="13624"/>
                  </a:cubicBezTo>
                  <a:close/>
                  <a:moveTo>
                    <a:pt x="6366" y="13920"/>
                  </a:moveTo>
                  <a:cubicBezTo>
                    <a:pt x="6416" y="13915"/>
                    <a:pt x="6467" y="13910"/>
                    <a:pt x="6518" y="13904"/>
                  </a:cubicBezTo>
                  <a:cubicBezTo>
                    <a:pt x="6518" y="14208"/>
                    <a:pt x="6518" y="14208"/>
                    <a:pt x="6518" y="14208"/>
                  </a:cubicBezTo>
                  <a:cubicBezTo>
                    <a:pt x="6447" y="14211"/>
                    <a:pt x="6403" y="14212"/>
                    <a:pt x="6399" y="14213"/>
                  </a:cubicBezTo>
                  <a:cubicBezTo>
                    <a:pt x="6398" y="14213"/>
                    <a:pt x="6398" y="14213"/>
                    <a:pt x="6398" y="14213"/>
                  </a:cubicBezTo>
                  <a:cubicBezTo>
                    <a:pt x="6398" y="14213"/>
                    <a:pt x="6397" y="14213"/>
                    <a:pt x="6396" y="14213"/>
                  </a:cubicBezTo>
                  <a:cubicBezTo>
                    <a:pt x="6371" y="14213"/>
                    <a:pt x="6241" y="14205"/>
                    <a:pt x="6197" y="14202"/>
                  </a:cubicBezTo>
                  <a:cubicBezTo>
                    <a:pt x="6228" y="13929"/>
                    <a:pt x="6228" y="13929"/>
                    <a:pt x="6228" y="13929"/>
                  </a:cubicBezTo>
                  <a:cubicBezTo>
                    <a:pt x="6281" y="13927"/>
                    <a:pt x="6329" y="13924"/>
                    <a:pt x="6366" y="13920"/>
                  </a:cubicBezTo>
                  <a:close/>
                  <a:moveTo>
                    <a:pt x="6446" y="13846"/>
                  </a:moveTo>
                  <a:cubicBezTo>
                    <a:pt x="6500" y="13346"/>
                    <a:pt x="6500" y="13346"/>
                    <a:pt x="6500" y="13346"/>
                  </a:cubicBezTo>
                  <a:cubicBezTo>
                    <a:pt x="6533" y="13351"/>
                    <a:pt x="6592" y="13359"/>
                    <a:pt x="6652" y="13367"/>
                  </a:cubicBezTo>
                  <a:cubicBezTo>
                    <a:pt x="6734" y="13379"/>
                    <a:pt x="6817" y="13391"/>
                    <a:pt x="6836" y="13394"/>
                  </a:cubicBezTo>
                  <a:cubicBezTo>
                    <a:pt x="6898" y="13777"/>
                    <a:pt x="6898" y="13777"/>
                    <a:pt x="6898" y="13777"/>
                  </a:cubicBezTo>
                  <a:cubicBezTo>
                    <a:pt x="6878" y="13780"/>
                    <a:pt x="6858" y="13783"/>
                    <a:pt x="6841" y="13786"/>
                  </a:cubicBezTo>
                  <a:cubicBezTo>
                    <a:pt x="6712" y="13813"/>
                    <a:pt x="6580" y="13831"/>
                    <a:pt x="6446" y="13846"/>
                  </a:cubicBezTo>
                  <a:close/>
                  <a:moveTo>
                    <a:pt x="6911" y="13266"/>
                  </a:moveTo>
                  <a:cubicBezTo>
                    <a:pt x="6911" y="13273"/>
                    <a:pt x="6911" y="13277"/>
                    <a:pt x="6912" y="13281"/>
                  </a:cubicBezTo>
                  <a:cubicBezTo>
                    <a:pt x="6912" y="13281"/>
                    <a:pt x="6912" y="13281"/>
                    <a:pt x="6912" y="13281"/>
                  </a:cubicBezTo>
                  <a:cubicBezTo>
                    <a:pt x="6912" y="13282"/>
                    <a:pt x="6911" y="13283"/>
                    <a:pt x="6911" y="13284"/>
                  </a:cubicBezTo>
                  <a:cubicBezTo>
                    <a:pt x="6909" y="13287"/>
                    <a:pt x="6906" y="13291"/>
                    <a:pt x="6902" y="13296"/>
                  </a:cubicBezTo>
                  <a:cubicBezTo>
                    <a:pt x="6895" y="13307"/>
                    <a:pt x="6885" y="13320"/>
                    <a:pt x="6876" y="13333"/>
                  </a:cubicBezTo>
                  <a:cubicBezTo>
                    <a:pt x="6860" y="13353"/>
                    <a:pt x="6845" y="13373"/>
                    <a:pt x="6839" y="13380"/>
                  </a:cubicBezTo>
                  <a:cubicBezTo>
                    <a:pt x="6805" y="13375"/>
                    <a:pt x="6580" y="13343"/>
                    <a:pt x="6501" y="13332"/>
                  </a:cubicBezTo>
                  <a:cubicBezTo>
                    <a:pt x="6546" y="12907"/>
                    <a:pt x="6546" y="12907"/>
                    <a:pt x="6546" y="12907"/>
                  </a:cubicBezTo>
                  <a:cubicBezTo>
                    <a:pt x="6639" y="12914"/>
                    <a:pt x="6894" y="12931"/>
                    <a:pt x="6928" y="12933"/>
                  </a:cubicBezTo>
                  <a:cubicBezTo>
                    <a:pt x="6919" y="13078"/>
                    <a:pt x="6911" y="13221"/>
                    <a:pt x="6911" y="13266"/>
                  </a:cubicBezTo>
                  <a:close/>
                  <a:moveTo>
                    <a:pt x="6534" y="12405"/>
                  </a:moveTo>
                  <a:cubicBezTo>
                    <a:pt x="6176" y="12378"/>
                    <a:pt x="6176" y="12378"/>
                    <a:pt x="6176" y="12378"/>
                  </a:cubicBezTo>
                  <a:cubicBezTo>
                    <a:pt x="6189" y="12243"/>
                    <a:pt x="6189" y="12243"/>
                    <a:pt x="6189" y="12243"/>
                  </a:cubicBezTo>
                  <a:cubicBezTo>
                    <a:pt x="6190" y="12236"/>
                    <a:pt x="6190" y="12236"/>
                    <a:pt x="6190" y="12236"/>
                  </a:cubicBezTo>
                  <a:cubicBezTo>
                    <a:pt x="6031" y="12220"/>
                    <a:pt x="6031" y="12220"/>
                    <a:pt x="6031" y="12220"/>
                  </a:cubicBezTo>
                  <a:cubicBezTo>
                    <a:pt x="6016" y="12365"/>
                    <a:pt x="6016" y="12365"/>
                    <a:pt x="6016" y="12365"/>
                  </a:cubicBezTo>
                  <a:cubicBezTo>
                    <a:pt x="5982" y="12363"/>
                    <a:pt x="5982" y="12363"/>
                    <a:pt x="5982" y="12363"/>
                  </a:cubicBezTo>
                  <a:cubicBezTo>
                    <a:pt x="5991" y="12292"/>
                    <a:pt x="5999" y="12224"/>
                    <a:pt x="6007" y="12161"/>
                  </a:cubicBezTo>
                  <a:cubicBezTo>
                    <a:pt x="6555" y="12202"/>
                    <a:pt x="6555" y="12202"/>
                    <a:pt x="6555" y="12202"/>
                  </a:cubicBezTo>
                  <a:lnTo>
                    <a:pt x="6534" y="12405"/>
                  </a:lnTo>
                  <a:close/>
                  <a:moveTo>
                    <a:pt x="6009" y="12147"/>
                  </a:moveTo>
                  <a:cubicBezTo>
                    <a:pt x="6018" y="12075"/>
                    <a:pt x="6027" y="12009"/>
                    <a:pt x="6034" y="11952"/>
                  </a:cubicBezTo>
                  <a:cubicBezTo>
                    <a:pt x="6578" y="11993"/>
                    <a:pt x="6578" y="11993"/>
                    <a:pt x="6578" y="11993"/>
                  </a:cubicBezTo>
                  <a:cubicBezTo>
                    <a:pt x="6557" y="12189"/>
                    <a:pt x="6557" y="12189"/>
                    <a:pt x="6557" y="12189"/>
                  </a:cubicBezTo>
                  <a:lnTo>
                    <a:pt x="6009" y="12147"/>
                  </a:lnTo>
                  <a:close/>
                  <a:moveTo>
                    <a:pt x="6035" y="11938"/>
                  </a:moveTo>
                  <a:cubicBezTo>
                    <a:pt x="6048" y="11835"/>
                    <a:pt x="6056" y="11764"/>
                    <a:pt x="6058" y="11742"/>
                  </a:cubicBezTo>
                  <a:cubicBezTo>
                    <a:pt x="6062" y="11742"/>
                    <a:pt x="6067" y="11742"/>
                    <a:pt x="6074" y="11743"/>
                  </a:cubicBezTo>
                  <a:cubicBezTo>
                    <a:pt x="6082" y="11743"/>
                    <a:pt x="6091" y="11744"/>
                    <a:pt x="6102" y="11745"/>
                  </a:cubicBezTo>
                  <a:cubicBezTo>
                    <a:pt x="6069" y="11904"/>
                    <a:pt x="6069" y="11904"/>
                    <a:pt x="6069" y="11904"/>
                  </a:cubicBezTo>
                  <a:cubicBezTo>
                    <a:pt x="6230" y="11935"/>
                    <a:pt x="6230" y="11935"/>
                    <a:pt x="6230" y="11935"/>
                  </a:cubicBezTo>
                  <a:cubicBezTo>
                    <a:pt x="6266" y="11755"/>
                    <a:pt x="6266" y="11755"/>
                    <a:pt x="6266" y="11755"/>
                  </a:cubicBezTo>
                  <a:cubicBezTo>
                    <a:pt x="6287" y="11756"/>
                    <a:pt x="6308" y="11757"/>
                    <a:pt x="6329" y="11758"/>
                  </a:cubicBezTo>
                  <a:cubicBezTo>
                    <a:pt x="6450" y="11766"/>
                    <a:pt x="6571" y="11773"/>
                    <a:pt x="6601" y="11775"/>
                  </a:cubicBezTo>
                  <a:cubicBezTo>
                    <a:pt x="6579" y="11979"/>
                    <a:pt x="6579" y="11979"/>
                    <a:pt x="6579" y="11979"/>
                  </a:cubicBezTo>
                  <a:lnTo>
                    <a:pt x="6035" y="11938"/>
                  </a:lnTo>
                  <a:close/>
                  <a:moveTo>
                    <a:pt x="6269" y="11741"/>
                  </a:moveTo>
                  <a:cubicBezTo>
                    <a:pt x="6309" y="11543"/>
                    <a:pt x="6309" y="11543"/>
                    <a:pt x="6309" y="11543"/>
                  </a:cubicBezTo>
                  <a:cubicBezTo>
                    <a:pt x="6432" y="11555"/>
                    <a:pt x="6572" y="11569"/>
                    <a:pt x="6622" y="11573"/>
                  </a:cubicBezTo>
                  <a:cubicBezTo>
                    <a:pt x="6602" y="11761"/>
                    <a:pt x="6602" y="11761"/>
                    <a:pt x="6602" y="11761"/>
                  </a:cubicBezTo>
                  <a:cubicBezTo>
                    <a:pt x="6569" y="11759"/>
                    <a:pt x="6408" y="11749"/>
                    <a:pt x="6269" y="11741"/>
                  </a:cubicBezTo>
                  <a:close/>
                  <a:moveTo>
                    <a:pt x="6367" y="11535"/>
                  </a:moveTo>
                  <a:cubicBezTo>
                    <a:pt x="6348" y="11533"/>
                    <a:pt x="6330" y="11531"/>
                    <a:pt x="6312" y="11529"/>
                  </a:cubicBezTo>
                  <a:cubicBezTo>
                    <a:pt x="6350" y="11341"/>
                    <a:pt x="6350" y="11341"/>
                    <a:pt x="6350" y="11341"/>
                  </a:cubicBezTo>
                  <a:cubicBezTo>
                    <a:pt x="6645" y="11364"/>
                    <a:pt x="6645" y="11364"/>
                    <a:pt x="6645" y="11364"/>
                  </a:cubicBezTo>
                  <a:cubicBezTo>
                    <a:pt x="6624" y="11559"/>
                    <a:pt x="6624" y="11559"/>
                    <a:pt x="6624" y="11559"/>
                  </a:cubicBezTo>
                  <a:cubicBezTo>
                    <a:pt x="6582" y="11556"/>
                    <a:pt x="6474" y="11545"/>
                    <a:pt x="6367" y="11535"/>
                  </a:cubicBezTo>
                  <a:close/>
                  <a:moveTo>
                    <a:pt x="6353" y="11328"/>
                  </a:moveTo>
                  <a:cubicBezTo>
                    <a:pt x="6387" y="11160"/>
                    <a:pt x="6387" y="11160"/>
                    <a:pt x="6387" y="11160"/>
                  </a:cubicBezTo>
                  <a:cubicBezTo>
                    <a:pt x="6505" y="11169"/>
                    <a:pt x="6635" y="11179"/>
                    <a:pt x="6664" y="11181"/>
                  </a:cubicBezTo>
                  <a:cubicBezTo>
                    <a:pt x="6646" y="11350"/>
                    <a:pt x="6646" y="11350"/>
                    <a:pt x="6646" y="11350"/>
                  </a:cubicBezTo>
                  <a:lnTo>
                    <a:pt x="6353" y="11328"/>
                  </a:lnTo>
                  <a:close/>
                  <a:moveTo>
                    <a:pt x="6663" y="11174"/>
                  </a:moveTo>
                  <a:cubicBezTo>
                    <a:pt x="6665" y="11174"/>
                    <a:pt x="6665" y="11174"/>
                    <a:pt x="6665" y="11174"/>
                  </a:cubicBezTo>
                  <a:cubicBezTo>
                    <a:pt x="6665" y="11174"/>
                    <a:pt x="6665" y="11174"/>
                    <a:pt x="6665" y="11174"/>
                  </a:cubicBezTo>
                  <a:lnTo>
                    <a:pt x="6663" y="11174"/>
                  </a:lnTo>
                  <a:close/>
                  <a:moveTo>
                    <a:pt x="6390" y="11146"/>
                  </a:moveTo>
                  <a:cubicBezTo>
                    <a:pt x="6413" y="11033"/>
                    <a:pt x="6413" y="11033"/>
                    <a:pt x="6413" y="11033"/>
                  </a:cubicBezTo>
                  <a:cubicBezTo>
                    <a:pt x="6414" y="11026"/>
                    <a:pt x="6414" y="11026"/>
                    <a:pt x="6414" y="11026"/>
                  </a:cubicBezTo>
                  <a:cubicBezTo>
                    <a:pt x="6258" y="10995"/>
                    <a:pt x="6258" y="10995"/>
                    <a:pt x="6258" y="10995"/>
                  </a:cubicBezTo>
                  <a:cubicBezTo>
                    <a:pt x="6229" y="11134"/>
                    <a:pt x="6229" y="11134"/>
                    <a:pt x="6229" y="11134"/>
                  </a:cubicBezTo>
                  <a:cubicBezTo>
                    <a:pt x="6209" y="11132"/>
                    <a:pt x="6194" y="11131"/>
                    <a:pt x="6187" y="11130"/>
                  </a:cubicBezTo>
                  <a:cubicBezTo>
                    <a:pt x="6203" y="11042"/>
                    <a:pt x="6217" y="10967"/>
                    <a:pt x="6224" y="10927"/>
                  </a:cubicBezTo>
                  <a:cubicBezTo>
                    <a:pt x="6691" y="10933"/>
                    <a:pt x="6691" y="10933"/>
                    <a:pt x="6691" y="10933"/>
                  </a:cubicBezTo>
                  <a:cubicBezTo>
                    <a:pt x="6666" y="11167"/>
                    <a:pt x="6666" y="11167"/>
                    <a:pt x="6666" y="11167"/>
                  </a:cubicBezTo>
                  <a:cubicBezTo>
                    <a:pt x="6640" y="11166"/>
                    <a:pt x="6509" y="11156"/>
                    <a:pt x="6390" y="11146"/>
                  </a:cubicBezTo>
                  <a:close/>
                  <a:moveTo>
                    <a:pt x="6417" y="10864"/>
                  </a:moveTo>
                  <a:cubicBezTo>
                    <a:pt x="6434" y="10752"/>
                    <a:pt x="6434" y="10752"/>
                    <a:pt x="6434" y="10752"/>
                  </a:cubicBezTo>
                  <a:cubicBezTo>
                    <a:pt x="6494" y="10822"/>
                    <a:pt x="6494" y="10822"/>
                    <a:pt x="6494" y="10822"/>
                  </a:cubicBezTo>
                  <a:cubicBezTo>
                    <a:pt x="6625" y="10715"/>
                    <a:pt x="6625" y="10715"/>
                    <a:pt x="6625" y="10715"/>
                  </a:cubicBezTo>
                  <a:cubicBezTo>
                    <a:pt x="6508" y="10581"/>
                    <a:pt x="6508" y="10581"/>
                    <a:pt x="6508" y="10581"/>
                  </a:cubicBezTo>
                  <a:cubicBezTo>
                    <a:pt x="6453" y="10624"/>
                    <a:pt x="6453" y="10624"/>
                    <a:pt x="6453" y="10624"/>
                  </a:cubicBezTo>
                  <a:cubicBezTo>
                    <a:pt x="6469" y="10520"/>
                    <a:pt x="6469" y="10520"/>
                    <a:pt x="6469" y="10520"/>
                  </a:cubicBezTo>
                  <a:cubicBezTo>
                    <a:pt x="6576" y="10528"/>
                    <a:pt x="6684" y="10536"/>
                    <a:pt x="6732" y="10539"/>
                  </a:cubicBezTo>
                  <a:cubicBezTo>
                    <a:pt x="6697" y="10868"/>
                    <a:pt x="6697" y="10868"/>
                    <a:pt x="6697" y="10868"/>
                  </a:cubicBezTo>
                  <a:lnTo>
                    <a:pt x="6417" y="10864"/>
                  </a:lnTo>
                  <a:close/>
                  <a:moveTo>
                    <a:pt x="6214" y="10486"/>
                  </a:moveTo>
                  <a:cubicBezTo>
                    <a:pt x="6252" y="10287"/>
                    <a:pt x="6252" y="10287"/>
                    <a:pt x="6252" y="10287"/>
                  </a:cubicBezTo>
                  <a:cubicBezTo>
                    <a:pt x="6267" y="10288"/>
                    <a:pt x="6267" y="10288"/>
                    <a:pt x="6267" y="10288"/>
                  </a:cubicBezTo>
                  <a:cubicBezTo>
                    <a:pt x="6239" y="10440"/>
                    <a:pt x="6239" y="10440"/>
                    <a:pt x="6239" y="10440"/>
                  </a:cubicBezTo>
                  <a:cubicBezTo>
                    <a:pt x="6238" y="10446"/>
                    <a:pt x="6238" y="10446"/>
                    <a:pt x="6238" y="10446"/>
                  </a:cubicBezTo>
                  <a:cubicBezTo>
                    <a:pt x="6387" y="10485"/>
                    <a:pt x="6387" y="10485"/>
                    <a:pt x="6387" y="10485"/>
                  </a:cubicBezTo>
                  <a:cubicBezTo>
                    <a:pt x="6426" y="10301"/>
                    <a:pt x="6426" y="10301"/>
                    <a:pt x="6426" y="10301"/>
                  </a:cubicBezTo>
                  <a:cubicBezTo>
                    <a:pt x="6755" y="10328"/>
                    <a:pt x="6755" y="10328"/>
                    <a:pt x="6755" y="10328"/>
                  </a:cubicBezTo>
                  <a:cubicBezTo>
                    <a:pt x="6734" y="10525"/>
                    <a:pt x="6734" y="10525"/>
                    <a:pt x="6734" y="10525"/>
                  </a:cubicBezTo>
                  <a:cubicBezTo>
                    <a:pt x="6640" y="10520"/>
                    <a:pt x="6314" y="10494"/>
                    <a:pt x="6214" y="10486"/>
                  </a:cubicBezTo>
                  <a:close/>
                  <a:moveTo>
                    <a:pt x="6283" y="10275"/>
                  </a:moveTo>
                  <a:cubicBezTo>
                    <a:pt x="6327" y="10044"/>
                    <a:pt x="6327" y="10044"/>
                    <a:pt x="6327" y="10044"/>
                  </a:cubicBezTo>
                  <a:cubicBezTo>
                    <a:pt x="6463" y="10063"/>
                    <a:pt x="6463" y="10063"/>
                    <a:pt x="6463" y="10063"/>
                  </a:cubicBezTo>
                  <a:cubicBezTo>
                    <a:pt x="6415" y="10286"/>
                    <a:pt x="6415" y="10286"/>
                    <a:pt x="6415" y="10286"/>
                  </a:cubicBezTo>
                  <a:lnTo>
                    <a:pt x="6283" y="10275"/>
                  </a:lnTo>
                  <a:close/>
                  <a:moveTo>
                    <a:pt x="6412" y="10300"/>
                  </a:moveTo>
                  <a:cubicBezTo>
                    <a:pt x="6377" y="10468"/>
                    <a:pt x="6377" y="10468"/>
                    <a:pt x="6377" y="10468"/>
                  </a:cubicBezTo>
                  <a:cubicBezTo>
                    <a:pt x="6253" y="10436"/>
                    <a:pt x="6253" y="10436"/>
                    <a:pt x="6253" y="10436"/>
                  </a:cubicBezTo>
                  <a:cubicBezTo>
                    <a:pt x="6281" y="10289"/>
                    <a:pt x="6281" y="10289"/>
                    <a:pt x="6281" y="10289"/>
                  </a:cubicBezTo>
                  <a:lnTo>
                    <a:pt x="6412" y="10300"/>
                  </a:lnTo>
                  <a:close/>
                  <a:moveTo>
                    <a:pt x="6331" y="10031"/>
                  </a:moveTo>
                  <a:cubicBezTo>
                    <a:pt x="6412" y="9793"/>
                    <a:pt x="6412" y="9793"/>
                    <a:pt x="6412" y="9793"/>
                  </a:cubicBezTo>
                  <a:cubicBezTo>
                    <a:pt x="6543" y="9825"/>
                    <a:pt x="6543" y="9825"/>
                    <a:pt x="6543" y="9825"/>
                  </a:cubicBezTo>
                  <a:cubicBezTo>
                    <a:pt x="6467" y="10049"/>
                    <a:pt x="6467" y="10049"/>
                    <a:pt x="6467" y="10049"/>
                  </a:cubicBezTo>
                  <a:lnTo>
                    <a:pt x="6331" y="10031"/>
                  </a:lnTo>
                  <a:close/>
                  <a:moveTo>
                    <a:pt x="6556" y="9828"/>
                  </a:moveTo>
                  <a:cubicBezTo>
                    <a:pt x="6822" y="9892"/>
                    <a:pt x="6822" y="9892"/>
                    <a:pt x="6822" y="9892"/>
                  </a:cubicBezTo>
                  <a:cubicBezTo>
                    <a:pt x="6791" y="9988"/>
                    <a:pt x="6791" y="9988"/>
                    <a:pt x="6791" y="9988"/>
                  </a:cubicBezTo>
                  <a:cubicBezTo>
                    <a:pt x="6780" y="10092"/>
                    <a:pt x="6780" y="10092"/>
                    <a:pt x="6780" y="10092"/>
                  </a:cubicBezTo>
                  <a:cubicBezTo>
                    <a:pt x="6480" y="10051"/>
                    <a:pt x="6480" y="10051"/>
                    <a:pt x="6480" y="10051"/>
                  </a:cubicBezTo>
                  <a:lnTo>
                    <a:pt x="6556" y="9828"/>
                  </a:lnTo>
                  <a:close/>
                  <a:moveTo>
                    <a:pt x="6548" y="9812"/>
                  </a:moveTo>
                  <a:cubicBezTo>
                    <a:pt x="6416" y="9780"/>
                    <a:pt x="6416" y="9780"/>
                    <a:pt x="6416" y="9780"/>
                  </a:cubicBezTo>
                  <a:cubicBezTo>
                    <a:pt x="6484" y="9581"/>
                    <a:pt x="6484" y="9581"/>
                    <a:pt x="6484" y="9581"/>
                  </a:cubicBezTo>
                  <a:cubicBezTo>
                    <a:pt x="6616" y="9610"/>
                    <a:pt x="6616" y="9610"/>
                    <a:pt x="6616" y="9610"/>
                  </a:cubicBezTo>
                  <a:lnTo>
                    <a:pt x="6548" y="9812"/>
                  </a:lnTo>
                  <a:close/>
                  <a:moveTo>
                    <a:pt x="6488" y="9568"/>
                  </a:moveTo>
                  <a:cubicBezTo>
                    <a:pt x="6551" y="9385"/>
                    <a:pt x="6551" y="9385"/>
                    <a:pt x="6551" y="9385"/>
                  </a:cubicBezTo>
                  <a:cubicBezTo>
                    <a:pt x="6682" y="9417"/>
                    <a:pt x="6682" y="9417"/>
                    <a:pt x="6682" y="9417"/>
                  </a:cubicBezTo>
                  <a:cubicBezTo>
                    <a:pt x="6621" y="9597"/>
                    <a:pt x="6621" y="9597"/>
                    <a:pt x="6621" y="9597"/>
                  </a:cubicBezTo>
                  <a:lnTo>
                    <a:pt x="6488" y="9568"/>
                  </a:lnTo>
                  <a:close/>
                  <a:moveTo>
                    <a:pt x="7299" y="8402"/>
                  </a:moveTo>
                  <a:cubicBezTo>
                    <a:pt x="7245" y="8571"/>
                    <a:pt x="7245" y="8571"/>
                    <a:pt x="7245" y="8571"/>
                  </a:cubicBezTo>
                  <a:cubicBezTo>
                    <a:pt x="7194" y="8561"/>
                    <a:pt x="7092" y="8542"/>
                    <a:pt x="6998" y="8524"/>
                  </a:cubicBezTo>
                  <a:cubicBezTo>
                    <a:pt x="7056" y="8354"/>
                    <a:pt x="7056" y="8354"/>
                    <a:pt x="7056" y="8354"/>
                  </a:cubicBezTo>
                  <a:lnTo>
                    <a:pt x="7299" y="8402"/>
                  </a:lnTo>
                  <a:close/>
                  <a:moveTo>
                    <a:pt x="7060" y="8341"/>
                  </a:moveTo>
                  <a:cubicBezTo>
                    <a:pt x="7116" y="8176"/>
                    <a:pt x="7116" y="8176"/>
                    <a:pt x="7116" y="8176"/>
                  </a:cubicBezTo>
                  <a:cubicBezTo>
                    <a:pt x="7132" y="8179"/>
                    <a:pt x="7148" y="8182"/>
                    <a:pt x="7164" y="8186"/>
                  </a:cubicBezTo>
                  <a:cubicBezTo>
                    <a:pt x="7240" y="8202"/>
                    <a:pt x="7314" y="8217"/>
                    <a:pt x="7355" y="8226"/>
                  </a:cubicBezTo>
                  <a:cubicBezTo>
                    <a:pt x="7303" y="8388"/>
                    <a:pt x="7303" y="8388"/>
                    <a:pt x="7303" y="8388"/>
                  </a:cubicBezTo>
                  <a:lnTo>
                    <a:pt x="7060" y="8341"/>
                  </a:lnTo>
                  <a:close/>
                  <a:moveTo>
                    <a:pt x="6977" y="8728"/>
                  </a:moveTo>
                  <a:cubicBezTo>
                    <a:pt x="7056" y="8743"/>
                    <a:pt x="7135" y="8758"/>
                    <a:pt x="7182" y="8767"/>
                  </a:cubicBezTo>
                  <a:cubicBezTo>
                    <a:pt x="7126" y="8940"/>
                    <a:pt x="7126" y="8940"/>
                    <a:pt x="7126" y="8940"/>
                  </a:cubicBezTo>
                  <a:cubicBezTo>
                    <a:pt x="7084" y="8933"/>
                    <a:pt x="6990" y="8915"/>
                    <a:pt x="6900" y="8897"/>
                  </a:cubicBezTo>
                  <a:cubicBezTo>
                    <a:pt x="6891" y="8896"/>
                    <a:pt x="6882" y="8894"/>
                    <a:pt x="6873" y="8892"/>
                  </a:cubicBezTo>
                  <a:cubicBezTo>
                    <a:pt x="6932" y="8719"/>
                    <a:pt x="6932" y="8719"/>
                    <a:pt x="6932" y="8719"/>
                  </a:cubicBezTo>
                  <a:cubicBezTo>
                    <a:pt x="6947" y="8722"/>
                    <a:pt x="6962" y="8725"/>
                    <a:pt x="6977" y="8728"/>
                  </a:cubicBezTo>
                  <a:close/>
                  <a:moveTo>
                    <a:pt x="6936" y="8706"/>
                  </a:moveTo>
                  <a:cubicBezTo>
                    <a:pt x="6993" y="8538"/>
                    <a:pt x="6993" y="8538"/>
                    <a:pt x="6993" y="8538"/>
                  </a:cubicBezTo>
                  <a:cubicBezTo>
                    <a:pt x="7009" y="8540"/>
                    <a:pt x="7024" y="8543"/>
                    <a:pt x="7039" y="8546"/>
                  </a:cubicBezTo>
                  <a:cubicBezTo>
                    <a:pt x="7119" y="8561"/>
                    <a:pt x="7197" y="8576"/>
                    <a:pt x="7240" y="8584"/>
                  </a:cubicBezTo>
                  <a:cubicBezTo>
                    <a:pt x="7186" y="8754"/>
                    <a:pt x="7186" y="8754"/>
                    <a:pt x="7186" y="8754"/>
                  </a:cubicBezTo>
                  <a:cubicBezTo>
                    <a:pt x="7131" y="8743"/>
                    <a:pt x="7030" y="8724"/>
                    <a:pt x="6936" y="8706"/>
                  </a:cubicBezTo>
                  <a:close/>
                  <a:moveTo>
                    <a:pt x="7185" y="8972"/>
                  </a:moveTo>
                  <a:cubicBezTo>
                    <a:pt x="7193" y="8975"/>
                    <a:pt x="7202" y="8979"/>
                    <a:pt x="7212" y="8984"/>
                  </a:cubicBezTo>
                  <a:cubicBezTo>
                    <a:pt x="7246" y="9000"/>
                    <a:pt x="7291" y="9021"/>
                    <a:pt x="7334" y="9043"/>
                  </a:cubicBezTo>
                  <a:cubicBezTo>
                    <a:pt x="7336" y="9043"/>
                    <a:pt x="7337" y="9044"/>
                    <a:pt x="7338" y="9045"/>
                  </a:cubicBezTo>
                  <a:cubicBezTo>
                    <a:pt x="7263" y="9192"/>
                    <a:pt x="7263" y="9192"/>
                    <a:pt x="7263" y="9192"/>
                  </a:cubicBezTo>
                  <a:cubicBezTo>
                    <a:pt x="7135" y="9129"/>
                    <a:pt x="7135" y="9129"/>
                    <a:pt x="7135" y="9129"/>
                  </a:cubicBezTo>
                  <a:lnTo>
                    <a:pt x="7185" y="8972"/>
                  </a:lnTo>
                  <a:close/>
                  <a:moveTo>
                    <a:pt x="7217" y="8971"/>
                  </a:moveTo>
                  <a:cubicBezTo>
                    <a:pt x="7207" y="8966"/>
                    <a:pt x="7198" y="8962"/>
                    <a:pt x="7190" y="8958"/>
                  </a:cubicBezTo>
                  <a:cubicBezTo>
                    <a:pt x="7245" y="8786"/>
                    <a:pt x="7245" y="8786"/>
                    <a:pt x="7245" y="8786"/>
                  </a:cubicBezTo>
                  <a:cubicBezTo>
                    <a:pt x="7423" y="8877"/>
                    <a:pt x="7423" y="8877"/>
                    <a:pt x="7423" y="8877"/>
                  </a:cubicBezTo>
                  <a:cubicBezTo>
                    <a:pt x="7344" y="9032"/>
                    <a:pt x="7344" y="9032"/>
                    <a:pt x="7344" y="9032"/>
                  </a:cubicBezTo>
                  <a:cubicBezTo>
                    <a:pt x="7299" y="9010"/>
                    <a:pt x="7253" y="8988"/>
                    <a:pt x="7217" y="8971"/>
                  </a:cubicBezTo>
                  <a:close/>
                  <a:moveTo>
                    <a:pt x="6985" y="8522"/>
                  </a:moveTo>
                  <a:cubicBezTo>
                    <a:pt x="6935" y="8513"/>
                    <a:pt x="6888" y="8504"/>
                    <a:pt x="6853" y="8498"/>
                  </a:cubicBezTo>
                  <a:cubicBezTo>
                    <a:pt x="6912" y="8326"/>
                    <a:pt x="6912" y="8326"/>
                    <a:pt x="6912" y="8326"/>
                  </a:cubicBezTo>
                  <a:cubicBezTo>
                    <a:pt x="7043" y="8351"/>
                    <a:pt x="7043" y="8351"/>
                    <a:pt x="7043" y="8351"/>
                  </a:cubicBezTo>
                  <a:lnTo>
                    <a:pt x="6985" y="8522"/>
                  </a:lnTo>
                  <a:close/>
                  <a:moveTo>
                    <a:pt x="6980" y="8535"/>
                  </a:moveTo>
                  <a:cubicBezTo>
                    <a:pt x="6923" y="8703"/>
                    <a:pt x="6923" y="8703"/>
                    <a:pt x="6923" y="8703"/>
                  </a:cubicBezTo>
                  <a:cubicBezTo>
                    <a:pt x="6874" y="8694"/>
                    <a:pt x="6827" y="8685"/>
                    <a:pt x="6792" y="8678"/>
                  </a:cubicBezTo>
                  <a:cubicBezTo>
                    <a:pt x="6849" y="8511"/>
                    <a:pt x="6849" y="8511"/>
                    <a:pt x="6849" y="8511"/>
                  </a:cubicBezTo>
                  <a:cubicBezTo>
                    <a:pt x="6883" y="8517"/>
                    <a:pt x="6930" y="8526"/>
                    <a:pt x="6980" y="8535"/>
                  </a:cubicBezTo>
                  <a:close/>
                  <a:moveTo>
                    <a:pt x="6919" y="8717"/>
                  </a:moveTo>
                  <a:cubicBezTo>
                    <a:pt x="6860" y="8890"/>
                    <a:pt x="6860" y="8890"/>
                    <a:pt x="6860" y="8890"/>
                  </a:cubicBezTo>
                  <a:cubicBezTo>
                    <a:pt x="6810" y="8880"/>
                    <a:pt x="6763" y="8870"/>
                    <a:pt x="6728" y="8863"/>
                  </a:cubicBezTo>
                  <a:cubicBezTo>
                    <a:pt x="6787" y="8692"/>
                    <a:pt x="6787" y="8692"/>
                    <a:pt x="6787" y="8692"/>
                  </a:cubicBezTo>
                  <a:cubicBezTo>
                    <a:pt x="6822" y="8698"/>
                    <a:pt x="6869" y="8707"/>
                    <a:pt x="6919" y="8717"/>
                  </a:cubicBezTo>
                  <a:close/>
                  <a:moveTo>
                    <a:pt x="6856" y="8903"/>
                  </a:moveTo>
                  <a:cubicBezTo>
                    <a:pt x="6807" y="9046"/>
                    <a:pt x="6807" y="9046"/>
                    <a:pt x="6807" y="9046"/>
                  </a:cubicBezTo>
                  <a:cubicBezTo>
                    <a:pt x="6676" y="9016"/>
                    <a:pt x="6676" y="9016"/>
                    <a:pt x="6676" y="9016"/>
                  </a:cubicBezTo>
                  <a:cubicBezTo>
                    <a:pt x="6724" y="8877"/>
                    <a:pt x="6724" y="8877"/>
                    <a:pt x="6724" y="8877"/>
                  </a:cubicBezTo>
                  <a:cubicBezTo>
                    <a:pt x="6759" y="8884"/>
                    <a:pt x="6806" y="8893"/>
                    <a:pt x="6856" y="8903"/>
                  </a:cubicBezTo>
                  <a:close/>
                  <a:moveTo>
                    <a:pt x="6803" y="9060"/>
                  </a:moveTo>
                  <a:cubicBezTo>
                    <a:pt x="6747" y="9223"/>
                    <a:pt x="6747" y="9223"/>
                    <a:pt x="6747" y="9223"/>
                  </a:cubicBezTo>
                  <a:cubicBezTo>
                    <a:pt x="6616" y="9192"/>
                    <a:pt x="6616" y="9192"/>
                    <a:pt x="6616" y="9192"/>
                  </a:cubicBezTo>
                  <a:cubicBezTo>
                    <a:pt x="6672" y="9029"/>
                    <a:pt x="6672" y="9029"/>
                    <a:pt x="6672" y="9029"/>
                  </a:cubicBezTo>
                  <a:lnTo>
                    <a:pt x="6803" y="9060"/>
                  </a:lnTo>
                  <a:close/>
                  <a:moveTo>
                    <a:pt x="6743" y="9236"/>
                  </a:moveTo>
                  <a:cubicBezTo>
                    <a:pt x="6686" y="9403"/>
                    <a:pt x="6686" y="9403"/>
                    <a:pt x="6686" y="9403"/>
                  </a:cubicBezTo>
                  <a:cubicBezTo>
                    <a:pt x="6555" y="9371"/>
                    <a:pt x="6555" y="9371"/>
                    <a:pt x="6555" y="9371"/>
                  </a:cubicBezTo>
                  <a:cubicBezTo>
                    <a:pt x="6612" y="9206"/>
                    <a:pt x="6612" y="9206"/>
                    <a:pt x="6612" y="9206"/>
                  </a:cubicBezTo>
                  <a:lnTo>
                    <a:pt x="6743" y="9236"/>
                  </a:lnTo>
                  <a:close/>
                  <a:moveTo>
                    <a:pt x="6694" y="9420"/>
                  </a:moveTo>
                  <a:cubicBezTo>
                    <a:pt x="6953" y="9483"/>
                    <a:pt x="6953" y="9483"/>
                    <a:pt x="6953" y="9483"/>
                  </a:cubicBezTo>
                  <a:cubicBezTo>
                    <a:pt x="6897" y="9658"/>
                    <a:pt x="6897" y="9658"/>
                    <a:pt x="6897" y="9658"/>
                  </a:cubicBezTo>
                  <a:cubicBezTo>
                    <a:pt x="6633" y="9600"/>
                    <a:pt x="6633" y="9600"/>
                    <a:pt x="6633" y="9600"/>
                  </a:cubicBezTo>
                  <a:lnTo>
                    <a:pt x="6694" y="9420"/>
                  </a:lnTo>
                  <a:close/>
                  <a:moveTo>
                    <a:pt x="6699" y="9406"/>
                  </a:moveTo>
                  <a:cubicBezTo>
                    <a:pt x="6756" y="9239"/>
                    <a:pt x="6756" y="9239"/>
                    <a:pt x="6756" y="9239"/>
                  </a:cubicBezTo>
                  <a:cubicBezTo>
                    <a:pt x="7011" y="9300"/>
                    <a:pt x="7011" y="9300"/>
                    <a:pt x="7011" y="9300"/>
                  </a:cubicBezTo>
                  <a:cubicBezTo>
                    <a:pt x="6957" y="9469"/>
                    <a:pt x="6957" y="9469"/>
                    <a:pt x="6957" y="9469"/>
                  </a:cubicBezTo>
                  <a:lnTo>
                    <a:pt x="6699" y="9406"/>
                  </a:lnTo>
                  <a:close/>
                  <a:moveTo>
                    <a:pt x="6760" y="9226"/>
                  </a:moveTo>
                  <a:cubicBezTo>
                    <a:pt x="6815" y="9063"/>
                    <a:pt x="6815" y="9063"/>
                    <a:pt x="6815" y="9063"/>
                  </a:cubicBezTo>
                  <a:cubicBezTo>
                    <a:pt x="7069" y="9121"/>
                    <a:pt x="7069" y="9121"/>
                    <a:pt x="7069" y="9121"/>
                  </a:cubicBezTo>
                  <a:cubicBezTo>
                    <a:pt x="7016" y="9287"/>
                    <a:pt x="7016" y="9287"/>
                    <a:pt x="7016" y="9287"/>
                  </a:cubicBezTo>
                  <a:lnTo>
                    <a:pt x="6760" y="9226"/>
                  </a:lnTo>
                  <a:close/>
                  <a:moveTo>
                    <a:pt x="6820" y="9049"/>
                  </a:moveTo>
                  <a:cubicBezTo>
                    <a:pt x="6869" y="8906"/>
                    <a:pt x="6869" y="8906"/>
                    <a:pt x="6869" y="8906"/>
                  </a:cubicBezTo>
                  <a:cubicBezTo>
                    <a:pt x="6966" y="8925"/>
                    <a:pt x="7073" y="8945"/>
                    <a:pt x="7122" y="8954"/>
                  </a:cubicBezTo>
                  <a:cubicBezTo>
                    <a:pt x="7073" y="9108"/>
                    <a:pt x="7073" y="9108"/>
                    <a:pt x="7073" y="9108"/>
                  </a:cubicBezTo>
                  <a:lnTo>
                    <a:pt x="6820" y="9049"/>
                  </a:lnTo>
                  <a:close/>
                  <a:moveTo>
                    <a:pt x="7131" y="9142"/>
                  </a:moveTo>
                  <a:cubicBezTo>
                    <a:pt x="7256" y="9205"/>
                    <a:pt x="7256" y="9205"/>
                    <a:pt x="7256" y="9205"/>
                  </a:cubicBezTo>
                  <a:cubicBezTo>
                    <a:pt x="7179" y="9356"/>
                    <a:pt x="7179" y="9356"/>
                    <a:pt x="7179" y="9356"/>
                  </a:cubicBezTo>
                  <a:cubicBezTo>
                    <a:pt x="7078" y="9308"/>
                    <a:pt x="7078" y="9308"/>
                    <a:pt x="7078" y="9308"/>
                  </a:cubicBezTo>
                  <a:lnTo>
                    <a:pt x="7131" y="9142"/>
                  </a:lnTo>
                  <a:close/>
                  <a:moveTo>
                    <a:pt x="7185" y="9374"/>
                  </a:moveTo>
                  <a:cubicBezTo>
                    <a:pt x="7299" y="9428"/>
                    <a:pt x="7299" y="9428"/>
                    <a:pt x="7299" y="9428"/>
                  </a:cubicBezTo>
                  <a:cubicBezTo>
                    <a:pt x="7234" y="9555"/>
                    <a:pt x="7234" y="9555"/>
                    <a:pt x="7234" y="9555"/>
                  </a:cubicBezTo>
                  <a:cubicBezTo>
                    <a:pt x="7123" y="9495"/>
                    <a:pt x="7123" y="9495"/>
                    <a:pt x="7123" y="9495"/>
                  </a:cubicBezTo>
                  <a:lnTo>
                    <a:pt x="7185" y="9374"/>
                  </a:lnTo>
                  <a:close/>
                  <a:moveTo>
                    <a:pt x="7191" y="9361"/>
                  </a:moveTo>
                  <a:cubicBezTo>
                    <a:pt x="7268" y="9210"/>
                    <a:pt x="7268" y="9210"/>
                    <a:pt x="7268" y="9210"/>
                  </a:cubicBezTo>
                  <a:cubicBezTo>
                    <a:pt x="7381" y="9266"/>
                    <a:pt x="7381" y="9266"/>
                    <a:pt x="7381" y="9266"/>
                  </a:cubicBezTo>
                  <a:cubicBezTo>
                    <a:pt x="7305" y="9416"/>
                    <a:pt x="7305" y="9416"/>
                    <a:pt x="7305" y="9416"/>
                  </a:cubicBezTo>
                  <a:lnTo>
                    <a:pt x="7191" y="9361"/>
                  </a:lnTo>
                  <a:close/>
                  <a:moveTo>
                    <a:pt x="7275" y="9198"/>
                  </a:moveTo>
                  <a:cubicBezTo>
                    <a:pt x="7350" y="9050"/>
                    <a:pt x="7350" y="9050"/>
                    <a:pt x="7350" y="9050"/>
                  </a:cubicBezTo>
                  <a:cubicBezTo>
                    <a:pt x="7393" y="9072"/>
                    <a:pt x="7433" y="9092"/>
                    <a:pt x="7463" y="9107"/>
                  </a:cubicBezTo>
                  <a:cubicBezTo>
                    <a:pt x="7388" y="9254"/>
                    <a:pt x="7388" y="9254"/>
                    <a:pt x="7388" y="9254"/>
                  </a:cubicBezTo>
                  <a:lnTo>
                    <a:pt x="7275" y="9198"/>
                  </a:lnTo>
                  <a:close/>
                  <a:moveTo>
                    <a:pt x="7356" y="9038"/>
                  </a:moveTo>
                  <a:cubicBezTo>
                    <a:pt x="7435" y="8883"/>
                    <a:pt x="7435" y="8883"/>
                    <a:pt x="7435" y="8883"/>
                  </a:cubicBezTo>
                  <a:cubicBezTo>
                    <a:pt x="7547" y="8941"/>
                    <a:pt x="7547" y="8941"/>
                    <a:pt x="7547" y="8941"/>
                  </a:cubicBezTo>
                  <a:cubicBezTo>
                    <a:pt x="7469" y="9094"/>
                    <a:pt x="7469" y="9094"/>
                    <a:pt x="7469" y="9094"/>
                  </a:cubicBezTo>
                  <a:cubicBezTo>
                    <a:pt x="7440" y="9079"/>
                    <a:pt x="7399" y="9059"/>
                    <a:pt x="7356" y="9038"/>
                  </a:cubicBezTo>
                  <a:close/>
                  <a:moveTo>
                    <a:pt x="7430" y="8865"/>
                  </a:moveTo>
                  <a:cubicBezTo>
                    <a:pt x="7249" y="8772"/>
                    <a:pt x="7249" y="8772"/>
                    <a:pt x="7249" y="8772"/>
                  </a:cubicBezTo>
                  <a:cubicBezTo>
                    <a:pt x="7303" y="8605"/>
                    <a:pt x="7303" y="8605"/>
                    <a:pt x="7303" y="8605"/>
                  </a:cubicBezTo>
                  <a:cubicBezTo>
                    <a:pt x="7511" y="8706"/>
                    <a:pt x="7511" y="8706"/>
                    <a:pt x="7511" y="8706"/>
                  </a:cubicBezTo>
                  <a:lnTo>
                    <a:pt x="7430" y="8865"/>
                  </a:lnTo>
                  <a:close/>
                  <a:moveTo>
                    <a:pt x="7307" y="8591"/>
                  </a:moveTo>
                  <a:cubicBezTo>
                    <a:pt x="7361" y="8421"/>
                    <a:pt x="7361" y="8421"/>
                    <a:pt x="7361" y="8421"/>
                  </a:cubicBezTo>
                  <a:cubicBezTo>
                    <a:pt x="7597" y="8537"/>
                    <a:pt x="7597" y="8537"/>
                    <a:pt x="7597" y="8537"/>
                  </a:cubicBezTo>
                  <a:cubicBezTo>
                    <a:pt x="7517" y="8694"/>
                    <a:pt x="7517" y="8694"/>
                    <a:pt x="7517" y="8694"/>
                  </a:cubicBezTo>
                  <a:lnTo>
                    <a:pt x="7307" y="8591"/>
                  </a:lnTo>
                  <a:close/>
                  <a:moveTo>
                    <a:pt x="7366" y="8408"/>
                  </a:moveTo>
                  <a:cubicBezTo>
                    <a:pt x="7417" y="8247"/>
                    <a:pt x="7417" y="8247"/>
                    <a:pt x="7417" y="8247"/>
                  </a:cubicBezTo>
                  <a:cubicBezTo>
                    <a:pt x="7682" y="8370"/>
                    <a:pt x="7682" y="8370"/>
                    <a:pt x="7682" y="8370"/>
                  </a:cubicBezTo>
                  <a:cubicBezTo>
                    <a:pt x="7603" y="8525"/>
                    <a:pt x="7603" y="8525"/>
                    <a:pt x="7603" y="8525"/>
                  </a:cubicBezTo>
                  <a:lnTo>
                    <a:pt x="7366" y="8408"/>
                  </a:lnTo>
                  <a:close/>
                  <a:moveTo>
                    <a:pt x="7359" y="8213"/>
                  </a:moveTo>
                  <a:cubicBezTo>
                    <a:pt x="7310" y="8202"/>
                    <a:pt x="7211" y="8181"/>
                    <a:pt x="7120" y="8162"/>
                  </a:cubicBezTo>
                  <a:cubicBezTo>
                    <a:pt x="7170" y="8015"/>
                    <a:pt x="7170" y="8015"/>
                    <a:pt x="7170" y="8015"/>
                  </a:cubicBezTo>
                  <a:cubicBezTo>
                    <a:pt x="7408" y="8060"/>
                    <a:pt x="7408" y="8060"/>
                    <a:pt x="7408" y="8060"/>
                  </a:cubicBezTo>
                  <a:lnTo>
                    <a:pt x="7359" y="8213"/>
                  </a:lnTo>
                  <a:close/>
                  <a:moveTo>
                    <a:pt x="7162" y="7999"/>
                  </a:moveTo>
                  <a:cubicBezTo>
                    <a:pt x="7032" y="7974"/>
                    <a:pt x="7032" y="7974"/>
                    <a:pt x="7032" y="7974"/>
                  </a:cubicBezTo>
                  <a:cubicBezTo>
                    <a:pt x="7066" y="7872"/>
                    <a:pt x="7066" y="7872"/>
                    <a:pt x="7066" y="7872"/>
                  </a:cubicBezTo>
                  <a:cubicBezTo>
                    <a:pt x="7191" y="7914"/>
                    <a:pt x="7191" y="7914"/>
                    <a:pt x="7191" y="7914"/>
                  </a:cubicBezTo>
                  <a:lnTo>
                    <a:pt x="7162" y="7999"/>
                  </a:lnTo>
                  <a:close/>
                  <a:moveTo>
                    <a:pt x="7157" y="8012"/>
                  </a:moveTo>
                  <a:cubicBezTo>
                    <a:pt x="7107" y="8160"/>
                    <a:pt x="7107" y="8160"/>
                    <a:pt x="7107" y="8160"/>
                  </a:cubicBezTo>
                  <a:cubicBezTo>
                    <a:pt x="7058" y="8150"/>
                    <a:pt x="7011" y="8140"/>
                    <a:pt x="6977" y="8133"/>
                  </a:cubicBezTo>
                  <a:cubicBezTo>
                    <a:pt x="7027" y="7988"/>
                    <a:pt x="7027" y="7988"/>
                    <a:pt x="7027" y="7988"/>
                  </a:cubicBezTo>
                  <a:lnTo>
                    <a:pt x="7157" y="8012"/>
                  </a:lnTo>
                  <a:close/>
                  <a:moveTo>
                    <a:pt x="7103" y="8173"/>
                  </a:moveTo>
                  <a:cubicBezTo>
                    <a:pt x="7047" y="8338"/>
                    <a:pt x="7047" y="8338"/>
                    <a:pt x="7047" y="8338"/>
                  </a:cubicBezTo>
                  <a:cubicBezTo>
                    <a:pt x="6916" y="8312"/>
                    <a:pt x="6916" y="8312"/>
                    <a:pt x="6916" y="8312"/>
                  </a:cubicBezTo>
                  <a:cubicBezTo>
                    <a:pt x="6973" y="8147"/>
                    <a:pt x="6973" y="8147"/>
                    <a:pt x="6973" y="8147"/>
                  </a:cubicBezTo>
                  <a:cubicBezTo>
                    <a:pt x="7006" y="8153"/>
                    <a:pt x="7053" y="8163"/>
                    <a:pt x="7103" y="8173"/>
                  </a:cubicBezTo>
                  <a:close/>
                  <a:moveTo>
                    <a:pt x="6903" y="8310"/>
                  </a:moveTo>
                  <a:cubicBezTo>
                    <a:pt x="6888" y="8307"/>
                    <a:pt x="6888" y="8307"/>
                    <a:pt x="6888" y="8307"/>
                  </a:cubicBezTo>
                  <a:cubicBezTo>
                    <a:pt x="6908" y="8248"/>
                    <a:pt x="6927" y="8192"/>
                    <a:pt x="6944" y="8141"/>
                  </a:cubicBezTo>
                  <a:cubicBezTo>
                    <a:pt x="6949" y="8142"/>
                    <a:pt x="6954" y="8143"/>
                    <a:pt x="6960" y="8144"/>
                  </a:cubicBezTo>
                  <a:lnTo>
                    <a:pt x="6903" y="8310"/>
                  </a:lnTo>
                  <a:close/>
                  <a:moveTo>
                    <a:pt x="6899" y="8323"/>
                  </a:moveTo>
                  <a:cubicBezTo>
                    <a:pt x="6840" y="8495"/>
                    <a:pt x="6840" y="8495"/>
                    <a:pt x="6840" y="8495"/>
                  </a:cubicBezTo>
                  <a:cubicBezTo>
                    <a:pt x="6835" y="8494"/>
                    <a:pt x="6830" y="8494"/>
                    <a:pt x="6825" y="8493"/>
                  </a:cubicBezTo>
                  <a:cubicBezTo>
                    <a:pt x="6845" y="8433"/>
                    <a:pt x="6865" y="8375"/>
                    <a:pt x="6884" y="8320"/>
                  </a:cubicBezTo>
                  <a:lnTo>
                    <a:pt x="6899" y="8323"/>
                  </a:lnTo>
                  <a:close/>
                  <a:moveTo>
                    <a:pt x="6836" y="8509"/>
                  </a:moveTo>
                  <a:cubicBezTo>
                    <a:pt x="6779" y="8676"/>
                    <a:pt x="6779" y="8676"/>
                    <a:pt x="6779" y="8676"/>
                  </a:cubicBezTo>
                  <a:cubicBezTo>
                    <a:pt x="6773" y="8675"/>
                    <a:pt x="6768" y="8674"/>
                    <a:pt x="6764" y="8673"/>
                  </a:cubicBezTo>
                  <a:cubicBezTo>
                    <a:pt x="6783" y="8616"/>
                    <a:pt x="6802" y="8560"/>
                    <a:pt x="6821" y="8506"/>
                  </a:cubicBezTo>
                  <a:cubicBezTo>
                    <a:pt x="6825" y="8507"/>
                    <a:pt x="6830" y="8508"/>
                    <a:pt x="6836" y="8509"/>
                  </a:cubicBezTo>
                  <a:close/>
                  <a:moveTo>
                    <a:pt x="6774" y="8689"/>
                  </a:moveTo>
                  <a:cubicBezTo>
                    <a:pt x="6716" y="8861"/>
                    <a:pt x="6716" y="8861"/>
                    <a:pt x="6716" y="8861"/>
                  </a:cubicBezTo>
                  <a:cubicBezTo>
                    <a:pt x="6710" y="8860"/>
                    <a:pt x="6706" y="8859"/>
                    <a:pt x="6701" y="8858"/>
                  </a:cubicBezTo>
                  <a:cubicBezTo>
                    <a:pt x="6721" y="8800"/>
                    <a:pt x="6740" y="8743"/>
                    <a:pt x="6759" y="8686"/>
                  </a:cubicBezTo>
                  <a:cubicBezTo>
                    <a:pt x="6764" y="8687"/>
                    <a:pt x="6769" y="8688"/>
                    <a:pt x="6774" y="8689"/>
                  </a:cubicBezTo>
                  <a:close/>
                  <a:moveTo>
                    <a:pt x="6711" y="8874"/>
                  </a:moveTo>
                  <a:cubicBezTo>
                    <a:pt x="6664" y="9013"/>
                    <a:pt x="6664" y="9013"/>
                    <a:pt x="6664" y="9013"/>
                  </a:cubicBezTo>
                  <a:cubicBezTo>
                    <a:pt x="6650" y="9010"/>
                    <a:pt x="6650" y="9010"/>
                    <a:pt x="6650" y="9010"/>
                  </a:cubicBezTo>
                  <a:cubicBezTo>
                    <a:pt x="6665" y="8964"/>
                    <a:pt x="6681" y="8917"/>
                    <a:pt x="6697" y="8871"/>
                  </a:cubicBezTo>
                  <a:cubicBezTo>
                    <a:pt x="6701" y="8872"/>
                    <a:pt x="6706" y="8873"/>
                    <a:pt x="6711" y="8874"/>
                  </a:cubicBezTo>
                  <a:close/>
                  <a:moveTo>
                    <a:pt x="6659" y="9026"/>
                  </a:moveTo>
                  <a:cubicBezTo>
                    <a:pt x="6604" y="9189"/>
                    <a:pt x="6604" y="9189"/>
                    <a:pt x="6604" y="9189"/>
                  </a:cubicBezTo>
                  <a:cubicBezTo>
                    <a:pt x="6590" y="9186"/>
                    <a:pt x="6590" y="9186"/>
                    <a:pt x="6590" y="9186"/>
                  </a:cubicBezTo>
                  <a:cubicBezTo>
                    <a:pt x="6608" y="9132"/>
                    <a:pt x="6627" y="9078"/>
                    <a:pt x="6645" y="9023"/>
                  </a:cubicBezTo>
                  <a:lnTo>
                    <a:pt x="6659" y="9026"/>
                  </a:lnTo>
                  <a:close/>
                  <a:moveTo>
                    <a:pt x="6599" y="9202"/>
                  </a:moveTo>
                  <a:cubicBezTo>
                    <a:pt x="6543" y="9368"/>
                    <a:pt x="6543" y="9368"/>
                    <a:pt x="6543" y="9368"/>
                  </a:cubicBezTo>
                  <a:cubicBezTo>
                    <a:pt x="6529" y="9365"/>
                    <a:pt x="6529" y="9365"/>
                    <a:pt x="6529" y="9365"/>
                  </a:cubicBezTo>
                  <a:cubicBezTo>
                    <a:pt x="6548" y="9311"/>
                    <a:pt x="6566" y="9256"/>
                    <a:pt x="6586" y="9199"/>
                  </a:cubicBezTo>
                  <a:lnTo>
                    <a:pt x="6599" y="9202"/>
                  </a:lnTo>
                  <a:close/>
                  <a:moveTo>
                    <a:pt x="6538" y="9381"/>
                  </a:moveTo>
                  <a:cubicBezTo>
                    <a:pt x="6476" y="9565"/>
                    <a:pt x="6476" y="9565"/>
                    <a:pt x="6476" y="9565"/>
                  </a:cubicBezTo>
                  <a:cubicBezTo>
                    <a:pt x="6462" y="9562"/>
                    <a:pt x="6462" y="9562"/>
                    <a:pt x="6462" y="9562"/>
                  </a:cubicBezTo>
                  <a:cubicBezTo>
                    <a:pt x="6482" y="9504"/>
                    <a:pt x="6503" y="9442"/>
                    <a:pt x="6525" y="9378"/>
                  </a:cubicBezTo>
                  <a:lnTo>
                    <a:pt x="6538" y="9381"/>
                  </a:lnTo>
                  <a:close/>
                  <a:moveTo>
                    <a:pt x="6471" y="9578"/>
                  </a:moveTo>
                  <a:cubicBezTo>
                    <a:pt x="6403" y="9777"/>
                    <a:pt x="6403" y="9777"/>
                    <a:pt x="6403" y="9777"/>
                  </a:cubicBezTo>
                  <a:cubicBezTo>
                    <a:pt x="6391" y="9774"/>
                    <a:pt x="6391" y="9774"/>
                    <a:pt x="6391" y="9774"/>
                  </a:cubicBezTo>
                  <a:cubicBezTo>
                    <a:pt x="6411" y="9715"/>
                    <a:pt x="6433" y="9648"/>
                    <a:pt x="6458" y="9575"/>
                  </a:cubicBezTo>
                  <a:lnTo>
                    <a:pt x="6471" y="9578"/>
                  </a:lnTo>
                  <a:close/>
                  <a:moveTo>
                    <a:pt x="6399" y="9790"/>
                  </a:moveTo>
                  <a:cubicBezTo>
                    <a:pt x="6317" y="10029"/>
                    <a:pt x="6317" y="10029"/>
                    <a:pt x="6317" y="10029"/>
                  </a:cubicBezTo>
                  <a:cubicBezTo>
                    <a:pt x="6305" y="10027"/>
                    <a:pt x="6305" y="10027"/>
                    <a:pt x="6305" y="10027"/>
                  </a:cubicBezTo>
                  <a:cubicBezTo>
                    <a:pt x="6316" y="9994"/>
                    <a:pt x="6345" y="9908"/>
                    <a:pt x="6386" y="9787"/>
                  </a:cubicBezTo>
                  <a:lnTo>
                    <a:pt x="6399" y="9790"/>
                  </a:lnTo>
                  <a:close/>
                  <a:moveTo>
                    <a:pt x="6314" y="10043"/>
                  </a:moveTo>
                  <a:cubicBezTo>
                    <a:pt x="6270" y="10274"/>
                    <a:pt x="6270" y="10274"/>
                    <a:pt x="6270" y="10274"/>
                  </a:cubicBezTo>
                  <a:cubicBezTo>
                    <a:pt x="6255" y="10273"/>
                    <a:pt x="6255" y="10273"/>
                    <a:pt x="6255" y="10273"/>
                  </a:cubicBezTo>
                  <a:cubicBezTo>
                    <a:pt x="6300" y="10041"/>
                    <a:pt x="6300" y="10041"/>
                    <a:pt x="6300" y="10041"/>
                  </a:cubicBezTo>
                  <a:lnTo>
                    <a:pt x="6314" y="10043"/>
                  </a:lnTo>
                  <a:close/>
                  <a:moveTo>
                    <a:pt x="6429" y="10287"/>
                  </a:moveTo>
                  <a:cubicBezTo>
                    <a:pt x="6475" y="10066"/>
                    <a:pt x="6475" y="10066"/>
                    <a:pt x="6475" y="10066"/>
                  </a:cubicBezTo>
                  <a:cubicBezTo>
                    <a:pt x="6476" y="10065"/>
                    <a:pt x="6476" y="10065"/>
                    <a:pt x="6476" y="10065"/>
                  </a:cubicBezTo>
                  <a:cubicBezTo>
                    <a:pt x="6779" y="10106"/>
                    <a:pt x="6779" y="10106"/>
                    <a:pt x="6779" y="10106"/>
                  </a:cubicBezTo>
                  <a:cubicBezTo>
                    <a:pt x="6756" y="10315"/>
                    <a:pt x="6756" y="10315"/>
                    <a:pt x="6756" y="10315"/>
                  </a:cubicBezTo>
                  <a:lnTo>
                    <a:pt x="6429" y="10287"/>
                  </a:lnTo>
                  <a:close/>
                  <a:moveTo>
                    <a:pt x="6826" y="9879"/>
                  </a:moveTo>
                  <a:cubicBezTo>
                    <a:pt x="6561" y="9815"/>
                    <a:pt x="6561" y="9815"/>
                    <a:pt x="6561" y="9815"/>
                  </a:cubicBezTo>
                  <a:cubicBezTo>
                    <a:pt x="6629" y="9613"/>
                    <a:pt x="6629" y="9613"/>
                    <a:pt x="6629" y="9613"/>
                  </a:cubicBezTo>
                  <a:cubicBezTo>
                    <a:pt x="6893" y="9671"/>
                    <a:pt x="6893" y="9671"/>
                    <a:pt x="6893" y="9671"/>
                  </a:cubicBezTo>
                  <a:lnTo>
                    <a:pt x="6826" y="9879"/>
                  </a:lnTo>
                  <a:close/>
                  <a:moveTo>
                    <a:pt x="6955" y="9692"/>
                  </a:moveTo>
                  <a:cubicBezTo>
                    <a:pt x="7096" y="9759"/>
                    <a:pt x="7096" y="9759"/>
                    <a:pt x="7096" y="9759"/>
                  </a:cubicBezTo>
                  <a:cubicBezTo>
                    <a:pt x="6887" y="9903"/>
                    <a:pt x="6887" y="9903"/>
                    <a:pt x="6887" y="9903"/>
                  </a:cubicBezTo>
                  <a:lnTo>
                    <a:pt x="6955" y="9692"/>
                  </a:lnTo>
                  <a:close/>
                  <a:moveTo>
                    <a:pt x="6959" y="9679"/>
                  </a:moveTo>
                  <a:cubicBezTo>
                    <a:pt x="7015" y="9504"/>
                    <a:pt x="7015" y="9504"/>
                    <a:pt x="7015" y="9504"/>
                  </a:cubicBezTo>
                  <a:cubicBezTo>
                    <a:pt x="7245" y="9607"/>
                    <a:pt x="7245" y="9607"/>
                    <a:pt x="7245" y="9607"/>
                  </a:cubicBezTo>
                  <a:cubicBezTo>
                    <a:pt x="7206" y="9683"/>
                    <a:pt x="7206" y="9683"/>
                    <a:pt x="7206" y="9683"/>
                  </a:cubicBezTo>
                  <a:cubicBezTo>
                    <a:pt x="7110" y="9750"/>
                    <a:pt x="7110" y="9750"/>
                    <a:pt x="7110" y="9750"/>
                  </a:cubicBezTo>
                  <a:lnTo>
                    <a:pt x="6959" y="9679"/>
                  </a:lnTo>
                  <a:close/>
                  <a:moveTo>
                    <a:pt x="7019" y="9491"/>
                  </a:moveTo>
                  <a:cubicBezTo>
                    <a:pt x="7073" y="9321"/>
                    <a:pt x="7073" y="9321"/>
                    <a:pt x="7073" y="9321"/>
                  </a:cubicBezTo>
                  <a:cubicBezTo>
                    <a:pt x="7173" y="9368"/>
                    <a:pt x="7173" y="9368"/>
                    <a:pt x="7173" y="9368"/>
                  </a:cubicBezTo>
                  <a:cubicBezTo>
                    <a:pt x="7108" y="9495"/>
                    <a:pt x="7108" y="9495"/>
                    <a:pt x="7108" y="9495"/>
                  </a:cubicBezTo>
                  <a:cubicBezTo>
                    <a:pt x="7105" y="9501"/>
                    <a:pt x="7105" y="9501"/>
                    <a:pt x="7105" y="9501"/>
                  </a:cubicBezTo>
                  <a:cubicBezTo>
                    <a:pt x="7240" y="9573"/>
                    <a:pt x="7240" y="9573"/>
                    <a:pt x="7240" y="9573"/>
                  </a:cubicBezTo>
                  <a:cubicBezTo>
                    <a:pt x="7311" y="9434"/>
                    <a:pt x="7311" y="9434"/>
                    <a:pt x="7311" y="9434"/>
                  </a:cubicBezTo>
                  <a:cubicBezTo>
                    <a:pt x="7328" y="9442"/>
                    <a:pt x="7328" y="9442"/>
                    <a:pt x="7328" y="9442"/>
                  </a:cubicBezTo>
                  <a:cubicBezTo>
                    <a:pt x="7251" y="9594"/>
                    <a:pt x="7251" y="9594"/>
                    <a:pt x="7251" y="9594"/>
                  </a:cubicBezTo>
                  <a:lnTo>
                    <a:pt x="7019" y="9491"/>
                  </a:lnTo>
                  <a:close/>
                  <a:moveTo>
                    <a:pt x="7317" y="9421"/>
                  </a:moveTo>
                  <a:cubicBezTo>
                    <a:pt x="7393" y="9272"/>
                    <a:pt x="7393" y="9272"/>
                    <a:pt x="7393" y="9272"/>
                  </a:cubicBezTo>
                  <a:cubicBezTo>
                    <a:pt x="7410" y="9281"/>
                    <a:pt x="7410" y="9281"/>
                    <a:pt x="7410" y="9281"/>
                  </a:cubicBezTo>
                  <a:cubicBezTo>
                    <a:pt x="7335" y="9430"/>
                    <a:pt x="7335" y="9430"/>
                    <a:pt x="7335" y="9430"/>
                  </a:cubicBezTo>
                  <a:lnTo>
                    <a:pt x="7317" y="9421"/>
                  </a:lnTo>
                  <a:close/>
                  <a:moveTo>
                    <a:pt x="7399" y="9260"/>
                  </a:moveTo>
                  <a:cubicBezTo>
                    <a:pt x="7475" y="9113"/>
                    <a:pt x="7475" y="9113"/>
                    <a:pt x="7475" y="9113"/>
                  </a:cubicBezTo>
                  <a:cubicBezTo>
                    <a:pt x="7481" y="9116"/>
                    <a:pt x="7487" y="9119"/>
                    <a:pt x="7491" y="9121"/>
                  </a:cubicBezTo>
                  <a:cubicBezTo>
                    <a:pt x="7416" y="9268"/>
                    <a:pt x="7416" y="9268"/>
                    <a:pt x="7416" y="9268"/>
                  </a:cubicBezTo>
                  <a:lnTo>
                    <a:pt x="7399" y="9260"/>
                  </a:lnTo>
                  <a:close/>
                  <a:moveTo>
                    <a:pt x="7481" y="9100"/>
                  </a:moveTo>
                  <a:cubicBezTo>
                    <a:pt x="7559" y="8947"/>
                    <a:pt x="7559" y="8947"/>
                    <a:pt x="7559" y="8947"/>
                  </a:cubicBezTo>
                  <a:cubicBezTo>
                    <a:pt x="7575" y="8955"/>
                    <a:pt x="7575" y="8955"/>
                    <a:pt x="7575" y="8955"/>
                  </a:cubicBezTo>
                  <a:cubicBezTo>
                    <a:pt x="7498" y="9108"/>
                    <a:pt x="7498" y="9108"/>
                    <a:pt x="7498" y="9108"/>
                  </a:cubicBezTo>
                  <a:cubicBezTo>
                    <a:pt x="7493" y="9106"/>
                    <a:pt x="7487" y="9103"/>
                    <a:pt x="7481" y="9100"/>
                  </a:cubicBezTo>
                  <a:close/>
                  <a:moveTo>
                    <a:pt x="7554" y="8928"/>
                  </a:moveTo>
                  <a:cubicBezTo>
                    <a:pt x="7441" y="8871"/>
                    <a:pt x="7441" y="8871"/>
                    <a:pt x="7441" y="8871"/>
                  </a:cubicBezTo>
                  <a:cubicBezTo>
                    <a:pt x="7522" y="8712"/>
                    <a:pt x="7522" y="8712"/>
                    <a:pt x="7522" y="8712"/>
                  </a:cubicBezTo>
                  <a:cubicBezTo>
                    <a:pt x="7636" y="8767"/>
                    <a:pt x="7636" y="8767"/>
                    <a:pt x="7636" y="8767"/>
                  </a:cubicBezTo>
                  <a:lnTo>
                    <a:pt x="7554" y="8928"/>
                  </a:lnTo>
                  <a:close/>
                  <a:moveTo>
                    <a:pt x="7529" y="8699"/>
                  </a:moveTo>
                  <a:cubicBezTo>
                    <a:pt x="7608" y="8543"/>
                    <a:pt x="7608" y="8543"/>
                    <a:pt x="7608" y="8543"/>
                  </a:cubicBezTo>
                  <a:cubicBezTo>
                    <a:pt x="7721" y="8599"/>
                    <a:pt x="7721" y="8599"/>
                    <a:pt x="7721" y="8599"/>
                  </a:cubicBezTo>
                  <a:cubicBezTo>
                    <a:pt x="7642" y="8755"/>
                    <a:pt x="7642" y="8755"/>
                    <a:pt x="7642" y="8755"/>
                  </a:cubicBezTo>
                  <a:lnTo>
                    <a:pt x="7529" y="8699"/>
                  </a:lnTo>
                  <a:close/>
                  <a:moveTo>
                    <a:pt x="7615" y="8531"/>
                  </a:moveTo>
                  <a:cubicBezTo>
                    <a:pt x="7693" y="8376"/>
                    <a:pt x="7693" y="8376"/>
                    <a:pt x="7693" y="8376"/>
                  </a:cubicBezTo>
                  <a:cubicBezTo>
                    <a:pt x="7808" y="8429"/>
                    <a:pt x="7808" y="8429"/>
                    <a:pt x="7808" y="8429"/>
                  </a:cubicBezTo>
                  <a:cubicBezTo>
                    <a:pt x="7728" y="8587"/>
                    <a:pt x="7728" y="8587"/>
                    <a:pt x="7728" y="8587"/>
                  </a:cubicBezTo>
                  <a:lnTo>
                    <a:pt x="7615" y="8531"/>
                  </a:lnTo>
                  <a:close/>
                  <a:moveTo>
                    <a:pt x="7688" y="8358"/>
                  </a:moveTo>
                  <a:cubicBezTo>
                    <a:pt x="7422" y="8234"/>
                    <a:pt x="7422" y="8234"/>
                    <a:pt x="7422" y="8234"/>
                  </a:cubicBezTo>
                  <a:cubicBezTo>
                    <a:pt x="7472" y="8076"/>
                    <a:pt x="7472" y="8076"/>
                    <a:pt x="7472" y="8076"/>
                  </a:cubicBezTo>
                  <a:cubicBezTo>
                    <a:pt x="7759" y="8218"/>
                    <a:pt x="7759" y="8218"/>
                    <a:pt x="7759" y="8218"/>
                  </a:cubicBezTo>
                  <a:lnTo>
                    <a:pt x="7688" y="8358"/>
                  </a:lnTo>
                  <a:close/>
                  <a:moveTo>
                    <a:pt x="7215" y="7842"/>
                  </a:moveTo>
                  <a:cubicBezTo>
                    <a:pt x="7293" y="7842"/>
                    <a:pt x="7378" y="7850"/>
                    <a:pt x="7470" y="7869"/>
                  </a:cubicBezTo>
                  <a:cubicBezTo>
                    <a:pt x="7412" y="8047"/>
                    <a:pt x="7412" y="8047"/>
                    <a:pt x="7412" y="8047"/>
                  </a:cubicBezTo>
                  <a:cubicBezTo>
                    <a:pt x="7175" y="8002"/>
                    <a:pt x="7175" y="8002"/>
                    <a:pt x="7175" y="8002"/>
                  </a:cubicBezTo>
                  <a:cubicBezTo>
                    <a:pt x="7207" y="7906"/>
                    <a:pt x="7207" y="7906"/>
                    <a:pt x="7207" y="7906"/>
                  </a:cubicBezTo>
                  <a:cubicBezTo>
                    <a:pt x="7058" y="7855"/>
                    <a:pt x="7058" y="7855"/>
                    <a:pt x="7058" y="7855"/>
                  </a:cubicBezTo>
                  <a:cubicBezTo>
                    <a:pt x="7019" y="7972"/>
                    <a:pt x="7019" y="7972"/>
                    <a:pt x="7019" y="7972"/>
                  </a:cubicBezTo>
                  <a:cubicBezTo>
                    <a:pt x="7003" y="7969"/>
                    <a:pt x="7003" y="7969"/>
                    <a:pt x="7003" y="7969"/>
                  </a:cubicBezTo>
                  <a:cubicBezTo>
                    <a:pt x="7020" y="7918"/>
                    <a:pt x="7033" y="7879"/>
                    <a:pt x="7041" y="7855"/>
                  </a:cubicBezTo>
                  <a:cubicBezTo>
                    <a:pt x="7095" y="7847"/>
                    <a:pt x="7153" y="7842"/>
                    <a:pt x="7215" y="7842"/>
                  </a:cubicBezTo>
                  <a:close/>
                  <a:moveTo>
                    <a:pt x="7144" y="7643"/>
                  </a:moveTo>
                  <a:cubicBezTo>
                    <a:pt x="7144" y="7643"/>
                    <a:pt x="7144" y="7642"/>
                    <a:pt x="7144" y="7641"/>
                  </a:cubicBezTo>
                  <a:cubicBezTo>
                    <a:pt x="7144" y="7641"/>
                    <a:pt x="7144" y="7641"/>
                    <a:pt x="7145" y="7641"/>
                  </a:cubicBezTo>
                  <a:cubicBezTo>
                    <a:pt x="7148" y="7640"/>
                    <a:pt x="7153" y="7640"/>
                    <a:pt x="7159" y="7638"/>
                  </a:cubicBezTo>
                  <a:cubicBezTo>
                    <a:pt x="7171" y="7636"/>
                    <a:pt x="7189" y="7633"/>
                    <a:pt x="7211" y="7628"/>
                  </a:cubicBezTo>
                  <a:cubicBezTo>
                    <a:pt x="7255" y="7620"/>
                    <a:pt x="7317" y="7606"/>
                    <a:pt x="7392" y="7587"/>
                  </a:cubicBezTo>
                  <a:cubicBezTo>
                    <a:pt x="7427" y="7578"/>
                    <a:pt x="7466" y="7567"/>
                    <a:pt x="7506" y="7555"/>
                  </a:cubicBezTo>
                  <a:cubicBezTo>
                    <a:pt x="7598" y="7743"/>
                    <a:pt x="7598" y="7743"/>
                    <a:pt x="7598" y="7743"/>
                  </a:cubicBezTo>
                  <a:cubicBezTo>
                    <a:pt x="7587" y="7739"/>
                    <a:pt x="7575" y="7736"/>
                    <a:pt x="7563" y="7733"/>
                  </a:cubicBezTo>
                  <a:cubicBezTo>
                    <a:pt x="7438" y="7702"/>
                    <a:pt x="7321" y="7689"/>
                    <a:pt x="7215" y="7689"/>
                  </a:cubicBezTo>
                  <a:cubicBezTo>
                    <a:pt x="7193" y="7689"/>
                    <a:pt x="7170" y="7690"/>
                    <a:pt x="7149" y="7691"/>
                  </a:cubicBezTo>
                  <a:cubicBezTo>
                    <a:pt x="7146" y="7673"/>
                    <a:pt x="7144" y="7654"/>
                    <a:pt x="7144" y="7643"/>
                  </a:cubicBezTo>
                  <a:close/>
                  <a:moveTo>
                    <a:pt x="7014" y="7985"/>
                  </a:moveTo>
                  <a:cubicBezTo>
                    <a:pt x="6964" y="8131"/>
                    <a:pt x="6964" y="8131"/>
                    <a:pt x="6964" y="8131"/>
                  </a:cubicBezTo>
                  <a:cubicBezTo>
                    <a:pt x="6959" y="8130"/>
                    <a:pt x="6953" y="8129"/>
                    <a:pt x="6949" y="8128"/>
                  </a:cubicBezTo>
                  <a:cubicBezTo>
                    <a:pt x="6967" y="8073"/>
                    <a:pt x="6984" y="8024"/>
                    <a:pt x="6998" y="7982"/>
                  </a:cubicBezTo>
                  <a:lnTo>
                    <a:pt x="7014" y="7985"/>
                  </a:lnTo>
                  <a:close/>
                  <a:moveTo>
                    <a:pt x="6963" y="7880"/>
                  </a:moveTo>
                  <a:cubicBezTo>
                    <a:pt x="6947" y="7928"/>
                    <a:pt x="6924" y="7996"/>
                    <a:pt x="6896" y="8079"/>
                  </a:cubicBezTo>
                  <a:cubicBezTo>
                    <a:pt x="6840" y="8245"/>
                    <a:pt x="6764" y="8470"/>
                    <a:pt x="6683" y="8708"/>
                  </a:cubicBezTo>
                  <a:cubicBezTo>
                    <a:pt x="6521" y="9185"/>
                    <a:pt x="6341" y="9714"/>
                    <a:pt x="6270" y="9926"/>
                  </a:cubicBezTo>
                  <a:cubicBezTo>
                    <a:pt x="6263" y="9945"/>
                    <a:pt x="6258" y="9961"/>
                    <a:pt x="6253" y="9975"/>
                  </a:cubicBezTo>
                  <a:cubicBezTo>
                    <a:pt x="6241" y="9975"/>
                    <a:pt x="6161" y="9976"/>
                    <a:pt x="6036" y="9982"/>
                  </a:cubicBezTo>
                  <a:cubicBezTo>
                    <a:pt x="6679" y="8168"/>
                    <a:pt x="6679" y="8168"/>
                    <a:pt x="6679" y="8168"/>
                  </a:cubicBezTo>
                  <a:cubicBezTo>
                    <a:pt x="6699" y="8164"/>
                    <a:pt x="6721" y="8156"/>
                    <a:pt x="6742" y="8139"/>
                  </a:cubicBezTo>
                  <a:cubicBezTo>
                    <a:pt x="6757" y="8128"/>
                    <a:pt x="6757" y="8128"/>
                    <a:pt x="6757" y="8128"/>
                  </a:cubicBezTo>
                  <a:cubicBezTo>
                    <a:pt x="6764" y="8111"/>
                    <a:pt x="6764" y="8111"/>
                    <a:pt x="6764" y="8111"/>
                  </a:cubicBezTo>
                  <a:cubicBezTo>
                    <a:pt x="6764" y="8111"/>
                    <a:pt x="6773" y="8090"/>
                    <a:pt x="6788" y="8060"/>
                  </a:cubicBezTo>
                  <a:cubicBezTo>
                    <a:pt x="6802" y="8030"/>
                    <a:pt x="6821" y="7992"/>
                    <a:pt x="6840" y="7957"/>
                  </a:cubicBezTo>
                  <a:cubicBezTo>
                    <a:pt x="6840" y="7957"/>
                    <a:pt x="6840" y="7957"/>
                    <a:pt x="6840" y="7956"/>
                  </a:cubicBezTo>
                  <a:cubicBezTo>
                    <a:pt x="6841" y="7955"/>
                    <a:pt x="6843" y="7952"/>
                    <a:pt x="6846" y="7949"/>
                  </a:cubicBezTo>
                  <a:cubicBezTo>
                    <a:pt x="6851" y="7942"/>
                    <a:pt x="6861" y="7931"/>
                    <a:pt x="6874" y="7920"/>
                  </a:cubicBezTo>
                  <a:cubicBezTo>
                    <a:pt x="6894" y="7902"/>
                    <a:pt x="6925" y="7883"/>
                    <a:pt x="6967" y="7870"/>
                  </a:cubicBezTo>
                  <a:cubicBezTo>
                    <a:pt x="6965" y="7873"/>
                    <a:pt x="6964" y="7876"/>
                    <a:pt x="6963" y="7880"/>
                  </a:cubicBezTo>
                  <a:close/>
                  <a:moveTo>
                    <a:pt x="5929" y="8351"/>
                  </a:moveTo>
                  <a:cubicBezTo>
                    <a:pt x="5926" y="8361"/>
                    <a:pt x="5922" y="8376"/>
                    <a:pt x="5918" y="8395"/>
                  </a:cubicBezTo>
                  <a:cubicBezTo>
                    <a:pt x="5912" y="8419"/>
                    <a:pt x="5904" y="8449"/>
                    <a:pt x="5896" y="8482"/>
                  </a:cubicBezTo>
                  <a:cubicBezTo>
                    <a:pt x="5896" y="8473"/>
                    <a:pt x="5896" y="8473"/>
                    <a:pt x="5896" y="8473"/>
                  </a:cubicBezTo>
                  <a:cubicBezTo>
                    <a:pt x="5895" y="8473"/>
                    <a:pt x="5770" y="8453"/>
                    <a:pt x="5649" y="8433"/>
                  </a:cubicBezTo>
                  <a:cubicBezTo>
                    <a:pt x="5549" y="8417"/>
                    <a:pt x="5450" y="8400"/>
                    <a:pt x="5418" y="8395"/>
                  </a:cubicBezTo>
                  <a:cubicBezTo>
                    <a:pt x="5412" y="8362"/>
                    <a:pt x="5406" y="8333"/>
                    <a:pt x="5401" y="8309"/>
                  </a:cubicBezTo>
                  <a:cubicBezTo>
                    <a:pt x="5566" y="8322"/>
                    <a:pt x="5758" y="8339"/>
                    <a:pt x="5929" y="8349"/>
                  </a:cubicBezTo>
                  <a:cubicBezTo>
                    <a:pt x="5929" y="8350"/>
                    <a:pt x="5929" y="8350"/>
                    <a:pt x="5929" y="8351"/>
                  </a:cubicBezTo>
                  <a:close/>
                  <a:moveTo>
                    <a:pt x="5413" y="8644"/>
                  </a:moveTo>
                  <a:cubicBezTo>
                    <a:pt x="5419" y="8687"/>
                    <a:pt x="5423" y="8727"/>
                    <a:pt x="5423" y="8763"/>
                  </a:cubicBezTo>
                  <a:cubicBezTo>
                    <a:pt x="5423" y="8825"/>
                    <a:pt x="5411" y="8873"/>
                    <a:pt x="5380" y="8906"/>
                  </a:cubicBezTo>
                  <a:cubicBezTo>
                    <a:pt x="5369" y="8919"/>
                    <a:pt x="5354" y="8936"/>
                    <a:pt x="5335" y="8956"/>
                  </a:cubicBezTo>
                  <a:cubicBezTo>
                    <a:pt x="5334" y="8954"/>
                    <a:pt x="5334" y="8952"/>
                    <a:pt x="5332" y="8949"/>
                  </a:cubicBezTo>
                  <a:cubicBezTo>
                    <a:pt x="5328" y="8940"/>
                    <a:pt x="5323" y="8927"/>
                    <a:pt x="5317" y="8912"/>
                  </a:cubicBezTo>
                  <a:cubicBezTo>
                    <a:pt x="5304" y="8882"/>
                    <a:pt x="5288" y="8841"/>
                    <a:pt x="5272" y="8800"/>
                  </a:cubicBezTo>
                  <a:cubicBezTo>
                    <a:pt x="5241" y="8723"/>
                    <a:pt x="5212" y="8647"/>
                    <a:pt x="5209" y="8638"/>
                  </a:cubicBezTo>
                  <a:cubicBezTo>
                    <a:pt x="5218" y="8633"/>
                    <a:pt x="5227" y="8628"/>
                    <a:pt x="5236" y="8623"/>
                  </a:cubicBezTo>
                  <a:cubicBezTo>
                    <a:pt x="5302" y="8585"/>
                    <a:pt x="5368" y="8547"/>
                    <a:pt x="5396" y="8531"/>
                  </a:cubicBezTo>
                  <a:cubicBezTo>
                    <a:pt x="5403" y="8574"/>
                    <a:pt x="5410" y="8614"/>
                    <a:pt x="5413" y="8644"/>
                  </a:cubicBezTo>
                  <a:close/>
                  <a:moveTo>
                    <a:pt x="5237" y="8606"/>
                  </a:moveTo>
                  <a:cubicBezTo>
                    <a:pt x="5166" y="8647"/>
                    <a:pt x="5092" y="8688"/>
                    <a:pt x="5060" y="8704"/>
                  </a:cubicBezTo>
                  <a:cubicBezTo>
                    <a:pt x="5086" y="8289"/>
                    <a:pt x="5086" y="8289"/>
                    <a:pt x="5086" y="8289"/>
                  </a:cubicBezTo>
                  <a:cubicBezTo>
                    <a:pt x="5108" y="8289"/>
                    <a:pt x="5129" y="8290"/>
                    <a:pt x="5149" y="8291"/>
                  </a:cubicBezTo>
                  <a:cubicBezTo>
                    <a:pt x="5205" y="8294"/>
                    <a:pt x="5276" y="8299"/>
                    <a:pt x="5355" y="8305"/>
                  </a:cubicBezTo>
                  <a:cubicBezTo>
                    <a:pt x="5364" y="8355"/>
                    <a:pt x="5380" y="8439"/>
                    <a:pt x="5393" y="8516"/>
                  </a:cubicBezTo>
                  <a:cubicBezTo>
                    <a:pt x="5370" y="8530"/>
                    <a:pt x="5305" y="8567"/>
                    <a:pt x="5237" y="8606"/>
                  </a:cubicBezTo>
                  <a:close/>
                  <a:moveTo>
                    <a:pt x="5046" y="8711"/>
                  </a:moveTo>
                  <a:cubicBezTo>
                    <a:pt x="5046" y="8711"/>
                    <a:pt x="5046" y="8711"/>
                    <a:pt x="5046" y="8711"/>
                  </a:cubicBezTo>
                  <a:cubicBezTo>
                    <a:pt x="5046" y="8711"/>
                    <a:pt x="5046" y="8711"/>
                    <a:pt x="5046" y="8711"/>
                  </a:cubicBezTo>
                  <a:cubicBezTo>
                    <a:pt x="5046" y="8711"/>
                    <a:pt x="5046" y="8711"/>
                    <a:pt x="5046" y="8711"/>
                  </a:cubicBezTo>
                  <a:cubicBezTo>
                    <a:pt x="5041" y="8711"/>
                    <a:pt x="4941" y="8692"/>
                    <a:pt x="4837" y="8672"/>
                  </a:cubicBezTo>
                  <a:cubicBezTo>
                    <a:pt x="4768" y="8285"/>
                    <a:pt x="4768" y="8285"/>
                    <a:pt x="4768" y="8285"/>
                  </a:cubicBezTo>
                  <a:cubicBezTo>
                    <a:pt x="4798" y="8285"/>
                    <a:pt x="4827" y="8284"/>
                    <a:pt x="4855" y="8284"/>
                  </a:cubicBezTo>
                  <a:cubicBezTo>
                    <a:pt x="4858" y="8284"/>
                    <a:pt x="4862" y="8284"/>
                    <a:pt x="4865" y="8284"/>
                  </a:cubicBezTo>
                  <a:cubicBezTo>
                    <a:pt x="4940" y="8284"/>
                    <a:pt x="5010" y="8286"/>
                    <a:pt x="5072" y="8288"/>
                  </a:cubicBezTo>
                  <a:lnTo>
                    <a:pt x="5046" y="8711"/>
                  </a:lnTo>
                  <a:close/>
                  <a:moveTo>
                    <a:pt x="4668" y="8654"/>
                  </a:moveTo>
                  <a:cubicBezTo>
                    <a:pt x="4769" y="9198"/>
                    <a:pt x="4769" y="9198"/>
                    <a:pt x="4769" y="9198"/>
                  </a:cubicBezTo>
                  <a:cubicBezTo>
                    <a:pt x="4678" y="9207"/>
                    <a:pt x="4578" y="9216"/>
                    <a:pt x="4486" y="9222"/>
                  </a:cubicBezTo>
                  <a:cubicBezTo>
                    <a:pt x="4496" y="8692"/>
                    <a:pt x="4496" y="8692"/>
                    <a:pt x="4496" y="8692"/>
                  </a:cubicBezTo>
                  <a:cubicBezTo>
                    <a:pt x="4577" y="8636"/>
                    <a:pt x="4577" y="8636"/>
                    <a:pt x="4577" y="8636"/>
                  </a:cubicBezTo>
                  <a:cubicBezTo>
                    <a:pt x="4587" y="8638"/>
                    <a:pt x="4622" y="8645"/>
                    <a:pt x="4668" y="8654"/>
                  </a:cubicBezTo>
                  <a:close/>
                  <a:moveTo>
                    <a:pt x="4564" y="10205"/>
                  </a:moveTo>
                  <a:cubicBezTo>
                    <a:pt x="4400" y="10248"/>
                    <a:pt x="4228" y="10297"/>
                    <a:pt x="4062" y="10346"/>
                  </a:cubicBezTo>
                  <a:cubicBezTo>
                    <a:pt x="4063" y="10344"/>
                    <a:pt x="4063" y="10344"/>
                    <a:pt x="4063" y="10344"/>
                  </a:cubicBezTo>
                  <a:cubicBezTo>
                    <a:pt x="3819" y="10186"/>
                    <a:pt x="3819" y="10186"/>
                    <a:pt x="3819" y="10186"/>
                  </a:cubicBezTo>
                  <a:cubicBezTo>
                    <a:pt x="3720" y="9905"/>
                    <a:pt x="3720" y="9905"/>
                    <a:pt x="3720" y="9905"/>
                  </a:cubicBezTo>
                  <a:cubicBezTo>
                    <a:pt x="3760" y="9879"/>
                    <a:pt x="3874" y="9805"/>
                    <a:pt x="3989" y="9730"/>
                  </a:cubicBezTo>
                  <a:cubicBezTo>
                    <a:pt x="4105" y="9655"/>
                    <a:pt x="4223" y="9579"/>
                    <a:pt x="4264" y="9552"/>
                  </a:cubicBezTo>
                  <a:lnTo>
                    <a:pt x="4564" y="10205"/>
                  </a:lnTo>
                  <a:close/>
                  <a:moveTo>
                    <a:pt x="2337" y="10649"/>
                  </a:moveTo>
                  <a:cubicBezTo>
                    <a:pt x="2369" y="10652"/>
                    <a:pt x="2488" y="10661"/>
                    <a:pt x="2531" y="10684"/>
                  </a:cubicBezTo>
                  <a:cubicBezTo>
                    <a:pt x="2559" y="10699"/>
                    <a:pt x="2566" y="10727"/>
                    <a:pt x="2568" y="10742"/>
                  </a:cubicBezTo>
                  <a:cubicBezTo>
                    <a:pt x="2534" y="10738"/>
                    <a:pt x="2498" y="10735"/>
                    <a:pt x="2460" y="10733"/>
                  </a:cubicBezTo>
                  <a:cubicBezTo>
                    <a:pt x="2373" y="10728"/>
                    <a:pt x="2298" y="10726"/>
                    <a:pt x="2232" y="10725"/>
                  </a:cubicBezTo>
                  <a:cubicBezTo>
                    <a:pt x="2252" y="10625"/>
                    <a:pt x="2252" y="10625"/>
                    <a:pt x="2252" y="10625"/>
                  </a:cubicBezTo>
                  <a:cubicBezTo>
                    <a:pt x="2285" y="10645"/>
                    <a:pt x="2321" y="10648"/>
                    <a:pt x="2337" y="10649"/>
                  </a:cubicBezTo>
                  <a:close/>
                  <a:moveTo>
                    <a:pt x="2456" y="10802"/>
                  </a:moveTo>
                  <a:cubicBezTo>
                    <a:pt x="2617" y="10811"/>
                    <a:pt x="2747" y="10835"/>
                    <a:pt x="2814" y="10849"/>
                  </a:cubicBezTo>
                  <a:cubicBezTo>
                    <a:pt x="2771" y="10889"/>
                    <a:pt x="2713" y="10948"/>
                    <a:pt x="2660" y="11014"/>
                  </a:cubicBezTo>
                  <a:cubicBezTo>
                    <a:pt x="2655" y="11020"/>
                    <a:pt x="2651" y="11026"/>
                    <a:pt x="2646" y="11032"/>
                  </a:cubicBezTo>
                  <a:cubicBezTo>
                    <a:pt x="2643" y="11032"/>
                    <a:pt x="2640" y="11032"/>
                    <a:pt x="2637" y="11032"/>
                  </a:cubicBezTo>
                  <a:cubicBezTo>
                    <a:pt x="2619" y="11032"/>
                    <a:pt x="2596" y="11032"/>
                    <a:pt x="2572" y="11032"/>
                  </a:cubicBezTo>
                  <a:cubicBezTo>
                    <a:pt x="2524" y="11032"/>
                    <a:pt x="2477" y="11032"/>
                    <a:pt x="2477" y="11032"/>
                  </a:cubicBezTo>
                  <a:cubicBezTo>
                    <a:pt x="2473" y="11032"/>
                    <a:pt x="2473" y="11032"/>
                    <a:pt x="2473" y="11032"/>
                  </a:cubicBezTo>
                  <a:cubicBezTo>
                    <a:pt x="2473" y="11043"/>
                    <a:pt x="2473" y="11043"/>
                    <a:pt x="2473" y="11043"/>
                  </a:cubicBezTo>
                  <a:cubicBezTo>
                    <a:pt x="2086" y="11041"/>
                    <a:pt x="2086" y="11041"/>
                    <a:pt x="2086" y="11041"/>
                  </a:cubicBezTo>
                  <a:cubicBezTo>
                    <a:pt x="1996" y="10808"/>
                    <a:pt x="1996" y="10808"/>
                    <a:pt x="1996" y="10808"/>
                  </a:cubicBezTo>
                  <a:cubicBezTo>
                    <a:pt x="2050" y="10799"/>
                    <a:pt x="2119" y="10794"/>
                    <a:pt x="2208" y="10794"/>
                  </a:cubicBezTo>
                  <a:cubicBezTo>
                    <a:pt x="2278" y="10794"/>
                    <a:pt x="2360" y="10797"/>
                    <a:pt x="2456" y="10802"/>
                  </a:cubicBezTo>
                  <a:close/>
                  <a:moveTo>
                    <a:pt x="1506" y="10990"/>
                  </a:moveTo>
                  <a:cubicBezTo>
                    <a:pt x="1878" y="11400"/>
                    <a:pt x="1878" y="11400"/>
                    <a:pt x="1878" y="11400"/>
                  </a:cubicBezTo>
                  <a:cubicBezTo>
                    <a:pt x="1830" y="11439"/>
                    <a:pt x="1830" y="11439"/>
                    <a:pt x="1830" y="11439"/>
                  </a:cubicBezTo>
                  <a:cubicBezTo>
                    <a:pt x="1774" y="11381"/>
                    <a:pt x="1774" y="11381"/>
                    <a:pt x="1774" y="11381"/>
                  </a:cubicBezTo>
                  <a:cubicBezTo>
                    <a:pt x="1773" y="11382"/>
                    <a:pt x="1773" y="11382"/>
                    <a:pt x="1773" y="11382"/>
                  </a:cubicBezTo>
                  <a:cubicBezTo>
                    <a:pt x="1448" y="11018"/>
                    <a:pt x="1448" y="11018"/>
                    <a:pt x="1448" y="11018"/>
                  </a:cubicBezTo>
                  <a:cubicBezTo>
                    <a:pt x="1467" y="11009"/>
                    <a:pt x="1486" y="10999"/>
                    <a:pt x="1506" y="10990"/>
                  </a:cubicBezTo>
                  <a:close/>
                  <a:moveTo>
                    <a:pt x="1752" y="11395"/>
                  </a:moveTo>
                  <a:cubicBezTo>
                    <a:pt x="1743" y="11401"/>
                    <a:pt x="1731" y="11409"/>
                    <a:pt x="1716" y="11418"/>
                  </a:cubicBezTo>
                  <a:cubicBezTo>
                    <a:pt x="1392" y="11046"/>
                    <a:pt x="1392" y="11046"/>
                    <a:pt x="1392" y="11046"/>
                  </a:cubicBezTo>
                  <a:cubicBezTo>
                    <a:pt x="1402" y="11041"/>
                    <a:pt x="1413" y="11036"/>
                    <a:pt x="1425" y="11029"/>
                  </a:cubicBezTo>
                  <a:lnTo>
                    <a:pt x="1752" y="11395"/>
                  </a:lnTo>
                  <a:close/>
                  <a:moveTo>
                    <a:pt x="1770" y="11413"/>
                  </a:moveTo>
                  <a:cubicBezTo>
                    <a:pt x="1811" y="11455"/>
                    <a:pt x="1811" y="11455"/>
                    <a:pt x="1811" y="11455"/>
                  </a:cubicBezTo>
                  <a:cubicBezTo>
                    <a:pt x="1774" y="11485"/>
                    <a:pt x="1774" y="11485"/>
                    <a:pt x="1774" y="11485"/>
                  </a:cubicBezTo>
                  <a:cubicBezTo>
                    <a:pt x="1732" y="11437"/>
                    <a:pt x="1732" y="11437"/>
                    <a:pt x="1732" y="11437"/>
                  </a:cubicBezTo>
                  <a:cubicBezTo>
                    <a:pt x="1749" y="11426"/>
                    <a:pt x="1762" y="11418"/>
                    <a:pt x="1770" y="11413"/>
                  </a:cubicBezTo>
                  <a:close/>
                  <a:moveTo>
                    <a:pt x="1786" y="11603"/>
                  </a:moveTo>
                  <a:cubicBezTo>
                    <a:pt x="1790" y="11607"/>
                    <a:pt x="1877" y="11693"/>
                    <a:pt x="1990" y="11742"/>
                  </a:cubicBezTo>
                  <a:cubicBezTo>
                    <a:pt x="2053" y="11769"/>
                    <a:pt x="2118" y="11779"/>
                    <a:pt x="2166" y="11783"/>
                  </a:cubicBezTo>
                  <a:cubicBezTo>
                    <a:pt x="2105" y="12060"/>
                    <a:pt x="2105" y="12060"/>
                    <a:pt x="2105" y="12060"/>
                  </a:cubicBezTo>
                  <a:cubicBezTo>
                    <a:pt x="2076" y="12104"/>
                    <a:pt x="2043" y="12151"/>
                    <a:pt x="2007" y="12198"/>
                  </a:cubicBezTo>
                  <a:cubicBezTo>
                    <a:pt x="1986" y="12227"/>
                    <a:pt x="1963" y="12260"/>
                    <a:pt x="1943" y="12285"/>
                  </a:cubicBezTo>
                  <a:cubicBezTo>
                    <a:pt x="1943" y="12285"/>
                    <a:pt x="1942" y="12285"/>
                    <a:pt x="1942" y="12285"/>
                  </a:cubicBezTo>
                  <a:cubicBezTo>
                    <a:pt x="1916" y="12279"/>
                    <a:pt x="1885" y="12274"/>
                    <a:pt x="1846" y="12265"/>
                  </a:cubicBezTo>
                  <a:cubicBezTo>
                    <a:pt x="1742" y="12240"/>
                    <a:pt x="1601" y="12197"/>
                    <a:pt x="1526" y="12146"/>
                  </a:cubicBezTo>
                  <a:cubicBezTo>
                    <a:pt x="1419" y="12074"/>
                    <a:pt x="1410" y="12017"/>
                    <a:pt x="1399" y="11982"/>
                  </a:cubicBezTo>
                  <a:cubicBezTo>
                    <a:pt x="1389" y="11948"/>
                    <a:pt x="1362" y="11843"/>
                    <a:pt x="1345" y="11779"/>
                  </a:cubicBezTo>
                  <a:cubicBezTo>
                    <a:pt x="1335" y="11746"/>
                    <a:pt x="1317" y="11707"/>
                    <a:pt x="1294" y="11669"/>
                  </a:cubicBezTo>
                  <a:lnTo>
                    <a:pt x="1786" y="11603"/>
                  </a:lnTo>
                  <a:close/>
                  <a:moveTo>
                    <a:pt x="1501" y="12184"/>
                  </a:moveTo>
                  <a:cubicBezTo>
                    <a:pt x="1518" y="12195"/>
                    <a:pt x="1538" y="12206"/>
                    <a:pt x="1558" y="12216"/>
                  </a:cubicBezTo>
                  <a:cubicBezTo>
                    <a:pt x="1541" y="12493"/>
                    <a:pt x="1541" y="12493"/>
                    <a:pt x="1541" y="12493"/>
                  </a:cubicBezTo>
                  <a:cubicBezTo>
                    <a:pt x="1258" y="12579"/>
                    <a:pt x="1258" y="12579"/>
                    <a:pt x="1258" y="12579"/>
                  </a:cubicBezTo>
                  <a:cubicBezTo>
                    <a:pt x="1164" y="12446"/>
                    <a:pt x="1164" y="12446"/>
                    <a:pt x="1164" y="12446"/>
                  </a:cubicBezTo>
                  <a:cubicBezTo>
                    <a:pt x="1456" y="12151"/>
                    <a:pt x="1456" y="12151"/>
                    <a:pt x="1456" y="12151"/>
                  </a:cubicBezTo>
                  <a:cubicBezTo>
                    <a:pt x="1470" y="12162"/>
                    <a:pt x="1484" y="12173"/>
                    <a:pt x="1501" y="12184"/>
                  </a:cubicBezTo>
                  <a:close/>
                  <a:moveTo>
                    <a:pt x="1557" y="12505"/>
                  </a:moveTo>
                  <a:cubicBezTo>
                    <a:pt x="1574" y="12224"/>
                    <a:pt x="1574" y="12224"/>
                    <a:pt x="1574" y="12224"/>
                  </a:cubicBezTo>
                  <a:cubicBezTo>
                    <a:pt x="1655" y="12261"/>
                    <a:pt x="1756" y="12289"/>
                    <a:pt x="1835" y="12309"/>
                  </a:cubicBezTo>
                  <a:cubicBezTo>
                    <a:pt x="1865" y="12316"/>
                    <a:pt x="1890" y="12320"/>
                    <a:pt x="1911" y="12324"/>
                  </a:cubicBezTo>
                  <a:cubicBezTo>
                    <a:pt x="1874" y="12370"/>
                    <a:pt x="1833" y="12422"/>
                    <a:pt x="1789" y="12474"/>
                  </a:cubicBezTo>
                  <a:cubicBezTo>
                    <a:pt x="1679" y="12607"/>
                    <a:pt x="1561" y="12746"/>
                    <a:pt x="1520" y="12794"/>
                  </a:cubicBezTo>
                  <a:cubicBezTo>
                    <a:pt x="1351" y="12711"/>
                    <a:pt x="1351" y="12711"/>
                    <a:pt x="1351" y="12711"/>
                  </a:cubicBezTo>
                  <a:cubicBezTo>
                    <a:pt x="1268" y="12593"/>
                    <a:pt x="1268" y="12593"/>
                    <a:pt x="1268" y="12593"/>
                  </a:cubicBezTo>
                  <a:lnTo>
                    <a:pt x="1557" y="12505"/>
                  </a:lnTo>
                  <a:close/>
                  <a:moveTo>
                    <a:pt x="1842" y="12518"/>
                  </a:moveTo>
                  <a:cubicBezTo>
                    <a:pt x="1898" y="12451"/>
                    <a:pt x="1950" y="12384"/>
                    <a:pt x="1992" y="12334"/>
                  </a:cubicBezTo>
                  <a:cubicBezTo>
                    <a:pt x="2036" y="12338"/>
                    <a:pt x="2098" y="12344"/>
                    <a:pt x="2156" y="12349"/>
                  </a:cubicBezTo>
                  <a:cubicBezTo>
                    <a:pt x="2069" y="12707"/>
                    <a:pt x="2069" y="12707"/>
                    <a:pt x="2069" y="12707"/>
                  </a:cubicBezTo>
                  <a:cubicBezTo>
                    <a:pt x="1941" y="12994"/>
                    <a:pt x="1941" y="12994"/>
                    <a:pt x="1941" y="12994"/>
                  </a:cubicBezTo>
                  <a:cubicBezTo>
                    <a:pt x="2041" y="13445"/>
                    <a:pt x="2041" y="13445"/>
                    <a:pt x="2041" y="13445"/>
                  </a:cubicBezTo>
                  <a:cubicBezTo>
                    <a:pt x="1910" y="13397"/>
                    <a:pt x="1910" y="13397"/>
                    <a:pt x="1910" y="13397"/>
                  </a:cubicBezTo>
                  <a:cubicBezTo>
                    <a:pt x="1910" y="13397"/>
                    <a:pt x="1910" y="13397"/>
                    <a:pt x="1910" y="13397"/>
                  </a:cubicBezTo>
                  <a:cubicBezTo>
                    <a:pt x="1673" y="13312"/>
                    <a:pt x="1673" y="13312"/>
                    <a:pt x="1673" y="13312"/>
                  </a:cubicBezTo>
                  <a:cubicBezTo>
                    <a:pt x="1607" y="12837"/>
                    <a:pt x="1607" y="12837"/>
                    <a:pt x="1607" y="12837"/>
                  </a:cubicBezTo>
                  <a:cubicBezTo>
                    <a:pt x="1583" y="12825"/>
                    <a:pt x="1583" y="12825"/>
                    <a:pt x="1583" y="12825"/>
                  </a:cubicBezTo>
                  <a:cubicBezTo>
                    <a:pt x="1632" y="12768"/>
                    <a:pt x="1740" y="12641"/>
                    <a:pt x="1842" y="12518"/>
                  </a:cubicBezTo>
                  <a:close/>
                  <a:moveTo>
                    <a:pt x="1898" y="13463"/>
                  </a:moveTo>
                  <a:cubicBezTo>
                    <a:pt x="1898" y="13463"/>
                    <a:pt x="1898" y="13463"/>
                    <a:pt x="1898" y="13463"/>
                  </a:cubicBezTo>
                  <a:cubicBezTo>
                    <a:pt x="1898" y="13463"/>
                    <a:pt x="1898" y="13463"/>
                    <a:pt x="1898" y="13463"/>
                  </a:cubicBezTo>
                  <a:close/>
                  <a:moveTo>
                    <a:pt x="1898" y="13463"/>
                  </a:moveTo>
                  <a:cubicBezTo>
                    <a:pt x="1898" y="13463"/>
                    <a:pt x="1898" y="13463"/>
                    <a:pt x="1898" y="13463"/>
                  </a:cubicBezTo>
                  <a:cubicBezTo>
                    <a:pt x="1898" y="13463"/>
                    <a:pt x="1898" y="13463"/>
                    <a:pt x="1898" y="13463"/>
                  </a:cubicBezTo>
                  <a:cubicBezTo>
                    <a:pt x="2176" y="13564"/>
                    <a:pt x="2176" y="13564"/>
                    <a:pt x="2176" y="13564"/>
                  </a:cubicBezTo>
                  <a:cubicBezTo>
                    <a:pt x="2143" y="13595"/>
                    <a:pt x="2027" y="13705"/>
                    <a:pt x="1921" y="13807"/>
                  </a:cubicBezTo>
                  <a:cubicBezTo>
                    <a:pt x="1786" y="13723"/>
                    <a:pt x="1786" y="13723"/>
                    <a:pt x="1786" y="13723"/>
                  </a:cubicBezTo>
                  <a:cubicBezTo>
                    <a:pt x="1705" y="13863"/>
                    <a:pt x="1705" y="13863"/>
                    <a:pt x="1705" y="13863"/>
                  </a:cubicBezTo>
                  <a:cubicBezTo>
                    <a:pt x="1802" y="13922"/>
                    <a:pt x="1802" y="13922"/>
                    <a:pt x="1802" y="13922"/>
                  </a:cubicBezTo>
                  <a:cubicBezTo>
                    <a:pt x="1768" y="13955"/>
                    <a:pt x="1743" y="13980"/>
                    <a:pt x="1735" y="13990"/>
                  </a:cubicBezTo>
                  <a:cubicBezTo>
                    <a:pt x="1609" y="13913"/>
                    <a:pt x="1609" y="13913"/>
                    <a:pt x="1609" y="13913"/>
                  </a:cubicBezTo>
                  <a:lnTo>
                    <a:pt x="1898" y="13463"/>
                  </a:lnTo>
                  <a:close/>
                  <a:moveTo>
                    <a:pt x="2045" y="14071"/>
                  </a:moveTo>
                  <a:cubicBezTo>
                    <a:pt x="2233" y="14187"/>
                    <a:pt x="2233" y="14187"/>
                    <a:pt x="2233" y="14187"/>
                  </a:cubicBezTo>
                  <a:cubicBezTo>
                    <a:pt x="2199" y="14220"/>
                    <a:pt x="2176" y="14244"/>
                    <a:pt x="2170" y="14252"/>
                  </a:cubicBezTo>
                  <a:cubicBezTo>
                    <a:pt x="2169" y="14253"/>
                    <a:pt x="2169" y="14253"/>
                    <a:pt x="2169" y="14253"/>
                  </a:cubicBezTo>
                  <a:cubicBezTo>
                    <a:pt x="1978" y="14137"/>
                    <a:pt x="1978" y="14137"/>
                    <a:pt x="1978" y="14137"/>
                  </a:cubicBezTo>
                  <a:lnTo>
                    <a:pt x="2045" y="14071"/>
                  </a:lnTo>
                  <a:close/>
                  <a:moveTo>
                    <a:pt x="2185" y="14256"/>
                  </a:moveTo>
                  <a:cubicBezTo>
                    <a:pt x="2189" y="14251"/>
                    <a:pt x="2194" y="14245"/>
                    <a:pt x="2202" y="14238"/>
                  </a:cubicBezTo>
                  <a:cubicBezTo>
                    <a:pt x="2213" y="14227"/>
                    <a:pt x="2228" y="14212"/>
                    <a:pt x="2245" y="14194"/>
                  </a:cubicBezTo>
                  <a:cubicBezTo>
                    <a:pt x="2476" y="14336"/>
                    <a:pt x="2476" y="14336"/>
                    <a:pt x="2476" y="14336"/>
                  </a:cubicBezTo>
                  <a:cubicBezTo>
                    <a:pt x="2410" y="14400"/>
                    <a:pt x="2410" y="14400"/>
                    <a:pt x="2410" y="14400"/>
                  </a:cubicBezTo>
                  <a:cubicBezTo>
                    <a:pt x="2181" y="14260"/>
                    <a:pt x="2181" y="14260"/>
                    <a:pt x="2181" y="14260"/>
                  </a:cubicBezTo>
                  <a:cubicBezTo>
                    <a:pt x="2182" y="14259"/>
                    <a:pt x="2183" y="14258"/>
                    <a:pt x="2185" y="14256"/>
                  </a:cubicBezTo>
                  <a:close/>
                  <a:moveTo>
                    <a:pt x="3085" y="13954"/>
                  </a:moveTo>
                  <a:cubicBezTo>
                    <a:pt x="3071" y="14057"/>
                    <a:pt x="3071" y="14057"/>
                    <a:pt x="3071" y="14057"/>
                  </a:cubicBezTo>
                  <a:cubicBezTo>
                    <a:pt x="2977" y="14044"/>
                    <a:pt x="2977" y="14044"/>
                    <a:pt x="2977" y="14044"/>
                  </a:cubicBezTo>
                  <a:cubicBezTo>
                    <a:pt x="2985" y="13984"/>
                    <a:pt x="2985" y="13984"/>
                    <a:pt x="2985" y="13984"/>
                  </a:cubicBezTo>
                  <a:cubicBezTo>
                    <a:pt x="3032" y="13991"/>
                    <a:pt x="3032" y="13991"/>
                    <a:pt x="3032" y="13991"/>
                  </a:cubicBezTo>
                  <a:cubicBezTo>
                    <a:pt x="3038" y="13948"/>
                    <a:pt x="3038" y="13948"/>
                    <a:pt x="3038" y="13948"/>
                  </a:cubicBezTo>
                  <a:lnTo>
                    <a:pt x="3085" y="13954"/>
                  </a:lnTo>
                  <a:close/>
                  <a:moveTo>
                    <a:pt x="3083" y="14071"/>
                  </a:moveTo>
                  <a:cubicBezTo>
                    <a:pt x="3171" y="14083"/>
                    <a:pt x="3171" y="14083"/>
                    <a:pt x="3171" y="14083"/>
                  </a:cubicBezTo>
                  <a:cubicBezTo>
                    <a:pt x="3183" y="13998"/>
                    <a:pt x="3183" y="13998"/>
                    <a:pt x="3183" y="13998"/>
                  </a:cubicBezTo>
                  <a:cubicBezTo>
                    <a:pt x="3136" y="13992"/>
                    <a:pt x="3136" y="13992"/>
                    <a:pt x="3136" y="13992"/>
                  </a:cubicBezTo>
                  <a:cubicBezTo>
                    <a:pt x="3142" y="13949"/>
                    <a:pt x="3142" y="13949"/>
                    <a:pt x="3142" y="13949"/>
                  </a:cubicBezTo>
                  <a:cubicBezTo>
                    <a:pt x="3100" y="13943"/>
                    <a:pt x="3100" y="13943"/>
                    <a:pt x="3100" y="13943"/>
                  </a:cubicBezTo>
                  <a:cubicBezTo>
                    <a:pt x="3106" y="13901"/>
                    <a:pt x="3106" y="13901"/>
                    <a:pt x="3106" y="13901"/>
                  </a:cubicBezTo>
                  <a:cubicBezTo>
                    <a:pt x="3206" y="13937"/>
                    <a:pt x="3206" y="13937"/>
                    <a:pt x="3206" y="13937"/>
                  </a:cubicBezTo>
                  <a:cubicBezTo>
                    <a:pt x="3202" y="13975"/>
                    <a:pt x="3179" y="14148"/>
                    <a:pt x="3157" y="14316"/>
                  </a:cubicBezTo>
                  <a:cubicBezTo>
                    <a:pt x="3135" y="14480"/>
                    <a:pt x="3113" y="14640"/>
                    <a:pt x="3108" y="14672"/>
                  </a:cubicBezTo>
                  <a:cubicBezTo>
                    <a:pt x="3072" y="14669"/>
                    <a:pt x="3036" y="14666"/>
                    <a:pt x="3003" y="14664"/>
                  </a:cubicBezTo>
                  <a:lnTo>
                    <a:pt x="3083" y="14071"/>
                  </a:lnTo>
                  <a:close/>
                  <a:moveTo>
                    <a:pt x="3289" y="14316"/>
                  </a:moveTo>
                  <a:cubicBezTo>
                    <a:pt x="3297" y="14261"/>
                    <a:pt x="3305" y="14207"/>
                    <a:pt x="3312" y="14159"/>
                  </a:cubicBezTo>
                  <a:cubicBezTo>
                    <a:pt x="3413" y="14173"/>
                    <a:pt x="3413" y="14173"/>
                    <a:pt x="3413" y="14173"/>
                  </a:cubicBezTo>
                  <a:cubicBezTo>
                    <a:pt x="3425" y="14087"/>
                    <a:pt x="3425" y="14087"/>
                    <a:pt x="3425" y="14087"/>
                  </a:cubicBezTo>
                  <a:cubicBezTo>
                    <a:pt x="3378" y="14081"/>
                    <a:pt x="3378" y="14081"/>
                    <a:pt x="3378" y="14081"/>
                  </a:cubicBezTo>
                  <a:cubicBezTo>
                    <a:pt x="3384" y="14038"/>
                    <a:pt x="3384" y="14038"/>
                    <a:pt x="3384" y="14038"/>
                  </a:cubicBezTo>
                  <a:cubicBezTo>
                    <a:pt x="3331" y="14031"/>
                    <a:pt x="3331" y="14031"/>
                    <a:pt x="3331" y="14031"/>
                  </a:cubicBezTo>
                  <a:cubicBezTo>
                    <a:pt x="3334" y="14010"/>
                    <a:pt x="3336" y="13994"/>
                    <a:pt x="3337" y="13985"/>
                  </a:cubicBezTo>
                  <a:cubicBezTo>
                    <a:pt x="3452" y="14027"/>
                    <a:pt x="3452" y="14027"/>
                    <a:pt x="3452" y="14027"/>
                  </a:cubicBezTo>
                  <a:cubicBezTo>
                    <a:pt x="3366" y="14692"/>
                    <a:pt x="3366" y="14692"/>
                    <a:pt x="3366" y="14692"/>
                  </a:cubicBezTo>
                  <a:cubicBezTo>
                    <a:pt x="3349" y="14691"/>
                    <a:pt x="3301" y="14687"/>
                    <a:pt x="3240" y="14683"/>
                  </a:cubicBezTo>
                  <a:cubicBezTo>
                    <a:pt x="3241" y="14661"/>
                    <a:pt x="3265" y="14485"/>
                    <a:pt x="3289" y="14316"/>
                  </a:cubicBezTo>
                  <a:close/>
                  <a:moveTo>
                    <a:pt x="3465" y="14032"/>
                  </a:moveTo>
                  <a:cubicBezTo>
                    <a:pt x="4259" y="14320"/>
                    <a:pt x="4259" y="14320"/>
                    <a:pt x="4259" y="14320"/>
                  </a:cubicBezTo>
                  <a:cubicBezTo>
                    <a:pt x="4110" y="14514"/>
                    <a:pt x="4110" y="14514"/>
                    <a:pt x="4110" y="14514"/>
                  </a:cubicBezTo>
                  <a:cubicBezTo>
                    <a:pt x="3840" y="14449"/>
                    <a:pt x="3840" y="14449"/>
                    <a:pt x="3840" y="14449"/>
                  </a:cubicBezTo>
                  <a:cubicBezTo>
                    <a:pt x="3840" y="14449"/>
                    <a:pt x="3840" y="14449"/>
                    <a:pt x="3840" y="14449"/>
                  </a:cubicBezTo>
                  <a:cubicBezTo>
                    <a:pt x="3837" y="14446"/>
                    <a:pt x="3834" y="14447"/>
                    <a:pt x="3834" y="14447"/>
                  </a:cubicBezTo>
                  <a:cubicBezTo>
                    <a:pt x="3833" y="14447"/>
                    <a:pt x="3832" y="14447"/>
                    <a:pt x="3831" y="14447"/>
                  </a:cubicBezTo>
                  <a:cubicBezTo>
                    <a:pt x="3426" y="14351"/>
                    <a:pt x="3426" y="14351"/>
                    <a:pt x="3426" y="14351"/>
                  </a:cubicBezTo>
                  <a:cubicBezTo>
                    <a:pt x="3422" y="14364"/>
                    <a:pt x="3422" y="14364"/>
                    <a:pt x="3422" y="14364"/>
                  </a:cubicBezTo>
                  <a:cubicBezTo>
                    <a:pt x="3826" y="14461"/>
                    <a:pt x="3826" y="14461"/>
                    <a:pt x="3826" y="14461"/>
                  </a:cubicBezTo>
                  <a:cubicBezTo>
                    <a:pt x="3826" y="14463"/>
                    <a:pt x="3825" y="14464"/>
                    <a:pt x="3825" y="14467"/>
                  </a:cubicBezTo>
                  <a:cubicBezTo>
                    <a:pt x="3824" y="14476"/>
                    <a:pt x="3822" y="14489"/>
                    <a:pt x="3820" y="14505"/>
                  </a:cubicBezTo>
                  <a:cubicBezTo>
                    <a:pt x="3815" y="14536"/>
                    <a:pt x="3810" y="14577"/>
                    <a:pt x="3804" y="14619"/>
                  </a:cubicBezTo>
                  <a:cubicBezTo>
                    <a:pt x="3794" y="14691"/>
                    <a:pt x="3785" y="14764"/>
                    <a:pt x="3782" y="14781"/>
                  </a:cubicBezTo>
                  <a:cubicBezTo>
                    <a:pt x="3761" y="14781"/>
                    <a:pt x="3738" y="14780"/>
                    <a:pt x="3713" y="14780"/>
                  </a:cubicBezTo>
                  <a:cubicBezTo>
                    <a:pt x="3603" y="14780"/>
                    <a:pt x="3475" y="14785"/>
                    <a:pt x="3391" y="14806"/>
                  </a:cubicBezTo>
                  <a:cubicBezTo>
                    <a:pt x="3387" y="14806"/>
                    <a:pt x="3377" y="14807"/>
                    <a:pt x="3365" y="14810"/>
                  </a:cubicBezTo>
                  <a:lnTo>
                    <a:pt x="3465" y="14032"/>
                  </a:lnTo>
                  <a:close/>
                  <a:moveTo>
                    <a:pt x="4101" y="14526"/>
                  </a:moveTo>
                  <a:cubicBezTo>
                    <a:pt x="3902" y="14785"/>
                    <a:pt x="3902" y="14785"/>
                    <a:pt x="3902" y="14785"/>
                  </a:cubicBezTo>
                  <a:cubicBezTo>
                    <a:pt x="3882" y="14784"/>
                    <a:pt x="3844" y="14782"/>
                    <a:pt x="3797" y="14781"/>
                  </a:cubicBezTo>
                  <a:cubicBezTo>
                    <a:pt x="3802" y="14744"/>
                    <a:pt x="3833" y="14511"/>
                    <a:pt x="3839" y="14464"/>
                  </a:cubicBezTo>
                  <a:lnTo>
                    <a:pt x="4101" y="14526"/>
                  </a:lnTo>
                  <a:close/>
                  <a:moveTo>
                    <a:pt x="3395" y="14871"/>
                  </a:moveTo>
                  <a:cubicBezTo>
                    <a:pt x="3398" y="14871"/>
                    <a:pt x="3399" y="14871"/>
                    <a:pt x="3399" y="14871"/>
                  </a:cubicBezTo>
                  <a:cubicBezTo>
                    <a:pt x="3402" y="14871"/>
                    <a:pt x="3402" y="14871"/>
                    <a:pt x="3402" y="14871"/>
                  </a:cubicBezTo>
                  <a:cubicBezTo>
                    <a:pt x="3405" y="14870"/>
                    <a:pt x="3405" y="14870"/>
                    <a:pt x="3405" y="14870"/>
                  </a:cubicBezTo>
                  <a:cubicBezTo>
                    <a:pt x="3476" y="14851"/>
                    <a:pt x="3605" y="14846"/>
                    <a:pt x="3713" y="14846"/>
                  </a:cubicBezTo>
                  <a:cubicBezTo>
                    <a:pt x="3793" y="14846"/>
                    <a:pt x="3863" y="14849"/>
                    <a:pt x="3896" y="14850"/>
                  </a:cubicBezTo>
                  <a:cubicBezTo>
                    <a:pt x="3957" y="14998"/>
                    <a:pt x="3957" y="14998"/>
                    <a:pt x="3957" y="14998"/>
                  </a:cubicBezTo>
                  <a:cubicBezTo>
                    <a:pt x="3606" y="15194"/>
                    <a:pt x="3606" y="15194"/>
                    <a:pt x="3606" y="15194"/>
                  </a:cubicBezTo>
                  <a:cubicBezTo>
                    <a:pt x="3602" y="15186"/>
                    <a:pt x="3602" y="15186"/>
                    <a:pt x="3602" y="15186"/>
                  </a:cubicBezTo>
                  <a:cubicBezTo>
                    <a:pt x="3604" y="15185"/>
                    <a:pt x="3604" y="15185"/>
                    <a:pt x="3604" y="15185"/>
                  </a:cubicBezTo>
                  <a:cubicBezTo>
                    <a:pt x="3589" y="15159"/>
                    <a:pt x="3589" y="15159"/>
                    <a:pt x="3589" y="15159"/>
                  </a:cubicBezTo>
                  <a:cubicBezTo>
                    <a:pt x="3580" y="15142"/>
                    <a:pt x="3580" y="15142"/>
                    <a:pt x="3580" y="15142"/>
                  </a:cubicBezTo>
                  <a:cubicBezTo>
                    <a:pt x="3699" y="15074"/>
                    <a:pt x="3699" y="15074"/>
                    <a:pt x="3699" y="15074"/>
                  </a:cubicBezTo>
                  <a:cubicBezTo>
                    <a:pt x="3647" y="14983"/>
                    <a:pt x="3647" y="14983"/>
                    <a:pt x="3647" y="14983"/>
                  </a:cubicBezTo>
                  <a:cubicBezTo>
                    <a:pt x="3534" y="15049"/>
                    <a:pt x="3534" y="15049"/>
                    <a:pt x="3534" y="15049"/>
                  </a:cubicBezTo>
                  <a:cubicBezTo>
                    <a:pt x="3523" y="15028"/>
                    <a:pt x="3523" y="15028"/>
                    <a:pt x="3523" y="15028"/>
                  </a:cubicBezTo>
                  <a:cubicBezTo>
                    <a:pt x="3261" y="14915"/>
                    <a:pt x="3261" y="14915"/>
                    <a:pt x="3261" y="14915"/>
                  </a:cubicBezTo>
                  <a:cubicBezTo>
                    <a:pt x="3327" y="14882"/>
                    <a:pt x="3379" y="14873"/>
                    <a:pt x="3395" y="14871"/>
                  </a:cubicBezTo>
                  <a:close/>
                  <a:moveTo>
                    <a:pt x="3569" y="15150"/>
                  </a:moveTo>
                  <a:cubicBezTo>
                    <a:pt x="3584" y="15181"/>
                    <a:pt x="3584" y="15181"/>
                    <a:pt x="3584" y="15181"/>
                  </a:cubicBezTo>
                  <a:cubicBezTo>
                    <a:pt x="3480" y="15241"/>
                    <a:pt x="3480" y="15241"/>
                    <a:pt x="3480" y="15241"/>
                  </a:cubicBezTo>
                  <a:cubicBezTo>
                    <a:pt x="3441" y="15173"/>
                    <a:pt x="3441" y="15173"/>
                    <a:pt x="3441" y="15173"/>
                  </a:cubicBezTo>
                  <a:cubicBezTo>
                    <a:pt x="3547" y="15112"/>
                    <a:pt x="3547" y="15112"/>
                    <a:pt x="3547" y="15112"/>
                  </a:cubicBezTo>
                  <a:lnTo>
                    <a:pt x="3569" y="15150"/>
                  </a:lnTo>
                  <a:close/>
                  <a:moveTo>
                    <a:pt x="3539" y="15060"/>
                  </a:moveTo>
                  <a:cubicBezTo>
                    <a:pt x="3642" y="15001"/>
                    <a:pt x="3642" y="15001"/>
                    <a:pt x="3642" y="15001"/>
                  </a:cubicBezTo>
                  <a:cubicBezTo>
                    <a:pt x="3681" y="15069"/>
                    <a:pt x="3681" y="15069"/>
                    <a:pt x="3681" y="15069"/>
                  </a:cubicBezTo>
                  <a:cubicBezTo>
                    <a:pt x="3576" y="15130"/>
                    <a:pt x="3576" y="15130"/>
                    <a:pt x="3576" y="15130"/>
                  </a:cubicBezTo>
                  <a:cubicBezTo>
                    <a:pt x="3566" y="15113"/>
                    <a:pt x="3566" y="15113"/>
                    <a:pt x="3566" y="15113"/>
                  </a:cubicBezTo>
                  <a:lnTo>
                    <a:pt x="3539" y="15060"/>
                  </a:lnTo>
                  <a:close/>
                  <a:moveTo>
                    <a:pt x="3513" y="15039"/>
                  </a:moveTo>
                  <a:cubicBezTo>
                    <a:pt x="3522" y="15056"/>
                    <a:pt x="3522" y="15056"/>
                    <a:pt x="3522" y="15056"/>
                  </a:cubicBezTo>
                  <a:cubicBezTo>
                    <a:pt x="3519" y="15057"/>
                    <a:pt x="3519" y="15057"/>
                    <a:pt x="3519" y="15057"/>
                  </a:cubicBezTo>
                  <a:cubicBezTo>
                    <a:pt x="3543" y="15099"/>
                    <a:pt x="3543" y="15099"/>
                    <a:pt x="3543" y="15099"/>
                  </a:cubicBezTo>
                  <a:cubicBezTo>
                    <a:pt x="3423" y="15169"/>
                    <a:pt x="3423" y="15169"/>
                    <a:pt x="3423" y="15169"/>
                  </a:cubicBezTo>
                  <a:cubicBezTo>
                    <a:pt x="3472" y="15253"/>
                    <a:pt x="3472" y="15253"/>
                    <a:pt x="3472" y="15253"/>
                  </a:cubicBezTo>
                  <a:cubicBezTo>
                    <a:pt x="3476" y="15259"/>
                    <a:pt x="3476" y="15259"/>
                    <a:pt x="3476" y="15259"/>
                  </a:cubicBezTo>
                  <a:cubicBezTo>
                    <a:pt x="3590" y="15193"/>
                    <a:pt x="3590" y="15193"/>
                    <a:pt x="3590" y="15193"/>
                  </a:cubicBezTo>
                  <a:cubicBezTo>
                    <a:pt x="3594" y="15200"/>
                    <a:pt x="3594" y="15200"/>
                    <a:pt x="3594" y="15200"/>
                  </a:cubicBezTo>
                  <a:cubicBezTo>
                    <a:pt x="3382" y="15319"/>
                    <a:pt x="3382" y="15319"/>
                    <a:pt x="3382" y="15319"/>
                  </a:cubicBezTo>
                  <a:cubicBezTo>
                    <a:pt x="3302" y="15223"/>
                    <a:pt x="3302" y="15223"/>
                    <a:pt x="3302" y="15223"/>
                  </a:cubicBezTo>
                  <a:cubicBezTo>
                    <a:pt x="3301" y="15223"/>
                    <a:pt x="3301" y="15223"/>
                    <a:pt x="3301" y="15223"/>
                  </a:cubicBezTo>
                  <a:cubicBezTo>
                    <a:pt x="3301" y="15223"/>
                    <a:pt x="3240" y="15183"/>
                    <a:pt x="3177" y="15141"/>
                  </a:cubicBezTo>
                  <a:cubicBezTo>
                    <a:pt x="3133" y="15112"/>
                    <a:pt x="3088" y="15081"/>
                    <a:pt x="3061" y="15062"/>
                  </a:cubicBezTo>
                  <a:cubicBezTo>
                    <a:pt x="3092" y="15038"/>
                    <a:pt x="3120" y="15016"/>
                    <a:pt x="3142" y="14996"/>
                  </a:cubicBezTo>
                  <a:cubicBezTo>
                    <a:pt x="3177" y="14964"/>
                    <a:pt x="3212" y="14941"/>
                    <a:pt x="3245" y="14924"/>
                  </a:cubicBezTo>
                  <a:lnTo>
                    <a:pt x="3513" y="15039"/>
                  </a:lnTo>
                  <a:close/>
                  <a:moveTo>
                    <a:pt x="4201" y="15271"/>
                  </a:moveTo>
                  <a:cubicBezTo>
                    <a:pt x="4200" y="15269"/>
                    <a:pt x="4199" y="15266"/>
                    <a:pt x="4197" y="15264"/>
                  </a:cubicBezTo>
                  <a:cubicBezTo>
                    <a:pt x="4417" y="15132"/>
                    <a:pt x="4417" y="15132"/>
                    <a:pt x="4417" y="15132"/>
                  </a:cubicBezTo>
                  <a:cubicBezTo>
                    <a:pt x="4555" y="15372"/>
                    <a:pt x="4555" y="15372"/>
                    <a:pt x="4555" y="15372"/>
                  </a:cubicBezTo>
                  <a:cubicBezTo>
                    <a:pt x="4453" y="15429"/>
                    <a:pt x="4366" y="15478"/>
                    <a:pt x="4330" y="15499"/>
                  </a:cubicBezTo>
                  <a:cubicBezTo>
                    <a:pt x="4325" y="15489"/>
                    <a:pt x="4320" y="15480"/>
                    <a:pt x="4314" y="15469"/>
                  </a:cubicBezTo>
                  <a:cubicBezTo>
                    <a:pt x="4281" y="15409"/>
                    <a:pt x="4241" y="15339"/>
                    <a:pt x="4201" y="15271"/>
                  </a:cubicBezTo>
                  <a:close/>
                  <a:moveTo>
                    <a:pt x="4190" y="15252"/>
                  </a:moveTo>
                  <a:cubicBezTo>
                    <a:pt x="4126" y="15143"/>
                    <a:pt x="4067" y="15045"/>
                    <a:pt x="4052" y="15020"/>
                  </a:cubicBezTo>
                  <a:cubicBezTo>
                    <a:pt x="4076" y="15006"/>
                    <a:pt x="4076" y="15006"/>
                    <a:pt x="4076" y="15006"/>
                  </a:cubicBezTo>
                  <a:cubicBezTo>
                    <a:pt x="4279" y="14891"/>
                    <a:pt x="4279" y="14891"/>
                    <a:pt x="4279" y="14891"/>
                  </a:cubicBezTo>
                  <a:cubicBezTo>
                    <a:pt x="4410" y="15120"/>
                    <a:pt x="4410" y="15120"/>
                    <a:pt x="4410" y="15120"/>
                  </a:cubicBezTo>
                  <a:lnTo>
                    <a:pt x="4190" y="15252"/>
                  </a:lnTo>
                  <a:close/>
                  <a:moveTo>
                    <a:pt x="4044" y="14949"/>
                  </a:moveTo>
                  <a:cubicBezTo>
                    <a:pt x="4015" y="14965"/>
                    <a:pt x="4015" y="14965"/>
                    <a:pt x="4015" y="14965"/>
                  </a:cubicBezTo>
                  <a:cubicBezTo>
                    <a:pt x="3955" y="14823"/>
                    <a:pt x="3955" y="14823"/>
                    <a:pt x="3955" y="14823"/>
                  </a:cubicBezTo>
                  <a:cubicBezTo>
                    <a:pt x="4358" y="14296"/>
                    <a:pt x="4358" y="14296"/>
                    <a:pt x="4358" y="14296"/>
                  </a:cubicBezTo>
                  <a:cubicBezTo>
                    <a:pt x="4358" y="14295"/>
                    <a:pt x="4358" y="14295"/>
                    <a:pt x="4358" y="14295"/>
                  </a:cubicBezTo>
                  <a:cubicBezTo>
                    <a:pt x="4365" y="14286"/>
                    <a:pt x="4373" y="14275"/>
                    <a:pt x="4383" y="14263"/>
                  </a:cubicBezTo>
                  <a:cubicBezTo>
                    <a:pt x="4406" y="14263"/>
                    <a:pt x="4446" y="14264"/>
                    <a:pt x="4488" y="14264"/>
                  </a:cubicBezTo>
                  <a:cubicBezTo>
                    <a:pt x="4496" y="14290"/>
                    <a:pt x="4551" y="14479"/>
                    <a:pt x="4583" y="14581"/>
                  </a:cubicBezTo>
                  <a:cubicBezTo>
                    <a:pt x="4590" y="14604"/>
                    <a:pt x="4595" y="14621"/>
                    <a:pt x="4599" y="14633"/>
                  </a:cubicBezTo>
                  <a:lnTo>
                    <a:pt x="4044" y="14949"/>
                  </a:lnTo>
                  <a:close/>
                  <a:moveTo>
                    <a:pt x="4598" y="14582"/>
                  </a:moveTo>
                  <a:cubicBezTo>
                    <a:pt x="4586" y="14546"/>
                    <a:pt x="4572" y="14498"/>
                    <a:pt x="4558" y="14450"/>
                  </a:cubicBezTo>
                  <a:cubicBezTo>
                    <a:pt x="4533" y="14368"/>
                    <a:pt x="4510" y="14288"/>
                    <a:pt x="4503" y="14264"/>
                  </a:cubicBezTo>
                  <a:cubicBezTo>
                    <a:pt x="4577" y="14266"/>
                    <a:pt x="4657" y="14267"/>
                    <a:pt x="4687" y="14267"/>
                  </a:cubicBezTo>
                  <a:cubicBezTo>
                    <a:pt x="4693" y="14267"/>
                    <a:pt x="4697" y="14267"/>
                    <a:pt x="4699" y="14267"/>
                  </a:cubicBezTo>
                  <a:cubicBezTo>
                    <a:pt x="4700" y="14266"/>
                    <a:pt x="4700" y="14266"/>
                    <a:pt x="4700" y="14266"/>
                  </a:cubicBezTo>
                  <a:cubicBezTo>
                    <a:pt x="4700" y="14267"/>
                    <a:pt x="4701" y="14267"/>
                    <a:pt x="4704" y="14266"/>
                  </a:cubicBezTo>
                  <a:cubicBezTo>
                    <a:pt x="4709" y="14261"/>
                    <a:pt x="4707" y="14261"/>
                    <a:pt x="4708" y="14260"/>
                  </a:cubicBezTo>
                  <a:cubicBezTo>
                    <a:pt x="4708" y="14260"/>
                    <a:pt x="4708" y="14259"/>
                    <a:pt x="4708" y="14259"/>
                  </a:cubicBezTo>
                  <a:cubicBezTo>
                    <a:pt x="4708" y="14258"/>
                    <a:pt x="4708" y="14258"/>
                    <a:pt x="4708" y="14257"/>
                  </a:cubicBezTo>
                  <a:cubicBezTo>
                    <a:pt x="4709" y="14256"/>
                    <a:pt x="4709" y="14253"/>
                    <a:pt x="4709" y="14251"/>
                  </a:cubicBezTo>
                  <a:cubicBezTo>
                    <a:pt x="4710" y="14245"/>
                    <a:pt x="4710" y="14238"/>
                    <a:pt x="4711" y="14228"/>
                  </a:cubicBezTo>
                  <a:cubicBezTo>
                    <a:pt x="4712" y="14208"/>
                    <a:pt x="4714" y="14180"/>
                    <a:pt x="4717" y="14147"/>
                  </a:cubicBezTo>
                  <a:cubicBezTo>
                    <a:pt x="4718" y="14135"/>
                    <a:pt x="4718" y="14121"/>
                    <a:pt x="4719" y="14108"/>
                  </a:cubicBezTo>
                  <a:cubicBezTo>
                    <a:pt x="4749" y="14092"/>
                    <a:pt x="4899" y="14012"/>
                    <a:pt x="4944" y="13989"/>
                  </a:cubicBezTo>
                  <a:cubicBezTo>
                    <a:pt x="4945" y="13991"/>
                    <a:pt x="4945" y="13992"/>
                    <a:pt x="4946" y="13994"/>
                  </a:cubicBezTo>
                  <a:cubicBezTo>
                    <a:pt x="4946" y="13995"/>
                    <a:pt x="4946" y="13996"/>
                    <a:pt x="4946" y="13997"/>
                  </a:cubicBezTo>
                  <a:cubicBezTo>
                    <a:pt x="4946" y="13999"/>
                    <a:pt x="4947" y="14001"/>
                    <a:pt x="4948" y="14003"/>
                  </a:cubicBezTo>
                  <a:cubicBezTo>
                    <a:pt x="4948" y="14006"/>
                    <a:pt x="4949" y="14007"/>
                    <a:pt x="4949" y="14009"/>
                  </a:cubicBezTo>
                  <a:cubicBezTo>
                    <a:pt x="4950" y="14010"/>
                    <a:pt x="4950" y="14010"/>
                    <a:pt x="4950" y="14011"/>
                  </a:cubicBezTo>
                  <a:cubicBezTo>
                    <a:pt x="4950" y="14013"/>
                    <a:pt x="4951" y="14015"/>
                    <a:pt x="4951" y="14016"/>
                  </a:cubicBezTo>
                  <a:cubicBezTo>
                    <a:pt x="4952" y="14017"/>
                    <a:pt x="4952" y="14019"/>
                    <a:pt x="4953" y="14020"/>
                  </a:cubicBezTo>
                  <a:cubicBezTo>
                    <a:pt x="4953" y="14022"/>
                    <a:pt x="4953" y="14022"/>
                    <a:pt x="4953" y="14022"/>
                  </a:cubicBezTo>
                  <a:cubicBezTo>
                    <a:pt x="4953" y="14022"/>
                    <a:pt x="4953" y="14022"/>
                    <a:pt x="4953" y="14022"/>
                  </a:cubicBezTo>
                  <a:cubicBezTo>
                    <a:pt x="4965" y="14058"/>
                    <a:pt x="4987" y="14114"/>
                    <a:pt x="5024" y="14178"/>
                  </a:cubicBezTo>
                  <a:cubicBezTo>
                    <a:pt x="5055" y="14230"/>
                    <a:pt x="5078" y="14279"/>
                    <a:pt x="5092" y="14315"/>
                  </a:cubicBezTo>
                  <a:cubicBezTo>
                    <a:pt x="5098" y="14327"/>
                    <a:pt x="5101" y="14337"/>
                    <a:pt x="5105" y="14345"/>
                  </a:cubicBezTo>
                  <a:cubicBezTo>
                    <a:pt x="4611" y="14626"/>
                    <a:pt x="4611" y="14626"/>
                    <a:pt x="4611" y="14626"/>
                  </a:cubicBezTo>
                  <a:cubicBezTo>
                    <a:pt x="4611" y="14626"/>
                    <a:pt x="4611" y="14626"/>
                    <a:pt x="4611" y="14626"/>
                  </a:cubicBezTo>
                  <a:cubicBezTo>
                    <a:pt x="4608" y="14615"/>
                    <a:pt x="4603" y="14600"/>
                    <a:pt x="4598" y="14582"/>
                  </a:cubicBezTo>
                  <a:close/>
                  <a:moveTo>
                    <a:pt x="5063" y="14155"/>
                  </a:moveTo>
                  <a:cubicBezTo>
                    <a:pt x="5026" y="14093"/>
                    <a:pt x="5005" y="14036"/>
                    <a:pt x="4994" y="14000"/>
                  </a:cubicBezTo>
                  <a:cubicBezTo>
                    <a:pt x="5010" y="13988"/>
                    <a:pt x="5052" y="13956"/>
                    <a:pt x="5095" y="13923"/>
                  </a:cubicBezTo>
                  <a:cubicBezTo>
                    <a:pt x="5149" y="13882"/>
                    <a:pt x="5206" y="13840"/>
                    <a:pt x="5212" y="13836"/>
                  </a:cubicBezTo>
                  <a:cubicBezTo>
                    <a:pt x="5212" y="13836"/>
                    <a:pt x="5212" y="13836"/>
                    <a:pt x="5212" y="13836"/>
                  </a:cubicBezTo>
                  <a:cubicBezTo>
                    <a:pt x="5212" y="13835"/>
                    <a:pt x="5212" y="13835"/>
                    <a:pt x="5212" y="13835"/>
                  </a:cubicBezTo>
                  <a:cubicBezTo>
                    <a:pt x="5216" y="13833"/>
                    <a:pt x="5215" y="13833"/>
                    <a:pt x="5216" y="13832"/>
                  </a:cubicBezTo>
                  <a:cubicBezTo>
                    <a:pt x="5217" y="13831"/>
                    <a:pt x="5217" y="13830"/>
                    <a:pt x="5218" y="13829"/>
                  </a:cubicBezTo>
                  <a:cubicBezTo>
                    <a:pt x="5219" y="13827"/>
                    <a:pt x="5221" y="13823"/>
                    <a:pt x="5224" y="13819"/>
                  </a:cubicBezTo>
                  <a:cubicBezTo>
                    <a:pt x="5229" y="13811"/>
                    <a:pt x="5235" y="13799"/>
                    <a:pt x="5243" y="13785"/>
                  </a:cubicBezTo>
                  <a:cubicBezTo>
                    <a:pt x="5259" y="13757"/>
                    <a:pt x="5279" y="13720"/>
                    <a:pt x="5299" y="13683"/>
                  </a:cubicBezTo>
                  <a:cubicBezTo>
                    <a:pt x="5334" y="13620"/>
                    <a:pt x="5368" y="13557"/>
                    <a:pt x="5377" y="13539"/>
                  </a:cubicBezTo>
                  <a:cubicBezTo>
                    <a:pt x="5417" y="13545"/>
                    <a:pt x="5417" y="13545"/>
                    <a:pt x="5417" y="13545"/>
                  </a:cubicBezTo>
                  <a:cubicBezTo>
                    <a:pt x="5462" y="13554"/>
                    <a:pt x="5618" y="13585"/>
                    <a:pt x="5666" y="13592"/>
                  </a:cubicBezTo>
                  <a:cubicBezTo>
                    <a:pt x="5632" y="13894"/>
                    <a:pt x="5632" y="13894"/>
                    <a:pt x="5632" y="13894"/>
                  </a:cubicBezTo>
                  <a:cubicBezTo>
                    <a:pt x="5610" y="13985"/>
                    <a:pt x="5610" y="13985"/>
                    <a:pt x="5610" y="13985"/>
                  </a:cubicBezTo>
                  <a:cubicBezTo>
                    <a:pt x="5144" y="14322"/>
                    <a:pt x="5144" y="14322"/>
                    <a:pt x="5144" y="14322"/>
                  </a:cubicBezTo>
                  <a:cubicBezTo>
                    <a:pt x="5130" y="14285"/>
                    <a:pt x="5103" y="14223"/>
                    <a:pt x="5063" y="14155"/>
                  </a:cubicBezTo>
                  <a:close/>
                  <a:moveTo>
                    <a:pt x="5667" y="14028"/>
                  </a:moveTo>
                  <a:cubicBezTo>
                    <a:pt x="5668" y="14024"/>
                    <a:pt x="5668" y="14024"/>
                    <a:pt x="5668" y="14024"/>
                  </a:cubicBezTo>
                  <a:cubicBezTo>
                    <a:pt x="5789" y="13937"/>
                    <a:pt x="5789" y="13937"/>
                    <a:pt x="5789" y="13937"/>
                  </a:cubicBezTo>
                  <a:cubicBezTo>
                    <a:pt x="5838" y="13937"/>
                    <a:pt x="6047" y="13936"/>
                    <a:pt x="6214" y="13930"/>
                  </a:cubicBezTo>
                  <a:cubicBezTo>
                    <a:pt x="6183" y="14201"/>
                    <a:pt x="6183" y="14201"/>
                    <a:pt x="6183" y="14201"/>
                  </a:cubicBezTo>
                  <a:cubicBezTo>
                    <a:pt x="6182" y="14201"/>
                    <a:pt x="6181" y="14201"/>
                    <a:pt x="6181" y="14201"/>
                  </a:cubicBezTo>
                  <a:cubicBezTo>
                    <a:pt x="6177" y="14200"/>
                    <a:pt x="6177" y="14200"/>
                    <a:pt x="6177" y="14200"/>
                  </a:cubicBezTo>
                  <a:cubicBezTo>
                    <a:pt x="6119" y="14295"/>
                    <a:pt x="6119" y="14295"/>
                    <a:pt x="6119" y="14295"/>
                  </a:cubicBezTo>
                  <a:cubicBezTo>
                    <a:pt x="6038" y="14569"/>
                    <a:pt x="6038" y="14569"/>
                    <a:pt x="6038" y="14569"/>
                  </a:cubicBezTo>
                  <a:cubicBezTo>
                    <a:pt x="5605" y="14188"/>
                    <a:pt x="5605" y="14188"/>
                    <a:pt x="5605" y="14188"/>
                  </a:cubicBezTo>
                  <a:lnTo>
                    <a:pt x="5667" y="14028"/>
                  </a:lnTo>
                  <a:close/>
                  <a:moveTo>
                    <a:pt x="6132" y="14301"/>
                  </a:moveTo>
                  <a:cubicBezTo>
                    <a:pt x="6185" y="14215"/>
                    <a:pt x="6185" y="14215"/>
                    <a:pt x="6185" y="14215"/>
                  </a:cubicBezTo>
                  <a:cubicBezTo>
                    <a:pt x="6211" y="14217"/>
                    <a:pt x="6354" y="14226"/>
                    <a:pt x="6392" y="14227"/>
                  </a:cubicBezTo>
                  <a:cubicBezTo>
                    <a:pt x="6307" y="14610"/>
                    <a:pt x="6307" y="14610"/>
                    <a:pt x="6307" y="14610"/>
                  </a:cubicBezTo>
                  <a:cubicBezTo>
                    <a:pt x="6180" y="14610"/>
                    <a:pt x="6093" y="14610"/>
                    <a:pt x="6093" y="14610"/>
                  </a:cubicBezTo>
                  <a:cubicBezTo>
                    <a:pt x="6093" y="14617"/>
                    <a:pt x="6093" y="14617"/>
                    <a:pt x="6093" y="14617"/>
                  </a:cubicBezTo>
                  <a:cubicBezTo>
                    <a:pt x="6050" y="14579"/>
                    <a:pt x="6050" y="14579"/>
                    <a:pt x="6050" y="14579"/>
                  </a:cubicBezTo>
                  <a:lnTo>
                    <a:pt x="6132" y="14301"/>
                  </a:lnTo>
                  <a:close/>
                  <a:moveTo>
                    <a:pt x="6335" y="14675"/>
                  </a:moveTo>
                  <a:cubicBezTo>
                    <a:pt x="6346" y="14859"/>
                    <a:pt x="6346" y="14859"/>
                    <a:pt x="6346" y="14859"/>
                  </a:cubicBezTo>
                  <a:cubicBezTo>
                    <a:pt x="6122" y="14847"/>
                    <a:pt x="6122" y="14847"/>
                    <a:pt x="6122" y="14847"/>
                  </a:cubicBezTo>
                  <a:cubicBezTo>
                    <a:pt x="6108" y="14676"/>
                    <a:pt x="6108" y="14676"/>
                    <a:pt x="6108" y="14676"/>
                  </a:cubicBezTo>
                  <a:cubicBezTo>
                    <a:pt x="6140" y="14676"/>
                    <a:pt x="6225" y="14676"/>
                    <a:pt x="6335" y="14675"/>
                  </a:cubicBezTo>
                  <a:close/>
                  <a:moveTo>
                    <a:pt x="7281" y="13363"/>
                  </a:moveTo>
                  <a:cubicBezTo>
                    <a:pt x="7248" y="13355"/>
                    <a:pt x="7185" y="13340"/>
                    <a:pt x="7120" y="13324"/>
                  </a:cubicBezTo>
                  <a:cubicBezTo>
                    <a:pt x="7032" y="13302"/>
                    <a:pt x="6941" y="13280"/>
                    <a:pt x="6925" y="13275"/>
                  </a:cubicBezTo>
                  <a:cubicBezTo>
                    <a:pt x="6925" y="13273"/>
                    <a:pt x="6925" y="13270"/>
                    <a:pt x="6925" y="13266"/>
                  </a:cubicBezTo>
                  <a:cubicBezTo>
                    <a:pt x="6925" y="13213"/>
                    <a:pt x="6937" y="13020"/>
                    <a:pt x="6947" y="12848"/>
                  </a:cubicBezTo>
                  <a:cubicBezTo>
                    <a:pt x="7318" y="12906"/>
                    <a:pt x="7318" y="12906"/>
                    <a:pt x="7318" y="12906"/>
                  </a:cubicBezTo>
                  <a:lnTo>
                    <a:pt x="7281" y="13363"/>
                  </a:lnTo>
                  <a:close/>
                  <a:moveTo>
                    <a:pt x="6929" y="12919"/>
                  </a:moveTo>
                  <a:cubicBezTo>
                    <a:pt x="6899" y="12917"/>
                    <a:pt x="6642" y="12900"/>
                    <a:pt x="6548" y="12894"/>
                  </a:cubicBezTo>
                  <a:cubicBezTo>
                    <a:pt x="6592" y="12481"/>
                    <a:pt x="6592" y="12481"/>
                    <a:pt x="6592" y="12481"/>
                  </a:cubicBezTo>
                  <a:cubicBezTo>
                    <a:pt x="6952" y="12562"/>
                    <a:pt x="6952" y="12562"/>
                    <a:pt x="6952" y="12562"/>
                  </a:cubicBezTo>
                  <a:cubicBezTo>
                    <a:pt x="6950" y="12594"/>
                    <a:pt x="6939" y="12756"/>
                    <a:pt x="6929" y="12919"/>
                  </a:cubicBezTo>
                  <a:close/>
                  <a:moveTo>
                    <a:pt x="6593" y="12467"/>
                  </a:moveTo>
                  <a:cubicBezTo>
                    <a:pt x="6651" y="11922"/>
                    <a:pt x="6651" y="11922"/>
                    <a:pt x="6651" y="11922"/>
                  </a:cubicBezTo>
                  <a:cubicBezTo>
                    <a:pt x="6758" y="11945"/>
                    <a:pt x="7043" y="12005"/>
                    <a:pt x="7107" y="12016"/>
                  </a:cubicBezTo>
                  <a:cubicBezTo>
                    <a:pt x="7109" y="12290"/>
                    <a:pt x="7109" y="12290"/>
                    <a:pt x="7109" y="12290"/>
                  </a:cubicBezTo>
                  <a:cubicBezTo>
                    <a:pt x="6956" y="12549"/>
                    <a:pt x="6956" y="12549"/>
                    <a:pt x="6956" y="12549"/>
                  </a:cubicBezTo>
                  <a:lnTo>
                    <a:pt x="6593" y="12467"/>
                  </a:lnTo>
                  <a:close/>
                  <a:moveTo>
                    <a:pt x="7107" y="11963"/>
                  </a:moveTo>
                  <a:cubicBezTo>
                    <a:pt x="7106" y="11964"/>
                    <a:pt x="7106" y="11964"/>
                    <a:pt x="7106" y="11964"/>
                  </a:cubicBezTo>
                  <a:cubicBezTo>
                    <a:pt x="7107" y="12002"/>
                    <a:pt x="7107" y="12002"/>
                    <a:pt x="7107" y="12002"/>
                  </a:cubicBezTo>
                  <a:cubicBezTo>
                    <a:pt x="7071" y="11996"/>
                    <a:pt x="6965" y="11974"/>
                    <a:pt x="6861" y="11952"/>
                  </a:cubicBezTo>
                  <a:cubicBezTo>
                    <a:pt x="6779" y="11935"/>
                    <a:pt x="6699" y="11918"/>
                    <a:pt x="6653" y="11908"/>
                  </a:cubicBezTo>
                  <a:cubicBezTo>
                    <a:pt x="6684" y="11618"/>
                    <a:pt x="6684" y="11618"/>
                    <a:pt x="6684" y="11618"/>
                  </a:cubicBezTo>
                  <a:cubicBezTo>
                    <a:pt x="6972" y="11652"/>
                    <a:pt x="6972" y="11652"/>
                    <a:pt x="6972" y="11652"/>
                  </a:cubicBezTo>
                  <a:cubicBezTo>
                    <a:pt x="6987" y="11661"/>
                    <a:pt x="7124" y="11746"/>
                    <a:pt x="7166" y="11769"/>
                  </a:cubicBezTo>
                  <a:cubicBezTo>
                    <a:pt x="7169" y="11770"/>
                    <a:pt x="7171" y="11771"/>
                    <a:pt x="7173" y="11772"/>
                  </a:cubicBezTo>
                  <a:cubicBezTo>
                    <a:pt x="7135" y="11883"/>
                    <a:pt x="7107" y="11963"/>
                    <a:pt x="7107" y="11963"/>
                  </a:cubicBezTo>
                  <a:close/>
                  <a:moveTo>
                    <a:pt x="7173" y="11757"/>
                  </a:moveTo>
                  <a:cubicBezTo>
                    <a:pt x="7167" y="11753"/>
                    <a:pt x="7158" y="11749"/>
                    <a:pt x="7148" y="11743"/>
                  </a:cubicBezTo>
                  <a:cubicBezTo>
                    <a:pt x="7129" y="11731"/>
                    <a:pt x="7103" y="11716"/>
                    <a:pt x="7078" y="11701"/>
                  </a:cubicBezTo>
                  <a:cubicBezTo>
                    <a:pt x="7028" y="11670"/>
                    <a:pt x="6979" y="11639"/>
                    <a:pt x="6979" y="11639"/>
                  </a:cubicBezTo>
                  <a:cubicBezTo>
                    <a:pt x="6977" y="11638"/>
                    <a:pt x="6977" y="11638"/>
                    <a:pt x="6977" y="11638"/>
                  </a:cubicBezTo>
                  <a:cubicBezTo>
                    <a:pt x="6685" y="11604"/>
                    <a:pt x="6685" y="11604"/>
                    <a:pt x="6685" y="11604"/>
                  </a:cubicBezTo>
                  <a:cubicBezTo>
                    <a:pt x="6728" y="11204"/>
                    <a:pt x="6728" y="11204"/>
                    <a:pt x="6728" y="11204"/>
                  </a:cubicBezTo>
                  <a:cubicBezTo>
                    <a:pt x="7062" y="11369"/>
                    <a:pt x="7062" y="11369"/>
                    <a:pt x="7062" y="11369"/>
                  </a:cubicBezTo>
                  <a:cubicBezTo>
                    <a:pt x="7311" y="11374"/>
                    <a:pt x="7311" y="11374"/>
                    <a:pt x="7311" y="11374"/>
                  </a:cubicBezTo>
                  <a:cubicBezTo>
                    <a:pt x="7293" y="11428"/>
                    <a:pt x="7273" y="11485"/>
                    <a:pt x="7253" y="11542"/>
                  </a:cubicBezTo>
                  <a:cubicBezTo>
                    <a:pt x="7227" y="11618"/>
                    <a:pt x="7201" y="11693"/>
                    <a:pt x="7178" y="11759"/>
                  </a:cubicBezTo>
                  <a:cubicBezTo>
                    <a:pt x="7176" y="11758"/>
                    <a:pt x="7175" y="11758"/>
                    <a:pt x="7173" y="11757"/>
                  </a:cubicBezTo>
                  <a:close/>
                  <a:moveTo>
                    <a:pt x="7066" y="11355"/>
                  </a:moveTo>
                  <a:cubicBezTo>
                    <a:pt x="6729" y="11189"/>
                    <a:pt x="6729" y="11189"/>
                    <a:pt x="6729" y="11189"/>
                  </a:cubicBezTo>
                  <a:cubicBezTo>
                    <a:pt x="6756" y="10939"/>
                    <a:pt x="6756" y="10939"/>
                    <a:pt x="6756" y="10939"/>
                  </a:cubicBezTo>
                  <a:cubicBezTo>
                    <a:pt x="6763" y="10940"/>
                    <a:pt x="6771" y="10941"/>
                    <a:pt x="6781" y="10943"/>
                  </a:cubicBezTo>
                  <a:cubicBezTo>
                    <a:pt x="6817" y="10950"/>
                    <a:pt x="6870" y="10962"/>
                    <a:pt x="6935" y="10980"/>
                  </a:cubicBezTo>
                  <a:cubicBezTo>
                    <a:pt x="7053" y="11011"/>
                    <a:pt x="7212" y="11063"/>
                    <a:pt x="7389" y="11143"/>
                  </a:cubicBezTo>
                  <a:cubicBezTo>
                    <a:pt x="7388" y="11146"/>
                    <a:pt x="7388" y="11148"/>
                    <a:pt x="7387" y="11151"/>
                  </a:cubicBezTo>
                  <a:cubicBezTo>
                    <a:pt x="7379" y="11175"/>
                    <a:pt x="7367" y="11209"/>
                    <a:pt x="7354" y="11249"/>
                  </a:cubicBezTo>
                  <a:cubicBezTo>
                    <a:pt x="7342" y="11283"/>
                    <a:pt x="7329" y="11320"/>
                    <a:pt x="7316" y="11361"/>
                  </a:cubicBezTo>
                  <a:lnTo>
                    <a:pt x="7066" y="11355"/>
                  </a:lnTo>
                  <a:close/>
                  <a:moveTo>
                    <a:pt x="7268" y="11021"/>
                  </a:moveTo>
                  <a:cubicBezTo>
                    <a:pt x="7349" y="10509"/>
                    <a:pt x="7349" y="10509"/>
                    <a:pt x="7349" y="10509"/>
                  </a:cubicBezTo>
                  <a:cubicBezTo>
                    <a:pt x="7453" y="10555"/>
                    <a:pt x="7545" y="10595"/>
                    <a:pt x="7596" y="10616"/>
                  </a:cubicBezTo>
                  <a:cubicBezTo>
                    <a:pt x="7605" y="10620"/>
                    <a:pt x="7613" y="10623"/>
                    <a:pt x="7619" y="10626"/>
                  </a:cubicBezTo>
                  <a:cubicBezTo>
                    <a:pt x="7556" y="10848"/>
                    <a:pt x="7500" y="11049"/>
                    <a:pt x="7482" y="11114"/>
                  </a:cubicBezTo>
                  <a:cubicBezTo>
                    <a:pt x="7480" y="11113"/>
                    <a:pt x="7479" y="11113"/>
                    <a:pt x="7478" y="11112"/>
                  </a:cubicBezTo>
                  <a:cubicBezTo>
                    <a:pt x="7405" y="11077"/>
                    <a:pt x="7335" y="11047"/>
                    <a:pt x="7268" y="11021"/>
                  </a:cubicBezTo>
                  <a:close/>
                  <a:moveTo>
                    <a:pt x="7601" y="10603"/>
                  </a:moveTo>
                  <a:cubicBezTo>
                    <a:pt x="7577" y="10593"/>
                    <a:pt x="7543" y="10579"/>
                    <a:pt x="7504" y="10562"/>
                  </a:cubicBezTo>
                  <a:cubicBezTo>
                    <a:pt x="7424" y="10527"/>
                    <a:pt x="7320" y="10481"/>
                    <a:pt x="7217" y="10435"/>
                  </a:cubicBezTo>
                  <a:cubicBezTo>
                    <a:pt x="7051" y="10360"/>
                    <a:pt x="6887" y="10287"/>
                    <a:pt x="6828" y="10260"/>
                  </a:cubicBezTo>
                  <a:cubicBezTo>
                    <a:pt x="6855" y="10005"/>
                    <a:pt x="6855" y="10005"/>
                    <a:pt x="6855" y="10005"/>
                  </a:cubicBezTo>
                  <a:cubicBezTo>
                    <a:pt x="6934" y="9950"/>
                    <a:pt x="6934" y="9950"/>
                    <a:pt x="6934" y="9950"/>
                  </a:cubicBezTo>
                  <a:cubicBezTo>
                    <a:pt x="7686" y="10390"/>
                    <a:pt x="7686" y="10390"/>
                    <a:pt x="7686" y="10390"/>
                  </a:cubicBezTo>
                  <a:cubicBezTo>
                    <a:pt x="7676" y="10425"/>
                    <a:pt x="7666" y="10460"/>
                    <a:pt x="7656" y="10495"/>
                  </a:cubicBezTo>
                  <a:cubicBezTo>
                    <a:pt x="7645" y="10535"/>
                    <a:pt x="7634" y="10574"/>
                    <a:pt x="7623" y="10612"/>
                  </a:cubicBezTo>
                  <a:cubicBezTo>
                    <a:pt x="7617" y="10610"/>
                    <a:pt x="7610" y="10607"/>
                    <a:pt x="7601" y="10603"/>
                  </a:cubicBezTo>
                  <a:close/>
                  <a:moveTo>
                    <a:pt x="6947" y="9942"/>
                  </a:moveTo>
                  <a:cubicBezTo>
                    <a:pt x="7209" y="9761"/>
                    <a:pt x="7209" y="9761"/>
                    <a:pt x="7209" y="9761"/>
                  </a:cubicBezTo>
                  <a:cubicBezTo>
                    <a:pt x="7295" y="9819"/>
                    <a:pt x="7645" y="10054"/>
                    <a:pt x="7747" y="10121"/>
                  </a:cubicBezTo>
                  <a:cubicBezTo>
                    <a:pt x="7753" y="10125"/>
                    <a:pt x="7757" y="10128"/>
                    <a:pt x="7761" y="10130"/>
                  </a:cubicBezTo>
                  <a:cubicBezTo>
                    <a:pt x="7739" y="10205"/>
                    <a:pt x="7715" y="10289"/>
                    <a:pt x="7690" y="10376"/>
                  </a:cubicBezTo>
                  <a:lnTo>
                    <a:pt x="6947" y="9942"/>
                  </a:lnTo>
                  <a:close/>
                  <a:moveTo>
                    <a:pt x="7755" y="10109"/>
                  </a:moveTo>
                  <a:cubicBezTo>
                    <a:pt x="7738" y="10099"/>
                    <a:pt x="7715" y="10083"/>
                    <a:pt x="7687" y="10065"/>
                  </a:cubicBezTo>
                  <a:cubicBezTo>
                    <a:pt x="7632" y="10028"/>
                    <a:pt x="7559" y="9979"/>
                    <a:pt x="7486" y="9930"/>
                  </a:cubicBezTo>
                  <a:cubicBezTo>
                    <a:pt x="7377" y="9857"/>
                    <a:pt x="7268" y="9784"/>
                    <a:pt x="7221" y="9752"/>
                  </a:cubicBezTo>
                  <a:cubicBezTo>
                    <a:pt x="7257" y="9728"/>
                    <a:pt x="7257" y="9728"/>
                    <a:pt x="7257" y="9728"/>
                  </a:cubicBezTo>
                  <a:cubicBezTo>
                    <a:pt x="7364" y="9517"/>
                    <a:pt x="7364" y="9517"/>
                    <a:pt x="7364" y="9517"/>
                  </a:cubicBezTo>
                  <a:cubicBezTo>
                    <a:pt x="7859" y="9838"/>
                    <a:pt x="7859" y="9838"/>
                    <a:pt x="7859" y="9838"/>
                  </a:cubicBezTo>
                  <a:cubicBezTo>
                    <a:pt x="7858" y="9839"/>
                    <a:pt x="7856" y="9842"/>
                    <a:pt x="7856" y="9843"/>
                  </a:cubicBezTo>
                  <a:cubicBezTo>
                    <a:pt x="7856" y="9843"/>
                    <a:pt x="7856" y="9843"/>
                    <a:pt x="7856" y="9843"/>
                  </a:cubicBezTo>
                  <a:cubicBezTo>
                    <a:pt x="7855" y="9843"/>
                    <a:pt x="7854" y="9844"/>
                    <a:pt x="7853" y="9845"/>
                  </a:cubicBezTo>
                  <a:cubicBezTo>
                    <a:pt x="7851" y="9847"/>
                    <a:pt x="7850" y="9848"/>
                    <a:pt x="7850" y="9849"/>
                  </a:cubicBezTo>
                  <a:cubicBezTo>
                    <a:pt x="7848" y="9851"/>
                    <a:pt x="7847" y="9853"/>
                    <a:pt x="7847" y="9855"/>
                  </a:cubicBezTo>
                  <a:cubicBezTo>
                    <a:pt x="7845" y="9858"/>
                    <a:pt x="7844" y="9862"/>
                    <a:pt x="7842" y="9867"/>
                  </a:cubicBezTo>
                  <a:cubicBezTo>
                    <a:pt x="7838" y="9877"/>
                    <a:pt x="7833" y="9891"/>
                    <a:pt x="7828" y="9909"/>
                  </a:cubicBezTo>
                  <a:cubicBezTo>
                    <a:pt x="7817" y="9944"/>
                    <a:pt x="7801" y="9994"/>
                    <a:pt x="7784" y="10054"/>
                  </a:cubicBezTo>
                  <a:cubicBezTo>
                    <a:pt x="7778" y="10074"/>
                    <a:pt x="7772" y="10095"/>
                    <a:pt x="7765" y="10116"/>
                  </a:cubicBezTo>
                  <a:cubicBezTo>
                    <a:pt x="7762" y="10114"/>
                    <a:pt x="7759" y="10112"/>
                    <a:pt x="7755" y="10109"/>
                  </a:cubicBezTo>
                  <a:close/>
                  <a:moveTo>
                    <a:pt x="7370" y="9504"/>
                  </a:moveTo>
                  <a:cubicBezTo>
                    <a:pt x="7505" y="9238"/>
                    <a:pt x="7505" y="9238"/>
                    <a:pt x="7505" y="9238"/>
                  </a:cubicBezTo>
                  <a:cubicBezTo>
                    <a:pt x="8026" y="9589"/>
                    <a:pt x="8026" y="9589"/>
                    <a:pt x="8026" y="9589"/>
                  </a:cubicBezTo>
                  <a:cubicBezTo>
                    <a:pt x="8022" y="9595"/>
                    <a:pt x="8017" y="9602"/>
                    <a:pt x="8013" y="9609"/>
                  </a:cubicBezTo>
                  <a:cubicBezTo>
                    <a:pt x="7945" y="9712"/>
                    <a:pt x="7892" y="9793"/>
                    <a:pt x="7867" y="9827"/>
                  </a:cubicBezTo>
                  <a:lnTo>
                    <a:pt x="7370" y="9504"/>
                  </a:lnTo>
                  <a:close/>
                  <a:moveTo>
                    <a:pt x="7512" y="9225"/>
                  </a:moveTo>
                  <a:cubicBezTo>
                    <a:pt x="7625" y="9003"/>
                    <a:pt x="7625" y="9003"/>
                    <a:pt x="7625" y="9003"/>
                  </a:cubicBezTo>
                  <a:cubicBezTo>
                    <a:pt x="8176" y="9359"/>
                    <a:pt x="8176" y="9359"/>
                    <a:pt x="8176" y="9359"/>
                  </a:cubicBezTo>
                  <a:cubicBezTo>
                    <a:pt x="8125" y="9437"/>
                    <a:pt x="8077" y="9511"/>
                    <a:pt x="8034" y="9577"/>
                  </a:cubicBezTo>
                  <a:lnTo>
                    <a:pt x="7512" y="9225"/>
                  </a:lnTo>
                  <a:close/>
                  <a:moveTo>
                    <a:pt x="7582" y="8943"/>
                  </a:moveTo>
                  <a:cubicBezTo>
                    <a:pt x="7565" y="8934"/>
                    <a:pt x="7565" y="8934"/>
                    <a:pt x="7565" y="8934"/>
                  </a:cubicBezTo>
                  <a:cubicBezTo>
                    <a:pt x="7648" y="8773"/>
                    <a:pt x="7648" y="8773"/>
                    <a:pt x="7648" y="8773"/>
                  </a:cubicBezTo>
                  <a:cubicBezTo>
                    <a:pt x="7664" y="8781"/>
                    <a:pt x="7664" y="8781"/>
                    <a:pt x="7664" y="8781"/>
                  </a:cubicBezTo>
                  <a:lnTo>
                    <a:pt x="7582" y="8943"/>
                  </a:lnTo>
                  <a:close/>
                  <a:moveTo>
                    <a:pt x="7654" y="8761"/>
                  </a:moveTo>
                  <a:cubicBezTo>
                    <a:pt x="7733" y="8605"/>
                    <a:pt x="7733" y="8605"/>
                    <a:pt x="7733" y="8605"/>
                  </a:cubicBezTo>
                  <a:cubicBezTo>
                    <a:pt x="7749" y="8613"/>
                    <a:pt x="7749" y="8613"/>
                    <a:pt x="7749" y="8613"/>
                  </a:cubicBezTo>
                  <a:cubicBezTo>
                    <a:pt x="7670" y="8769"/>
                    <a:pt x="7670" y="8769"/>
                    <a:pt x="7670" y="8769"/>
                  </a:cubicBezTo>
                  <a:lnTo>
                    <a:pt x="7654" y="8761"/>
                  </a:lnTo>
                  <a:close/>
                  <a:moveTo>
                    <a:pt x="7740" y="8592"/>
                  </a:moveTo>
                  <a:cubicBezTo>
                    <a:pt x="7820" y="8435"/>
                    <a:pt x="7820" y="8435"/>
                    <a:pt x="7820" y="8435"/>
                  </a:cubicBezTo>
                  <a:cubicBezTo>
                    <a:pt x="7836" y="8442"/>
                    <a:pt x="7836" y="8442"/>
                    <a:pt x="7836" y="8442"/>
                  </a:cubicBezTo>
                  <a:cubicBezTo>
                    <a:pt x="7756" y="8600"/>
                    <a:pt x="7756" y="8600"/>
                    <a:pt x="7756" y="8600"/>
                  </a:cubicBezTo>
                  <a:lnTo>
                    <a:pt x="7740" y="8592"/>
                  </a:lnTo>
                  <a:close/>
                  <a:moveTo>
                    <a:pt x="7826" y="8423"/>
                  </a:moveTo>
                  <a:cubicBezTo>
                    <a:pt x="7896" y="8286"/>
                    <a:pt x="7896" y="8286"/>
                    <a:pt x="7896" y="8286"/>
                  </a:cubicBezTo>
                  <a:cubicBezTo>
                    <a:pt x="7911" y="8293"/>
                    <a:pt x="7911" y="8293"/>
                    <a:pt x="7911" y="8293"/>
                  </a:cubicBezTo>
                  <a:cubicBezTo>
                    <a:pt x="7842" y="8430"/>
                    <a:pt x="7842" y="8430"/>
                    <a:pt x="7842" y="8430"/>
                  </a:cubicBezTo>
                  <a:lnTo>
                    <a:pt x="7826" y="8423"/>
                  </a:lnTo>
                  <a:close/>
                  <a:moveTo>
                    <a:pt x="7902" y="8273"/>
                  </a:moveTo>
                  <a:cubicBezTo>
                    <a:pt x="7970" y="8140"/>
                    <a:pt x="7970" y="8140"/>
                    <a:pt x="7970" y="8140"/>
                  </a:cubicBezTo>
                  <a:cubicBezTo>
                    <a:pt x="7836" y="8068"/>
                    <a:pt x="7836" y="8068"/>
                    <a:pt x="7836" y="8068"/>
                  </a:cubicBezTo>
                  <a:cubicBezTo>
                    <a:pt x="7765" y="8206"/>
                    <a:pt x="7765" y="8206"/>
                    <a:pt x="7765" y="8206"/>
                  </a:cubicBezTo>
                  <a:cubicBezTo>
                    <a:pt x="7476" y="8063"/>
                    <a:pt x="7476" y="8063"/>
                    <a:pt x="7476" y="8063"/>
                  </a:cubicBezTo>
                  <a:cubicBezTo>
                    <a:pt x="7534" y="7883"/>
                    <a:pt x="7534" y="7883"/>
                    <a:pt x="7534" y="7883"/>
                  </a:cubicBezTo>
                  <a:cubicBezTo>
                    <a:pt x="7706" y="7927"/>
                    <a:pt x="7948" y="8078"/>
                    <a:pt x="8002" y="8114"/>
                  </a:cubicBezTo>
                  <a:cubicBezTo>
                    <a:pt x="8002" y="8114"/>
                    <a:pt x="8002" y="8114"/>
                    <a:pt x="8002" y="8114"/>
                  </a:cubicBezTo>
                  <a:cubicBezTo>
                    <a:pt x="7918" y="8281"/>
                    <a:pt x="7918" y="8281"/>
                    <a:pt x="7918" y="8281"/>
                  </a:cubicBezTo>
                  <a:lnTo>
                    <a:pt x="7902" y="8273"/>
                  </a:lnTo>
                  <a:close/>
                  <a:moveTo>
                    <a:pt x="8015" y="7351"/>
                  </a:moveTo>
                  <a:cubicBezTo>
                    <a:pt x="8068" y="7320"/>
                    <a:pt x="8115" y="7285"/>
                    <a:pt x="8158" y="7248"/>
                  </a:cubicBezTo>
                  <a:cubicBezTo>
                    <a:pt x="8168" y="7255"/>
                    <a:pt x="8265" y="7327"/>
                    <a:pt x="8358" y="7394"/>
                  </a:cubicBezTo>
                  <a:cubicBezTo>
                    <a:pt x="8358" y="7394"/>
                    <a:pt x="8358" y="7394"/>
                    <a:pt x="8357" y="7395"/>
                  </a:cubicBezTo>
                  <a:cubicBezTo>
                    <a:pt x="8356" y="7398"/>
                    <a:pt x="8354" y="7403"/>
                    <a:pt x="8352" y="7408"/>
                  </a:cubicBezTo>
                  <a:cubicBezTo>
                    <a:pt x="8348" y="7419"/>
                    <a:pt x="8343" y="7434"/>
                    <a:pt x="8338" y="7451"/>
                  </a:cubicBezTo>
                  <a:cubicBezTo>
                    <a:pt x="8326" y="7484"/>
                    <a:pt x="8313" y="7523"/>
                    <a:pt x="8303" y="7551"/>
                  </a:cubicBezTo>
                  <a:cubicBezTo>
                    <a:pt x="8297" y="7567"/>
                    <a:pt x="8292" y="7579"/>
                    <a:pt x="8290" y="7583"/>
                  </a:cubicBezTo>
                  <a:cubicBezTo>
                    <a:pt x="8289" y="7583"/>
                    <a:pt x="8288" y="7583"/>
                    <a:pt x="8288" y="7583"/>
                  </a:cubicBezTo>
                  <a:lnTo>
                    <a:pt x="8015" y="7351"/>
                  </a:lnTo>
                  <a:close/>
                  <a:moveTo>
                    <a:pt x="8466" y="6785"/>
                  </a:moveTo>
                  <a:cubicBezTo>
                    <a:pt x="8460" y="6784"/>
                    <a:pt x="8460" y="6784"/>
                    <a:pt x="8460" y="6784"/>
                  </a:cubicBezTo>
                  <a:cubicBezTo>
                    <a:pt x="8459" y="6790"/>
                    <a:pt x="8459" y="6790"/>
                    <a:pt x="8459" y="6790"/>
                  </a:cubicBezTo>
                  <a:cubicBezTo>
                    <a:pt x="8458" y="6790"/>
                    <a:pt x="8426" y="6890"/>
                    <a:pt x="8344" y="7015"/>
                  </a:cubicBezTo>
                  <a:cubicBezTo>
                    <a:pt x="8261" y="7139"/>
                    <a:pt x="8130" y="7287"/>
                    <a:pt x="7933" y="7380"/>
                  </a:cubicBezTo>
                  <a:cubicBezTo>
                    <a:pt x="7586" y="7544"/>
                    <a:pt x="7241" y="7609"/>
                    <a:pt x="7156" y="7625"/>
                  </a:cubicBezTo>
                  <a:cubicBezTo>
                    <a:pt x="7144" y="7627"/>
                    <a:pt x="7139" y="7628"/>
                    <a:pt x="7135" y="7629"/>
                  </a:cubicBezTo>
                  <a:cubicBezTo>
                    <a:pt x="7127" y="7636"/>
                    <a:pt x="7131" y="7638"/>
                    <a:pt x="7130" y="7643"/>
                  </a:cubicBezTo>
                  <a:cubicBezTo>
                    <a:pt x="7130" y="7655"/>
                    <a:pt x="7132" y="7674"/>
                    <a:pt x="7135" y="7692"/>
                  </a:cubicBezTo>
                  <a:cubicBezTo>
                    <a:pt x="7077" y="7695"/>
                    <a:pt x="7022" y="7702"/>
                    <a:pt x="6972" y="7711"/>
                  </a:cubicBezTo>
                  <a:cubicBezTo>
                    <a:pt x="6882" y="7728"/>
                    <a:pt x="6816" y="7768"/>
                    <a:pt x="6774" y="7805"/>
                  </a:cubicBezTo>
                  <a:cubicBezTo>
                    <a:pt x="6731" y="7842"/>
                    <a:pt x="6711" y="7874"/>
                    <a:pt x="6708" y="7880"/>
                  </a:cubicBezTo>
                  <a:cubicBezTo>
                    <a:pt x="6708" y="7881"/>
                    <a:pt x="6708" y="7881"/>
                    <a:pt x="6708" y="7881"/>
                  </a:cubicBezTo>
                  <a:cubicBezTo>
                    <a:pt x="6707" y="7882"/>
                    <a:pt x="6707" y="7882"/>
                    <a:pt x="6707" y="7882"/>
                  </a:cubicBezTo>
                  <a:cubicBezTo>
                    <a:pt x="6679" y="7933"/>
                    <a:pt x="6653" y="7987"/>
                    <a:pt x="6638" y="8020"/>
                  </a:cubicBezTo>
                  <a:cubicBezTo>
                    <a:pt x="6633" y="8020"/>
                    <a:pt x="6627" y="8020"/>
                    <a:pt x="6620" y="8020"/>
                  </a:cubicBezTo>
                  <a:cubicBezTo>
                    <a:pt x="6611" y="8020"/>
                    <a:pt x="6600" y="8020"/>
                    <a:pt x="6589" y="8019"/>
                  </a:cubicBezTo>
                  <a:cubicBezTo>
                    <a:pt x="6586" y="8019"/>
                    <a:pt x="6573" y="8018"/>
                    <a:pt x="6553" y="8017"/>
                  </a:cubicBezTo>
                  <a:cubicBezTo>
                    <a:pt x="6575" y="7937"/>
                    <a:pt x="6599" y="7860"/>
                    <a:pt x="6635" y="7812"/>
                  </a:cubicBezTo>
                  <a:cubicBezTo>
                    <a:pt x="6665" y="7772"/>
                    <a:pt x="6685" y="7745"/>
                    <a:pt x="6706" y="7726"/>
                  </a:cubicBezTo>
                  <a:cubicBezTo>
                    <a:pt x="6726" y="7707"/>
                    <a:pt x="6747" y="7693"/>
                    <a:pt x="6785" y="7677"/>
                  </a:cubicBezTo>
                  <a:cubicBezTo>
                    <a:pt x="6861" y="7644"/>
                    <a:pt x="7006" y="7613"/>
                    <a:pt x="7288" y="7559"/>
                  </a:cubicBezTo>
                  <a:cubicBezTo>
                    <a:pt x="7873" y="7446"/>
                    <a:pt x="8201" y="7160"/>
                    <a:pt x="8341" y="6918"/>
                  </a:cubicBezTo>
                  <a:cubicBezTo>
                    <a:pt x="8392" y="6826"/>
                    <a:pt x="8407" y="6698"/>
                    <a:pt x="8408" y="6536"/>
                  </a:cubicBezTo>
                  <a:cubicBezTo>
                    <a:pt x="8408" y="6523"/>
                    <a:pt x="8408" y="6509"/>
                    <a:pt x="8407" y="6495"/>
                  </a:cubicBezTo>
                  <a:cubicBezTo>
                    <a:pt x="8439" y="6499"/>
                    <a:pt x="8468" y="6502"/>
                    <a:pt x="8492" y="6505"/>
                  </a:cubicBezTo>
                  <a:cubicBezTo>
                    <a:pt x="8505" y="6507"/>
                    <a:pt x="8516" y="6508"/>
                    <a:pt x="8526" y="6509"/>
                  </a:cubicBezTo>
                  <a:cubicBezTo>
                    <a:pt x="8526" y="6516"/>
                    <a:pt x="8526" y="6522"/>
                    <a:pt x="8526" y="6528"/>
                  </a:cubicBezTo>
                  <a:cubicBezTo>
                    <a:pt x="8526" y="6615"/>
                    <a:pt x="8525" y="6704"/>
                    <a:pt x="8523" y="6788"/>
                  </a:cubicBezTo>
                  <a:cubicBezTo>
                    <a:pt x="8497" y="6787"/>
                    <a:pt x="8466" y="6785"/>
                    <a:pt x="8466" y="6785"/>
                  </a:cubicBezTo>
                  <a:close/>
                  <a:moveTo>
                    <a:pt x="8514" y="6442"/>
                  </a:moveTo>
                  <a:cubicBezTo>
                    <a:pt x="8485" y="6438"/>
                    <a:pt x="8448" y="6434"/>
                    <a:pt x="8405" y="6428"/>
                  </a:cubicBezTo>
                  <a:cubicBezTo>
                    <a:pt x="8388" y="6065"/>
                    <a:pt x="8288" y="5583"/>
                    <a:pt x="8109" y="5180"/>
                  </a:cubicBezTo>
                  <a:cubicBezTo>
                    <a:pt x="8078" y="5108"/>
                    <a:pt x="8040" y="5039"/>
                    <a:pt x="7998" y="4973"/>
                  </a:cubicBezTo>
                  <a:cubicBezTo>
                    <a:pt x="8097" y="4977"/>
                    <a:pt x="8097" y="4977"/>
                    <a:pt x="8097" y="4977"/>
                  </a:cubicBezTo>
                  <a:cubicBezTo>
                    <a:pt x="8216" y="5181"/>
                    <a:pt x="8216" y="5181"/>
                    <a:pt x="8216" y="5181"/>
                  </a:cubicBezTo>
                  <a:cubicBezTo>
                    <a:pt x="8328" y="5393"/>
                    <a:pt x="8502" y="5849"/>
                    <a:pt x="8517" y="6149"/>
                  </a:cubicBezTo>
                  <a:cubicBezTo>
                    <a:pt x="8522" y="6231"/>
                    <a:pt x="8525" y="6334"/>
                    <a:pt x="8525" y="6443"/>
                  </a:cubicBezTo>
                  <a:cubicBezTo>
                    <a:pt x="8521" y="6443"/>
                    <a:pt x="8518" y="6442"/>
                    <a:pt x="8514" y="6442"/>
                  </a:cubicBezTo>
                  <a:close/>
                  <a:moveTo>
                    <a:pt x="7955" y="4905"/>
                  </a:moveTo>
                  <a:cubicBezTo>
                    <a:pt x="7869" y="4778"/>
                    <a:pt x="7770" y="4659"/>
                    <a:pt x="7672" y="4548"/>
                  </a:cubicBezTo>
                  <a:cubicBezTo>
                    <a:pt x="7507" y="4360"/>
                    <a:pt x="7342" y="4191"/>
                    <a:pt x="7242" y="4044"/>
                  </a:cubicBezTo>
                  <a:cubicBezTo>
                    <a:pt x="7176" y="3947"/>
                    <a:pt x="7140" y="3861"/>
                    <a:pt x="7141" y="3793"/>
                  </a:cubicBezTo>
                  <a:cubicBezTo>
                    <a:pt x="7141" y="3793"/>
                    <a:pt x="7141" y="3792"/>
                    <a:pt x="7141" y="3792"/>
                  </a:cubicBezTo>
                  <a:cubicBezTo>
                    <a:pt x="7141" y="3781"/>
                    <a:pt x="7141" y="3771"/>
                    <a:pt x="7143" y="3761"/>
                  </a:cubicBezTo>
                  <a:cubicBezTo>
                    <a:pt x="7164" y="3623"/>
                    <a:pt x="7251" y="3534"/>
                    <a:pt x="7364" y="3467"/>
                  </a:cubicBezTo>
                  <a:cubicBezTo>
                    <a:pt x="7373" y="3462"/>
                    <a:pt x="7383" y="3457"/>
                    <a:pt x="7393" y="3452"/>
                  </a:cubicBezTo>
                  <a:cubicBezTo>
                    <a:pt x="7798" y="4464"/>
                    <a:pt x="7798" y="4464"/>
                    <a:pt x="7798" y="4464"/>
                  </a:cubicBezTo>
                  <a:cubicBezTo>
                    <a:pt x="8057" y="4910"/>
                    <a:pt x="8057" y="4910"/>
                    <a:pt x="8057" y="4910"/>
                  </a:cubicBezTo>
                  <a:lnTo>
                    <a:pt x="7955" y="4905"/>
                  </a:lnTo>
                  <a:close/>
                  <a:moveTo>
                    <a:pt x="7356" y="3453"/>
                  </a:moveTo>
                  <a:cubicBezTo>
                    <a:pt x="7241" y="3521"/>
                    <a:pt x="7148" y="3614"/>
                    <a:pt x="7127" y="3759"/>
                  </a:cubicBezTo>
                  <a:cubicBezTo>
                    <a:pt x="7125" y="3769"/>
                    <a:pt x="7124" y="3780"/>
                    <a:pt x="7124" y="3792"/>
                  </a:cubicBezTo>
                  <a:cubicBezTo>
                    <a:pt x="7124" y="3793"/>
                    <a:pt x="7124" y="3793"/>
                    <a:pt x="7124" y="3793"/>
                  </a:cubicBezTo>
                  <a:cubicBezTo>
                    <a:pt x="7124" y="3867"/>
                    <a:pt x="7161" y="3955"/>
                    <a:pt x="7229" y="4053"/>
                  </a:cubicBezTo>
                  <a:cubicBezTo>
                    <a:pt x="7330" y="4203"/>
                    <a:pt x="7495" y="4371"/>
                    <a:pt x="7660" y="4559"/>
                  </a:cubicBezTo>
                  <a:cubicBezTo>
                    <a:pt x="7755" y="4667"/>
                    <a:pt x="7850" y="4782"/>
                    <a:pt x="7934" y="4904"/>
                  </a:cubicBezTo>
                  <a:cubicBezTo>
                    <a:pt x="7778" y="4897"/>
                    <a:pt x="7778" y="4897"/>
                    <a:pt x="7778" y="4897"/>
                  </a:cubicBezTo>
                  <a:cubicBezTo>
                    <a:pt x="7664" y="4743"/>
                    <a:pt x="7530" y="4597"/>
                    <a:pt x="7406" y="4460"/>
                  </a:cubicBezTo>
                  <a:cubicBezTo>
                    <a:pt x="7300" y="4343"/>
                    <a:pt x="7201" y="4232"/>
                    <a:pt x="7127" y="4123"/>
                  </a:cubicBezTo>
                  <a:cubicBezTo>
                    <a:pt x="7053" y="4014"/>
                    <a:pt x="7002" y="3906"/>
                    <a:pt x="7001" y="3792"/>
                  </a:cubicBezTo>
                  <a:cubicBezTo>
                    <a:pt x="7001" y="3775"/>
                    <a:pt x="7002" y="3757"/>
                    <a:pt x="7005" y="3740"/>
                  </a:cubicBezTo>
                  <a:cubicBezTo>
                    <a:pt x="7021" y="3632"/>
                    <a:pt x="7070" y="3542"/>
                    <a:pt x="7133" y="3474"/>
                  </a:cubicBezTo>
                  <a:cubicBezTo>
                    <a:pt x="7193" y="3408"/>
                    <a:pt x="7265" y="3360"/>
                    <a:pt x="7337" y="3323"/>
                  </a:cubicBezTo>
                  <a:cubicBezTo>
                    <a:pt x="7352" y="3353"/>
                    <a:pt x="7362" y="3377"/>
                    <a:pt x="7368" y="3390"/>
                  </a:cubicBezTo>
                  <a:cubicBezTo>
                    <a:pt x="7371" y="3396"/>
                    <a:pt x="7372" y="3400"/>
                    <a:pt x="7372" y="3399"/>
                  </a:cubicBezTo>
                  <a:cubicBezTo>
                    <a:pt x="7387" y="3436"/>
                    <a:pt x="7387" y="3436"/>
                    <a:pt x="7387" y="3436"/>
                  </a:cubicBezTo>
                  <a:cubicBezTo>
                    <a:pt x="7376" y="3442"/>
                    <a:pt x="7366" y="3447"/>
                    <a:pt x="7356" y="3453"/>
                  </a:cubicBezTo>
                  <a:close/>
                  <a:moveTo>
                    <a:pt x="7806" y="4964"/>
                  </a:moveTo>
                  <a:cubicBezTo>
                    <a:pt x="7869" y="5054"/>
                    <a:pt x="7925" y="5147"/>
                    <a:pt x="7967" y="5243"/>
                  </a:cubicBezTo>
                  <a:cubicBezTo>
                    <a:pt x="8132" y="5614"/>
                    <a:pt x="8229" y="6071"/>
                    <a:pt x="8248" y="6410"/>
                  </a:cubicBezTo>
                  <a:cubicBezTo>
                    <a:pt x="8134" y="6397"/>
                    <a:pt x="8000" y="6382"/>
                    <a:pt x="7867" y="6367"/>
                  </a:cubicBezTo>
                  <a:cubicBezTo>
                    <a:pt x="7557" y="6332"/>
                    <a:pt x="7248" y="6298"/>
                    <a:pt x="7181" y="6291"/>
                  </a:cubicBezTo>
                  <a:cubicBezTo>
                    <a:pt x="7181" y="6286"/>
                    <a:pt x="7182" y="6280"/>
                    <a:pt x="7183" y="6272"/>
                  </a:cubicBezTo>
                  <a:cubicBezTo>
                    <a:pt x="7185" y="6256"/>
                    <a:pt x="7188" y="6233"/>
                    <a:pt x="7190" y="6206"/>
                  </a:cubicBezTo>
                  <a:cubicBezTo>
                    <a:pt x="7196" y="6151"/>
                    <a:pt x="7203" y="6078"/>
                    <a:pt x="7209" y="6006"/>
                  </a:cubicBezTo>
                  <a:cubicBezTo>
                    <a:pt x="7222" y="5860"/>
                    <a:pt x="7234" y="5715"/>
                    <a:pt x="7234" y="5715"/>
                  </a:cubicBezTo>
                  <a:cubicBezTo>
                    <a:pt x="7235" y="5708"/>
                    <a:pt x="7235" y="5708"/>
                    <a:pt x="7235" y="5708"/>
                  </a:cubicBezTo>
                  <a:cubicBezTo>
                    <a:pt x="6050" y="5582"/>
                    <a:pt x="6050" y="5582"/>
                    <a:pt x="6050" y="5582"/>
                  </a:cubicBezTo>
                  <a:cubicBezTo>
                    <a:pt x="6165" y="4892"/>
                    <a:pt x="6165" y="4892"/>
                    <a:pt x="6165" y="4892"/>
                  </a:cubicBezTo>
                  <a:lnTo>
                    <a:pt x="7806" y="4964"/>
                  </a:lnTo>
                  <a:close/>
                  <a:moveTo>
                    <a:pt x="5958" y="5733"/>
                  </a:moveTo>
                  <a:cubicBezTo>
                    <a:pt x="5826" y="5717"/>
                    <a:pt x="5826" y="5717"/>
                    <a:pt x="5826" y="5717"/>
                  </a:cubicBezTo>
                  <a:cubicBezTo>
                    <a:pt x="5899" y="5652"/>
                    <a:pt x="5899" y="5652"/>
                    <a:pt x="5899" y="5652"/>
                  </a:cubicBezTo>
                  <a:cubicBezTo>
                    <a:pt x="5791" y="5523"/>
                    <a:pt x="5791" y="5523"/>
                    <a:pt x="5791" y="5523"/>
                  </a:cubicBezTo>
                  <a:cubicBezTo>
                    <a:pt x="5658" y="5640"/>
                    <a:pt x="5658" y="5640"/>
                    <a:pt x="5658" y="5640"/>
                  </a:cubicBezTo>
                  <a:cubicBezTo>
                    <a:pt x="5707" y="5702"/>
                    <a:pt x="5707" y="5702"/>
                    <a:pt x="5707" y="5702"/>
                  </a:cubicBezTo>
                  <a:cubicBezTo>
                    <a:pt x="5387" y="5662"/>
                    <a:pt x="5387" y="5662"/>
                    <a:pt x="5387" y="5662"/>
                  </a:cubicBezTo>
                  <a:cubicBezTo>
                    <a:pt x="5438" y="5227"/>
                    <a:pt x="5438" y="5227"/>
                    <a:pt x="5438" y="5227"/>
                  </a:cubicBezTo>
                  <a:cubicBezTo>
                    <a:pt x="6059" y="5124"/>
                    <a:pt x="6059" y="5124"/>
                    <a:pt x="6059" y="5124"/>
                  </a:cubicBezTo>
                  <a:lnTo>
                    <a:pt x="5958" y="5733"/>
                  </a:lnTo>
                  <a:close/>
                  <a:moveTo>
                    <a:pt x="4843" y="5316"/>
                  </a:moveTo>
                  <a:cubicBezTo>
                    <a:pt x="4837" y="5270"/>
                    <a:pt x="4826" y="5219"/>
                    <a:pt x="4807" y="5170"/>
                  </a:cubicBezTo>
                  <a:cubicBezTo>
                    <a:pt x="4781" y="5104"/>
                    <a:pt x="4738" y="5039"/>
                    <a:pt x="4672" y="4994"/>
                  </a:cubicBezTo>
                  <a:cubicBezTo>
                    <a:pt x="4900" y="4821"/>
                    <a:pt x="4900" y="4821"/>
                    <a:pt x="4900" y="4821"/>
                  </a:cubicBezTo>
                  <a:cubicBezTo>
                    <a:pt x="5042" y="4556"/>
                    <a:pt x="5042" y="4556"/>
                    <a:pt x="5042" y="4556"/>
                  </a:cubicBezTo>
                  <a:cubicBezTo>
                    <a:pt x="5086" y="4570"/>
                    <a:pt x="5367" y="4659"/>
                    <a:pt x="5407" y="4671"/>
                  </a:cubicBezTo>
                  <a:cubicBezTo>
                    <a:pt x="5425" y="5215"/>
                    <a:pt x="5425" y="5215"/>
                    <a:pt x="5425" y="5215"/>
                  </a:cubicBezTo>
                  <a:lnTo>
                    <a:pt x="4843" y="5316"/>
                  </a:lnTo>
                  <a:close/>
                  <a:moveTo>
                    <a:pt x="4889" y="4812"/>
                  </a:moveTo>
                  <a:cubicBezTo>
                    <a:pt x="4660" y="4985"/>
                    <a:pt x="4660" y="4985"/>
                    <a:pt x="4660" y="4985"/>
                  </a:cubicBezTo>
                  <a:cubicBezTo>
                    <a:pt x="4637" y="4971"/>
                    <a:pt x="4611" y="4959"/>
                    <a:pt x="4583" y="4949"/>
                  </a:cubicBezTo>
                  <a:cubicBezTo>
                    <a:pt x="4506" y="4925"/>
                    <a:pt x="4425" y="4900"/>
                    <a:pt x="4342" y="4876"/>
                  </a:cubicBezTo>
                  <a:cubicBezTo>
                    <a:pt x="4660" y="4226"/>
                    <a:pt x="4660" y="4226"/>
                    <a:pt x="4660" y="4226"/>
                  </a:cubicBezTo>
                  <a:cubicBezTo>
                    <a:pt x="4706" y="4266"/>
                    <a:pt x="4984" y="4513"/>
                    <a:pt x="5029" y="4549"/>
                  </a:cubicBezTo>
                  <a:cubicBezTo>
                    <a:pt x="5029" y="4550"/>
                    <a:pt x="5029" y="4550"/>
                    <a:pt x="5030" y="4550"/>
                  </a:cubicBezTo>
                  <a:lnTo>
                    <a:pt x="4889" y="4812"/>
                  </a:lnTo>
                  <a:close/>
                  <a:moveTo>
                    <a:pt x="4485" y="4552"/>
                  </a:moveTo>
                  <a:cubicBezTo>
                    <a:pt x="4328" y="4872"/>
                    <a:pt x="4328" y="4872"/>
                    <a:pt x="4328" y="4872"/>
                  </a:cubicBezTo>
                  <a:cubicBezTo>
                    <a:pt x="4232" y="4845"/>
                    <a:pt x="4134" y="4819"/>
                    <a:pt x="4039" y="4795"/>
                  </a:cubicBezTo>
                  <a:cubicBezTo>
                    <a:pt x="4060" y="4740"/>
                    <a:pt x="4107" y="4612"/>
                    <a:pt x="4134" y="4488"/>
                  </a:cubicBezTo>
                  <a:cubicBezTo>
                    <a:pt x="4301" y="4520"/>
                    <a:pt x="4467" y="4551"/>
                    <a:pt x="4485" y="4552"/>
                  </a:cubicBezTo>
                  <a:close/>
                  <a:moveTo>
                    <a:pt x="4076" y="4444"/>
                  </a:moveTo>
                  <a:cubicBezTo>
                    <a:pt x="4075" y="4450"/>
                    <a:pt x="4073" y="4456"/>
                    <a:pt x="4072" y="4461"/>
                  </a:cubicBezTo>
                  <a:cubicBezTo>
                    <a:pt x="3926" y="4433"/>
                    <a:pt x="3796" y="4408"/>
                    <a:pt x="3784" y="4406"/>
                  </a:cubicBezTo>
                  <a:cubicBezTo>
                    <a:pt x="3791" y="4070"/>
                    <a:pt x="3791" y="4070"/>
                    <a:pt x="3791" y="4070"/>
                  </a:cubicBezTo>
                  <a:cubicBezTo>
                    <a:pt x="4086" y="4100"/>
                    <a:pt x="4086" y="4100"/>
                    <a:pt x="4086" y="4100"/>
                  </a:cubicBezTo>
                  <a:cubicBezTo>
                    <a:pt x="4088" y="4143"/>
                    <a:pt x="4089" y="4189"/>
                    <a:pt x="4089" y="4235"/>
                  </a:cubicBezTo>
                  <a:cubicBezTo>
                    <a:pt x="4089" y="4315"/>
                    <a:pt x="4085" y="4393"/>
                    <a:pt x="4076" y="4444"/>
                  </a:cubicBezTo>
                  <a:close/>
                  <a:moveTo>
                    <a:pt x="4069" y="4475"/>
                  </a:moveTo>
                  <a:cubicBezTo>
                    <a:pt x="4054" y="4547"/>
                    <a:pt x="4031" y="4622"/>
                    <a:pt x="4011" y="4682"/>
                  </a:cubicBezTo>
                  <a:cubicBezTo>
                    <a:pt x="3996" y="4724"/>
                    <a:pt x="3983" y="4759"/>
                    <a:pt x="3975" y="4779"/>
                  </a:cubicBezTo>
                  <a:cubicBezTo>
                    <a:pt x="3906" y="4762"/>
                    <a:pt x="3839" y="4746"/>
                    <a:pt x="3777" y="4733"/>
                  </a:cubicBezTo>
                  <a:cubicBezTo>
                    <a:pt x="3784" y="4420"/>
                    <a:pt x="3784" y="4420"/>
                    <a:pt x="3784" y="4420"/>
                  </a:cubicBezTo>
                  <a:cubicBezTo>
                    <a:pt x="3806" y="4424"/>
                    <a:pt x="3930" y="4448"/>
                    <a:pt x="4069" y="4475"/>
                  </a:cubicBezTo>
                  <a:close/>
                  <a:moveTo>
                    <a:pt x="3763" y="4730"/>
                  </a:moveTo>
                  <a:cubicBezTo>
                    <a:pt x="3725" y="4721"/>
                    <a:pt x="3688" y="4714"/>
                    <a:pt x="3654" y="4707"/>
                  </a:cubicBezTo>
                  <a:cubicBezTo>
                    <a:pt x="3612" y="4699"/>
                    <a:pt x="3574" y="4691"/>
                    <a:pt x="3539" y="4684"/>
                  </a:cubicBezTo>
                  <a:cubicBezTo>
                    <a:pt x="3536" y="4653"/>
                    <a:pt x="3536" y="4653"/>
                    <a:pt x="3536" y="4653"/>
                  </a:cubicBezTo>
                  <a:cubicBezTo>
                    <a:pt x="3623" y="4670"/>
                    <a:pt x="3623" y="4670"/>
                    <a:pt x="3623" y="4670"/>
                  </a:cubicBezTo>
                  <a:cubicBezTo>
                    <a:pt x="3639" y="4585"/>
                    <a:pt x="3639" y="4585"/>
                    <a:pt x="3639" y="4585"/>
                  </a:cubicBezTo>
                  <a:cubicBezTo>
                    <a:pt x="3593" y="4576"/>
                    <a:pt x="3593" y="4576"/>
                    <a:pt x="3593" y="4576"/>
                  </a:cubicBezTo>
                  <a:cubicBezTo>
                    <a:pt x="3601" y="4534"/>
                    <a:pt x="3601" y="4534"/>
                    <a:pt x="3601" y="4534"/>
                  </a:cubicBezTo>
                  <a:cubicBezTo>
                    <a:pt x="3523" y="4519"/>
                    <a:pt x="3523" y="4519"/>
                    <a:pt x="3523" y="4519"/>
                  </a:cubicBezTo>
                  <a:cubicBezTo>
                    <a:pt x="3481" y="4093"/>
                    <a:pt x="3481" y="4093"/>
                    <a:pt x="3481" y="4093"/>
                  </a:cubicBezTo>
                  <a:cubicBezTo>
                    <a:pt x="3468" y="4094"/>
                    <a:pt x="3468" y="4094"/>
                    <a:pt x="3468" y="4094"/>
                  </a:cubicBezTo>
                  <a:cubicBezTo>
                    <a:pt x="3508" y="4516"/>
                    <a:pt x="3508" y="4516"/>
                    <a:pt x="3508" y="4516"/>
                  </a:cubicBezTo>
                  <a:cubicBezTo>
                    <a:pt x="3486" y="4512"/>
                    <a:pt x="3486" y="4512"/>
                    <a:pt x="3486" y="4512"/>
                  </a:cubicBezTo>
                  <a:cubicBezTo>
                    <a:pt x="3478" y="4554"/>
                    <a:pt x="3478" y="4554"/>
                    <a:pt x="3478" y="4554"/>
                  </a:cubicBezTo>
                  <a:cubicBezTo>
                    <a:pt x="3432" y="4545"/>
                    <a:pt x="3432" y="4545"/>
                    <a:pt x="3432" y="4545"/>
                  </a:cubicBezTo>
                  <a:cubicBezTo>
                    <a:pt x="3417" y="4623"/>
                    <a:pt x="3417" y="4623"/>
                    <a:pt x="3417" y="4623"/>
                  </a:cubicBezTo>
                  <a:cubicBezTo>
                    <a:pt x="3416" y="4630"/>
                    <a:pt x="3416" y="4630"/>
                    <a:pt x="3416" y="4630"/>
                  </a:cubicBezTo>
                  <a:cubicBezTo>
                    <a:pt x="3521" y="4650"/>
                    <a:pt x="3521" y="4650"/>
                    <a:pt x="3521" y="4650"/>
                  </a:cubicBezTo>
                  <a:cubicBezTo>
                    <a:pt x="3524" y="4681"/>
                    <a:pt x="3524" y="4681"/>
                    <a:pt x="3524" y="4681"/>
                  </a:cubicBezTo>
                  <a:cubicBezTo>
                    <a:pt x="3428" y="4661"/>
                    <a:pt x="3354" y="4645"/>
                    <a:pt x="3286" y="4645"/>
                  </a:cubicBezTo>
                  <a:cubicBezTo>
                    <a:pt x="3281" y="4645"/>
                    <a:pt x="3276" y="4645"/>
                    <a:pt x="3271" y="4645"/>
                  </a:cubicBezTo>
                  <a:cubicBezTo>
                    <a:pt x="3114" y="4135"/>
                    <a:pt x="3114" y="4135"/>
                    <a:pt x="3114" y="4135"/>
                  </a:cubicBezTo>
                  <a:cubicBezTo>
                    <a:pt x="3711" y="4062"/>
                    <a:pt x="3711" y="4062"/>
                    <a:pt x="3711" y="4062"/>
                  </a:cubicBezTo>
                  <a:cubicBezTo>
                    <a:pt x="3777" y="4069"/>
                    <a:pt x="3777" y="4069"/>
                    <a:pt x="3777" y="4069"/>
                  </a:cubicBezTo>
                  <a:lnTo>
                    <a:pt x="3763" y="4730"/>
                  </a:lnTo>
                  <a:close/>
                  <a:moveTo>
                    <a:pt x="3520" y="4637"/>
                  </a:moveTo>
                  <a:cubicBezTo>
                    <a:pt x="3431" y="4619"/>
                    <a:pt x="3431" y="4619"/>
                    <a:pt x="3431" y="4619"/>
                  </a:cubicBezTo>
                  <a:cubicBezTo>
                    <a:pt x="3443" y="4560"/>
                    <a:pt x="3443" y="4560"/>
                    <a:pt x="3443" y="4560"/>
                  </a:cubicBezTo>
                  <a:cubicBezTo>
                    <a:pt x="3489" y="4569"/>
                    <a:pt x="3489" y="4569"/>
                    <a:pt x="3489" y="4569"/>
                  </a:cubicBezTo>
                  <a:cubicBezTo>
                    <a:pt x="3497" y="4527"/>
                    <a:pt x="3497" y="4527"/>
                    <a:pt x="3497" y="4527"/>
                  </a:cubicBezTo>
                  <a:cubicBezTo>
                    <a:pt x="3510" y="4530"/>
                    <a:pt x="3510" y="4530"/>
                    <a:pt x="3510" y="4530"/>
                  </a:cubicBezTo>
                  <a:lnTo>
                    <a:pt x="3520" y="4637"/>
                  </a:lnTo>
                  <a:close/>
                  <a:moveTo>
                    <a:pt x="3256" y="4646"/>
                  </a:moveTo>
                  <a:cubicBezTo>
                    <a:pt x="3219" y="4649"/>
                    <a:pt x="3182" y="4658"/>
                    <a:pt x="3147" y="4675"/>
                  </a:cubicBezTo>
                  <a:cubicBezTo>
                    <a:pt x="3117" y="4689"/>
                    <a:pt x="3093" y="4705"/>
                    <a:pt x="3071" y="4721"/>
                  </a:cubicBezTo>
                  <a:cubicBezTo>
                    <a:pt x="3060" y="4707"/>
                    <a:pt x="3060" y="4707"/>
                    <a:pt x="3060" y="4707"/>
                  </a:cubicBezTo>
                  <a:cubicBezTo>
                    <a:pt x="3131" y="4658"/>
                    <a:pt x="3131" y="4658"/>
                    <a:pt x="3131" y="4658"/>
                  </a:cubicBezTo>
                  <a:cubicBezTo>
                    <a:pt x="3082" y="4587"/>
                    <a:pt x="3082" y="4587"/>
                    <a:pt x="3082" y="4587"/>
                  </a:cubicBezTo>
                  <a:cubicBezTo>
                    <a:pt x="3043" y="4614"/>
                    <a:pt x="3043" y="4614"/>
                    <a:pt x="3043" y="4614"/>
                  </a:cubicBezTo>
                  <a:cubicBezTo>
                    <a:pt x="3019" y="4578"/>
                    <a:pt x="3019" y="4578"/>
                    <a:pt x="3019" y="4578"/>
                  </a:cubicBezTo>
                  <a:cubicBezTo>
                    <a:pt x="2980" y="4605"/>
                    <a:pt x="2980" y="4605"/>
                    <a:pt x="2980" y="4605"/>
                  </a:cubicBezTo>
                  <a:cubicBezTo>
                    <a:pt x="2658" y="4190"/>
                    <a:pt x="2658" y="4190"/>
                    <a:pt x="2658" y="4190"/>
                  </a:cubicBezTo>
                  <a:cubicBezTo>
                    <a:pt x="3100" y="4137"/>
                    <a:pt x="3100" y="4137"/>
                    <a:pt x="3100" y="4137"/>
                  </a:cubicBezTo>
                  <a:lnTo>
                    <a:pt x="3256" y="4646"/>
                  </a:lnTo>
                  <a:close/>
                  <a:moveTo>
                    <a:pt x="2850" y="4460"/>
                  </a:moveTo>
                  <a:cubicBezTo>
                    <a:pt x="2831" y="4483"/>
                    <a:pt x="2654" y="4691"/>
                    <a:pt x="2555" y="4803"/>
                  </a:cubicBezTo>
                  <a:cubicBezTo>
                    <a:pt x="2531" y="4830"/>
                    <a:pt x="2511" y="4852"/>
                    <a:pt x="2500" y="4864"/>
                  </a:cubicBezTo>
                  <a:cubicBezTo>
                    <a:pt x="2457" y="4850"/>
                    <a:pt x="2457" y="4850"/>
                    <a:pt x="2457" y="4850"/>
                  </a:cubicBezTo>
                  <a:cubicBezTo>
                    <a:pt x="2220" y="4678"/>
                    <a:pt x="2220" y="4678"/>
                    <a:pt x="2220" y="4678"/>
                  </a:cubicBezTo>
                  <a:cubicBezTo>
                    <a:pt x="2645" y="4196"/>
                    <a:pt x="2645" y="4196"/>
                    <a:pt x="2645" y="4196"/>
                  </a:cubicBezTo>
                  <a:lnTo>
                    <a:pt x="2850" y="4460"/>
                  </a:lnTo>
                  <a:close/>
                  <a:moveTo>
                    <a:pt x="2401" y="5021"/>
                  </a:moveTo>
                  <a:cubicBezTo>
                    <a:pt x="2425" y="5031"/>
                    <a:pt x="2425" y="5031"/>
                    <a:pt x="2425" y="5031"/>
                  </a:cubicBezTo>
                  <a:cubicBezTo>
                    <a:pt x="2397" y="5084"/>
                    <a:pt x="2397" y="5084"/>
                    <a:pt x="2397" y="5084"/>
                  </a:cubicBezTo>
                  <a:cubicBezTo>
                    <a:pt x="2515" y="5141"/>
                    <a:pt x="2515" y="5141"/>
                    <a:pt x="2515" y="5141"/>
                  </a:cubicBezTo>
                  <a:cubicBezTo>
                    <a:pt x="2546" y="5084"/>
                    <a:pt x="2546" y="5084"/>
                    <a:pt x="2546" y="5084"/>
                  </a:cubicBezTo>
                  <a:cubicBezTo>
                    <a:pt x="2767" y="5179"/>
                    <a:pt x="2767" y="5179"/>
                    <a:pt x="2767" y="5179"/>
                  </a:cubicBezTo>
                  <a:cubicBezTo>
                    <a:pt x="2747" y="5224"/>
                    <a:pt x="2724" y="5275"/>
                    <a:pt x="2700" y="5329"/>
                  </a:cubicBezTo>
                  <a:cubicBezTo>
                    <a:pt x="2452" y="5211"/>
                    <a:pt x="2452" y="5211"/>
                    <a:pt x="2452" y="5211"/>
                  </a:cubicBezTo>
                  <a:cubicBezTo>
                    <a:pt x="2465" y="5185"/>
                    <a:pt x="2465" y="5185"/>
                    <a:pt x="2465" y="5185"/>
                  </a:cubicBezTo>
                  <a:cubicBezTo>
                    <a:pt x="2468" y="5179"/>
                    <a:pt x="2468" y="5179"/>
                    <a:pt x="2468" y="5179"/>
                  </a:cubicBezTo>
                  <a:cubicBezTo>
                    <a:pt x="2349" y="5121"/>
                    <a:pt x="2349" y="5121"/>
                    <a:pt x="2349" y="5121"/>
                  </a:cubicBezTo>
                  <a:cubicBezTo>
                    <a:pt x="2332" y="5154"/>
                    <a:pt x="2332" y="5154"/>
                    <a:pt x="2332" y="5154"/>
                  </a:cubicBezTo>
                  <a:cubicBezTo>
                    <a:pt x="2327" y="5152"/>
                    <a:pt x="2327" y="5152"/>
                    <a:pt x="2327" y="5152"/>
                  </a:cubicBezTo>
                  <a:lnTo>
                    <a:pt x="2401" y="5021"/>
                  </a:lnTo>
                  <a:close/>
                  <a:moveTo>
                    <a:pt x="2337" y="5172"/>
                  </a:moveTo>
                  <a:cubicBezTo>
                    <a:pt x="2434" y="5218"/>
                    <a:pt x="2434" y="5218"/>
                    <a:pt x="2434" y="5218"/>
                  </a:cubicBezTo>
                  <a:cubicBezTo>
                    <a:pt x="2387" y="5311"/>
                    <a:pt x="2387" y="5311"/>
                    <a:pt x="2387" y="5311"/>
                  </a:cubicBezTo>
                  <a:cubicBezTo>
                    <a:pt x="2351" y="5291"/>
                    <a:pt x="2319" y="5273"/>
                    <a:pt x="2294" y="5259"/>
                  </a:cubicBezTo>
                  <a:lnTo>
                    <a:pt x="2337" y="5172"/>
                  </a:lnTo>
                  <a:close/>
                  <a:moveTo>
                    <a:pt x="2283" y="5253"/>
                  </a:moveTo>
                  <a:cubicBezTo>
                    <a:pt x="2280" y="5251"/>
                    <a:pt x="2277" y="5249"/>
                    <a:pt x="2274" y="5248"/>
                  </a:cubicBezTo>
                  <a:cubicBezTo>
                    <a:pt x="2321" y="5164"/>
                    <a:pt x="2321" y="5164"/>
                    <a:pt x="2321" y="5164"/>
                  </a:cubicBezTo>
                  <a:cubicBezTo>
                    <a:pt x="2326" y="5167"/>
                    <a:pt x="2326" y="5167"/>
                    <a:pt x="2326" y="5167"/>
                  </a:cubicBezTo>
                  <a:lnTo>
                    <a:pt x="2283" y="5253"/>
                  </a:lnTo>
                  <a:close/>
                  <a:moveTo>
                    <a:pt x="2277" y="5265"/>
                  </a:moveTo>
                  <a:cubicBezTo>
                    <a:pt x="2230" y="5359"/>
                    <a:pt x="2230" y="5359"/>
                    <a:pt x="2230" y="5359"/>
                  </a:cubicBezTo>
                  <a:cubicBezTo>
                    <a:pt x="2217" y="5349"/>
                    <a:pt x="2217" y="5349"/>
                    <a:pt x="2217" y="5349"/>
                  </a:cubicBezTo>
                  <a:cubicBezTo>
                    <a:pt x="2267" y="5260"/>
                    <a:pt x="2267" y="5260"/>
                    <a:pt x="2267" y="5260"/>
                  </a:cubicBezTo>
                  <a:cubicBezTo>
                    <a:pt x="2270" y="5262"/>
                    <a:pt x="2273" y="5263"/>
                    <a:pt x="2277" y="5265"/>
                  </a:cubicBezTo>
                  <a:close/>
                  <a:moveTo>
                    <a:pt x="2213" y="5222"/>
                  </a:moveTo>
                  <a:cubicBezTo>
                    <a:pt x="2165" y="5195"/>
                    <a:pt x="2165" y="5195"/>
                    <a:pt x="2165" y="5195"/>
                  </a:cubicBezTo>
                  <a:cubicBezTo>
                    <a:pt x="2219" y="5101"/>
                    <a:pt x="2219" y="5101"/>
                    <a:pt x="2219" y="5101"/>
                  </a:cubicBezTo>
                  <a:cubicBezTo>
                    <a:pt x="2266" y="5128"/>
                    <a:pt x="2266" y="5128"/>
                    <a:pt x="2266" y="5128"/>
                  </a:cubicBezTo>
                  <a:lnTo>
                    <a:pt x="2213" y="5222"/>
                  </a:lnTo>
                  <a:close/>
                  <a:moveTo>
                    <a:pt x="2214" y="5082"/>
                  </a:moveTo>
                  <a:cubicBezTo>
                    <a:pt x="2100" y="5017"/>
                    <a:pt x="2100" y="5017"/>
                    <a:pt x="2100" y="5017"/>
                  </a:cubicBezTo>
                  <a:cubicBezTo>
                    <a:pt x="2152" y="4925"/>
                    <a:pt x="2152" y="4925"/>
                    <a:pt x="2152" y="4925"/>
                  </a:cubicBezTo>
                  <a:cubicBezTo>
                    <a:pt x="2267" y="4990"/>
                    <a:pt x="2267" y="4990"/>
                    <a:pt x="2267" y="4990"/>
                  </a:cubicBezTo>
                  <a:lnTo>
                    <a:pt x="2214" y="5082"/>
                  </a:lnTo>
                  <a:close/>
                  <a:moveTo>
                    <a:pt x="2207" y="5094"/>
                  </a:moveTo>
                  <a:cubicBezTo>
                    <a:pt x="2154" y="5189"/>
                    <a:pt x="2154" y="5189"/>
                    <a:pt x="2154" y="5189"/>
                  </a:cubicBezTo>
                  <a:cubicBezTo>
                    <a:pt x="2040" y="5123"/>
                    <a:pt x="2040" y="5123"/>
                    <a:pt x="2040" y="5123"/>
                  </a:cubicBezTo>
                  <a:cubicBezTo>
                    <a:pt x="2093" y="5029"/>
                    <a:pt x="2093" y="5029"/>
                    <a:pt x="2093" y="5029"/>
                  </a:cubicBezTo>
                  <a:lnTo>
                    <a:pt x="2207" y="5094"/>
                  </a:lnTo>
                  <a:close/>
                  <a:moveTo>
                    <a:pt x="2147" y="5201"/>
                  </a:moveTo>
                  <a:cubicBezTo>
                    <a:pt x="2098" y="5287"/>
                    <a:pt x="2098" y="5287"/>
                    <a:pt x="2098" y="5287"/>
                  </a:cubicBezTo>
                  <a:cubicBezTo>
                    <a:pt x="1984" y="5222"/>
                    <a:pt x="1984" y="5222"/>
                    <a:pt x="1984" y="5222"/>
                  </a:cubicBezTo>
                  <a:cubicBezTo>
                    <a:pt x="2033" y="5136"/>
                    <a:pt x="2033" y="5136"/>
                    <a:pt x="2033" y="5136"/>
                  </a:cubicBezTo>
                  <a:lnTo>
                    <a:pt x="2147" y="5201"/>
                  </a:lnTo>
                  <a:close/>
                  <a:moveTo>
                    <a:pt x="1972" y="5216"/>
                  </a:moveTo>
                  <a:cubicBezTo>
                    <a:pt x="1593" y="4999"/>
                    <a:pt x="1593" y="4999"/>
                    <a:pt x="1593" y="4999"/>
                  </a:cubicBezTo>
                  <a:cubicBezTo>
                    <a:pt x="1666" y="4926"/>
                    <a:pt x="1666" y="4926"/>
                    <a:pt x="1666" y="4926"/>
                  </a:cubicBezTo>
                  <a:cubicBezTo>
                    <a:pt x="2022" y="5129"/>
                    <a:pt x="2022" y="5129"/>
                    <a:pt x="2022" y="5129"/>
                  </a:cubicBezTo>
                  <a:lnTo>
                    <a:pt x="1972" y="5216"/>
                  </a:lnTo>
                  <a:close/>
                  <a:moveTo>
                    <a:pt x="1580" y="4992"/>
                  </a:moveTo>
                  <a:cubicBezTo>
                    <a:pt x="1232" y="4793"/>
                    <a:pt x="1232" y="4793"/>
                    <a:pt x="1232" y="4793"/>
                  </a:cubicBezTo>
                  <a:cubicBezTo>
                    <a:pt x="1280" y="4706"/>
                    <a:pt x="1280" y="4706"/>
                    <a:pt x="1280" y="4706"/>
                  </a:cubicBezTo>
                  <a:cubicBezTo>
                    <a:pt x="1653" y="4919"/>
                    <a:pt x="1653" y="4919"/>
                    <a:pt x="1653" y="4919"/>
                  </a:cubicBezTo>
                  <a:lnTo>
                    <a:pt x="1580" y="4992"/>
                  </a:lnTo>
                  <a:close/>
                  <a:moveTo>
                    <a:pt x="1574" y="5004"/>
                  </a:moveTo>
                  <a:cubicBezTo>
                    <a:pt x="1538" y="5106"/>
                    <a:pt x="1538" y="5106"/>
                    <a:pt x="1538" y="5106"/>
                  </a:cubicBezTo>
                  <a:cubicBezTo>
                    <a:pt x="1175" y="4899"/>
                    <a:pt x="1175" y="4899"/>
                    <a:pt x="1175" y="4899"/>
                  </a:cubicBezTo>
                  <a:cubicBezTo>
                    <a:pt x="1226" y="4806"/>
                    <a:pt x="1226" y="4806"/>
                    <a:pt x="1226" y="4806"/>
                  </a:cubicBezTo>
                  <a:lnTo>
                    <a:pt x="1574" y="5004"/>
                  </a:lnTo>
                  <a:close/>
                  <a:moveTo>
                    <a:pt x="1534" y="5119"/>
                  </a:moveTo>
                  <a:cubicBezTo>
                    <a:pt x="1493" y="5237"/>
                    <a:pt x="1493" y="5237"/>
                    <a:pt x="1493" y="5237"/>
                  </a:cubicBezTo>
                  <a:cubicBezTo>
                    <a:pt x="1110" y="5018"/>
                    <a:pt x="1110" y="5018"/>
                    <a:pt x="1110" y="5018"/>
                  </a:cubicBezTo>
                  <a:cubicBezTo>
                    <a:pt x="1169" y="4911"/>
                    <a:pt x="1169" y="4911"/>
                    <a:pt x="1169" y="4911"/>
                  </a:cubicBezTo>
                  <a:lnTo>
                    <a:pt x="1534" y="5119"/>
                  </a:lnTo>
                  <a:close/>
                  <a:moveTo>
                    <a:pt x="1488" y="5250"/>
                  </a:moveTo>
                  <a:cubicBezTo>
                    <a:pt x="1409" y="5341"/>
                    <a:pt x="1409" y="5341"/>
                    <a:pt x="1409" y="5341"/>
                  </a:cubicBezTo>
                  <a:cubicBezTo>
                    <a:pt x="1047" y="5135"/>
                    <a:pt x="1047" y="5135"/>
                    <a:pt x="1047" y="5135"/>
                  </a:cubicBezTo>
                  <a:cubicBezTo>
                    <a:pt x="1103" y="5030"/>
                    <a:pt x="1103" y="5030"/>
                    <a:pt x="1103" y="5030"/>
                  </a:cubicBezTo>
                  <a:lnTo>
                    <a:pt x="1488" y="5250"/>
                  </a:lnTo>
                  <a:close/>
                  <a:moveTo>
                    <a:pt x="1404" y="5355"/>
                  </a:moveTo>
                  <a:cubicBezTo>
                    <a:pt x="1374" y="5463"/>
                    <a:pt x="1374" y="5463"/>
                    <a:pt x="1374" y="5463"/>
                  </a:cubicBezTo>
                  <a:cubicBezTo>
                    <a:pt x="988" y="5243"/>
                    <a:pt x="988" y="5243"/>
                    <a:pt x="988" y="5243"/>
                  </a:cubicBezTo>
                  <a:cubicBezTo>
                    <a:pt x="1040" y="5147"/>
                    <a:pt x="1040" y="5147"/>
                    <a:pt x="1040" y="5147"/>
                  </a:cubicBezTo>
                  <a:lnTo>
                    <a:pt x="1404" y="5355"/>
                  </a:lnTo>
                  <a:close/>
                  <a:moveTo>
                    <a:pt x="1370" y="5477"/>
                  </a:moveTo>
                  <a:cubicBezTo>
                    <a:pt x="1333" y="5611"/>
                    <a:pt x="1333" y="5611"/>
                    <a:pt x="1333" y="5611"/>
                  </a:cubicBezTo>
                  <a:cubicBezTo>
                    <a:pt x="917" y="5373"/>
                    <a:pt x="917" y="5373"/>
                    <a:pt x="917" y="5373"/>
                  </a:cubicBezTo>
                  <a:cubicBezTo>
                    <a:pt x="981" y="5255"/>
                    <a:pt x="981" y="5255"/>
                    <a:pt x="981" y="5255"/>
                  </a:cubicBezTo>
                  <a:lnTo>
                    <a:pt x="1370" y="5477"/>
                  </a:lnTo>
                  <a:close/>
                  <a:moveTo>
                    <a:pt x="1322" y="5620"/>
                  </a:moveTo>
                  <a:cubicBezTo>
                    <a:pt x="1212" y="5683"/>
                    <a:pt x="1212" y="5683"/>
                    <a:pt x="1212" y="5683"/>
                  </a:cubicBezTo>
                  <a:cubicBezTo>
                    <a:pt x="858" y="5481"/>
                    <a:pt x="858" y="5481"/>
                    <a:pt x="858" y="5481"/>
                  </a:cubicBezTo>
                  <a:cubicBezTo>
                    <a:pt x="910" y="5386"/>
                    <a:pt x="910" y="5386"/>
                    <a:pt x="910" y="5386"/>
                  </a:cubicBezTo>
                  <a:lnTo>
                    <a:pt x="1322" y="5620"/>
                  </a:lnTo>
                  <a:close/>
                  <a:moveTo>
                    <a:pt x="1198" y="5691"/>
                  </a:moveTo>
                  <a:cubicBezTo>
                    <a:pt x="1187" y="5697"/>
                    <a:pt x="1187" y="5697"/>
                    <a:pt x="1187" y="5697"/>
                  </a:cubicBezTo>
                  <a:cubicBezTo>
                    <a:pt x="1153" y="5805"/>
                    <a:pt x="1153" y="5805"/>
                    <a:pt x="1153" y="5805"/>
                  </a:cubicBezTo>
                  <a:cubicBezTo>
                    <a:pt x="794" y="5600"/>
                    <a:pt x="794" y="5600"/>
                    <a:pt x="794" y="5600"/>
                  </a:cubicBezTo>
                  <a:cubicBezTo>
                    <a:pt x="852" y="5493"/>
                    <a:pt x="852" y="5493"/>
                    <a:pt x="852" y="5493"/>
                  </a:cubicBezTo>
                  <a:lnTo>
                    <a:pt x="1198" y="5691"/>
                  </a:lnTo>
                  <a:close/>
                  <a:moveTo>
                    <a:pt x="1148" y="5818"/>
                  </a:moveTo>
                  <a:cubicBezTo>
                    <a:pt x="1115" y="5921"/>
                    <a:pt x="1115" y="5921"/>
                    <a:pt x="1115" y="5921"/>
                  </a:cubicBezTo>
                  <a:cubicBezTo>
                    <a:pt x="736" y="5705"/>
                    <a:pt x="736" y="5705"/>
                    <a:pt x="736" y="5705"/>
                  </a:cubicBezTo>
                  <a:cubicBezTo>
                    <a:pt x="787" y="5612"/>
                    <a:pt x="787" y="5612"/>
                    <a:pt x="787" y="5612"/>
                  </a:cubicBezTo>
                  <a:lnTo>
                    <a:pt x="1148" y="5818"/>
                  </a:lnTo>
                  <a:close/>
                  <a:moveTo>
                    <a:pt x="1111" y="5935"/>
                  </a:moveTo>
                  <a:cubicBezTo>
                    <a:pt x="1075" y="6046"/>
                    <a:pt x="1075" y="6046"/>
                    <a:pt x="1075" y="6046"/>
                  </a:cubicBezTo>
                  <a:cubicBezTo>
                    <a:pt x="1067" y="6050"/>
                    <a:pt x="1067" y="6050"/>
                    <a:pt x="1067" y="6050"/>
                  </a:cubicBezTo>
                  <a:cubicBezTo>
                    <a:pt x="671" y="5824"/>
                    <a:pt x="671" y="5824"/>
                    <a:pt x="671" y="5824"/>
                  </a:cubicBezTo>
                  <a:cubicBezTo>
                    <a:pt x="730" y="5717"/>
                    <a:pt x="730" y="5717"/>
                    <a:pt x="730" y="5717"/>
                  </a:cubicBezTo>
                  <a:lnTo>
                    <a:pt x="1111" y="5935"/>
                  </a:lnTo>
                  <a:close/>
                  <a:moveTo>
                    <a:pt x="1054" y="6059"/>
                  </a:moveTo>
                  <a:cubicBezTo>
                    <a:pt x="946" y="6125"/>
                    <a:pt x="946" y="6125"/>
                    <a:pt x="946" y="6125"/>
                  </a:cubicBezTo>
                  <a:cubicBezTo>
                    <a:pt x="943" y="6132"/>
                    <a:pt x="943" y="6132"/>
                    <a:pt x="943" y="6132"/>
                  </a:cubicBezTo>
                  <a:cubicBezTo>
                    <a:pt x="608" y="5941"/>
                    <a:pt x="608" y="5941"/>
                    <a:pt x="608" y="5941"/>
                  </a:cubicBezTo>
                  <a:cubicBezTo>
                    <a:pt x="665" y="5837"/>
                    <a:pt x="665" y="5837"/>
                    <a:pt x="665" y="5837"/>
                  </a:cubicBezTo>
                  <a:lnTo>
                    <a:pt x="1054" y="6059"/>
                  </a:lnTo>
                  <a:close/>
                  <a:moveTo>
                    <a:pt x="950" y="6152"/>
                  </a:moveTo>
                  <a:cubicBezTo>
                    <a:pt x="1321" y="6364"/>
                    <a:pt x="1321" y="6364"/>
                    <a:pt x="1321" y="6364"/>
                  </a:cubicBezTo>
                  <a:cubicBezTo>
                    <a:pt x="1267" y="6459"/>
                    <a:pt x="1267" y="6459"/>
                    <a:pt x="1267" y="6459"/>
                  </a:cubicBezTo>
                  <a:cubicBezTo>
                    <a:pt x="907" y="6253"/>
                    <a:pt x="907" y="6253"/>
                    <a:pt x="907" y="6253"/>
                  </a:cubicBezTo>
                  <a:lnTo>
                    <a:pt x="950" y="6152"/>
                  </a:lnTo>
                  <a:close/>
                  <a:moveTo>
                    <a:pt x="1271" y="6478"/>
                  </a:moveTo>
                  <a:cubicBezTo>
                    <a:pt x="1385" y="6543"/>
                    <a:pt x="1385" y="6543"/>
                    <a:pt x="1385" y="6543"/>
                  </a:cubicBezTo>
                  <a:cubicBezTo>
                    <a:pt x="1353" y="6599"/>
                    <a:pt x="1353" y="6599"/>
                    <a:pt x="1353" y="6599"/>
                  </a:cubicBezTo>
                  <a:cubicBezTo>
                    <a:pt x="1239" y="6534"/>
                    <a:pt x="1239" y="6534"/>
                    <a:pt x="1239" y="6534"/>
                  </a:cubicBezTo>
                  <a:lnTo>
                    <a:pt x="1271" y="6478"/>
                  </a:lnTo>
                  <a:close/>
                  <a:moveTo>
                    <a:pt x="1278" y="6465"/>
                  </a:moveTo>
                  <a:cubicBezTo>
                    <a:pt x="1332" y="6370"/>
                    <a:pt x="1332" y="6370"/>
                    <a:pt x="1332" y="6370"/>
                  </a:cubicBezTo>
                  <a:cubicBezTo>
                    <a:pt x="1446" y="6435"/>
                    <a:pt x="1446" y="6435"/>
                    <a:pt x="1446" y="6435"/>
                  </a:cubicBezTo>
                  <a:cubicBezTo>
                    <a:pt x="1392" y="6530"/>
                    <a:pt x="1392" y="6530"/>
                    <a:pt x="1392" y="6530"/>
                  </a:cubicBezTo>
                  <a:lnTo>
                    <a:pt x="1278" y="6465"/>
                  </a:lnTo>
                  <a:close/>
                  <a:moveTo>
                    <a:pt x="1458" y="6442"/>
                  </a:moveTo>
                  <a:cubicBezTo>
                    <a:pt x="1513" y="6473"/>
                    <a:pt x="1513" y="6473"/>
                    <a:pt x="1513" y="6473"/>
                  </a:cubicBezTo>
                  <a:cubicBezTo>
                    <a:pt x="1459" y="6569"/>
                    <a:pt x="1459" y="6569"/>
                    <a:pt x="1459" y="6569"/>
                  </a:cubicBezTo>
                  <a:cubicBezTo>
                    <a:pt x="1404" y="6537"/>
                    <a:pt x="1404" y="6537"/>
                    <a:pt x="1404" y="6537"/>
                  </a:cubicBezTo>
                  <a:lnTo>
                    <a:pt x="1458" y="6442"/>
                  </a:lnTo>
                  <a:close/>
                  <a:moveTo>
                    <a:pt x="1429" y="7189"/>
                  </a:moveTo>
                  <a:cubicBezTo>
                    <a:pt x="1423" y="7180"/>
                    <a:pt x="1423" y="7180"/>
                    <a:pt x="1423" y="7180"/>
                  </a:cubicBezTo>
                  <a:cubicBezTo>
                    <a:pt x="1424" y="7180"/>
                    <a:pt x="1424" y="7180"/>
                    <a:pt x="1424" y="7180"/>
                  </a:cubicBezTo>
                  <a:cubicBezTo>
                    <a:pt x="1414" y="7165"/>
                    <a:pt x="1414" y="7165"/>
                    <a:pt x="1414" y="7165"/>
                  </a:cubicBezTo>
                  <a:cubicBezTo>
                    <a:pt x="1535" y="7162"/>
                    <a:pt x="1535" y="7162"/>
                    <a:pt x="1535" y="7162"/>
                  </a:cubicBezTo>
                  <a:cubicBezTo>
                    <a:pt x="1548" y="7167"/>
                    <a:pt x="1646" y="7204"/>
                    <a:pt x="1713" y="7230"/>
                  </a:cubicBezTo>
                  <a:cubicBezTo>
                    <a:pt x="1710" y="7235"/>
                    <a:pt x="1707" y="7240"/>
                    <a:pt x="1703" y="7245"/>
                  </a:cubicBezTo>
                  <a:cubicBezTo>
                    <a:pt x="1687" y="7268"/>
                    <a:pt x="1687" y="7268"/>
                    <a:pt x="1687" y="7268"/>
                  </a:cubicBezTo>
                  <a:cubicBezTo>
                    <a:pt x="1687" y="7267"/>
                    <a:pt x="1687" y="7267"/>
                    <a:pt x="1687" y="7267"/>
                  </a:cubicBezTo>
                  <a:cubicBezTo>
                    <a:pt x="1661" y="7304"/>
                    <a:pt x="1639" y="7334"/>
                    <a:pt x="1634" y="7339"/>
                  </a:cubicBezTo>
                  <a:cubicBezTo>
                    <a:pt x="1636" y="7340"/>
                    <a:pt x="1636" y="7340"/>
                    <a:pt x="1636" y="7340"/>
                  </a:cubicBezTo>
                  <a:cubicBezTo>
                    <a:pt x="1636" y="7341"/>
                    <a:pt x="1636" y="7341"/>
                    <a:pt x="1636" y="7341"/>
                  </a:cubicBezTo>
                  <a:cubicBezTo>
                    <a:pt x="1564" y="7444"/>
                    <a:pt x="1564" y="7444"/>
                    <a:pt x="1564" y="7444"/>
                  </a:cubicBezTo>
                  <a:cubicBezTo>
                    <a:pt x="1562" y="7444"/>
                    <a:pt x="1561" y="7443"/>
                    <a:pt x="1559" y="7442"/>
                  </a:cubicBezTo>
                  <a:cubicBezTo>
                    <a:pt x="1554" y="7439"/>
                    <a:pt x="1546" y="7435"/>
                    <a:pt x="1538" y="7429"/>
                  </a:cubicBezTo>
                  <a:cubicBezTo>
                    <a:pt x="1520" y="7419"/>
                    <a:pt x="1497" y="7404"/>
                    <a:pt x="1474" y="7390"/>
                  </a:cubicBezTo>
                  <a:cubicBezTo>
                    <a:pt x="1444" y="7371"/>
                    <a:pt x="1414" y="7351"/>
                    <a:pt x="1398" y="7341"/>
                  </a:cubicBezTo>
                  <a:lnTo>
                    <a:pt x="1429" y="7189"/>
                  </a:lnTo>
                  <a:close/>
                  <a:moveTo>
                    <a:pt x="1694" y="7370"/>
                  </a:moveTo>
                  <a:cubicBezTo>
                    <a:pt x="1696" y="7371"/>
                    <a:pt x="1697" y="7374"/>
                    <a:pt x="1700" y="7377"/>
                  </a:cubicBezTo>
                  <a:cubicBezTo>
                    <a:pt x="1704" y="7383"/>
                    <a:pt x="1711" y="7391"/>
                    <a:pt x="1719" y="7401"/>
                  </a:cubicBezTo>
                  <a:cubicBezTo>
                    <a:pt x="1735" y="7421"/>
                    <a:pt x="1756" y="7447"/>
                    <a:pt x="1777" y="7473"/>
                  </a:cubicBezTo>
                  <a:cubicBezTo>
                    <a:pt x="1813" y="7518"/>
                    <a:pt x="1850" y="7562"/>
                    <a:pt x="1859" y="7574"/>
                  </a:cubicBezTo>
                  <a:cubicBezTo>
                    <a:pt x="1857" y="7588"/>
                    <a:pt x="1850" y="7649"/>
                    <a:pt x="1843" y="7713"/>
                  </a:cubicBezTo>
                  <a:cubicBezTo>
                    <a:pt x="1841" y="7730"/>
                    <a:pt x="1838" y="7748"/>
                    <a:pt x="1836" y="7765"/>
                  </a:cubicBezTo>
                  <a:cubicBezTo>
                    <a:pt x="1814" y="7764"/>
                    <a:pt x="1620" y="7756"/>
                    <a:pt x="1587" y="7755"/>
                  </a:cubicBezTo>
                  <a:cubicBezTo>
                    <a:pt x="1586" y="7754"/>
                    <a:pt x="1586" y="7753"/>
                    <a:pt x="1585" y="7752"/>
                  </a:cubicBezTo>
                  <a:cubicBezTo>
                    <a:pt x="1582" y="7749"/>
                    <a:pt x="1578" y="7744"/>
                    <a:pt x="1573" y="7738"/>
                  </a:cubicBezTo>
                  <a:cubicBezTo>
                    <a:pt x="1564" y="7727"/>
                    <a:pt x="1551" y="7712"/>
                    <a:pt x="1539" y="7697"/>
                  </a:cubicBezTo>
                  <a:cubicBezTo>
                    <a:pt x="1523" y="7678"/>
                    <a:pt x="1507" y="7660"/>
                    <a:pt x="1498" y="7649"/>
                  </a:cubicBezTo>
                  <a:lnTo>
                    <a:pt x="1694" y="7370"/>
                  </a:lnTo>
                  <a:close/>
                  <a:moveTo>
                    <a:pt x="1524" y="7705"/>
                  </a:moveTo>
                  <a:cubicBezTo>
                    <a:pt x="1546" y="7731"/>
                    <a:pt x="1569" y="7758"/>
                    <a:pt x="1574" y="7765"/>
                  </a:cubicBezTo>
                  <a:cubicBezTo>
                    <a:pt x="1574" y="7770"/>
                    <a:pt x="1574" y="7770"/>
                    <a:pt x="1574" y="7770"/>
                  </a:cubicBezTo>
                  <a:cubicBezTo>
                    <a:pt x="1580" y="7772"/>
                    <a:pt x="1580" y="7772"/>
                    <a:pt x="1580" y="7772"/>
                  </a:cubicBezTo>
                  <a:cubicBezTo>
                    <a:pt x="1582" y="7772"/>
                    <a:pt x="1583" y="7772"/>
                    <a:pt x="1583" y="7772"/>
                  </a:cubicBezTo>
                  <a:cubicBezTo>
                    <a:pt x="1583" y="7772"/>
                    <a:pt x="1584" y="7772"/>
                    <a:pt x="1584" y="7772"/>
                  </a:cubicBezTo>
                  <a:cubicBezTo>
                    <a:pt x="1584" y="7772"/>
                    <a:pt x="1584" y="7772"/>
                    <a:pt x="1584" y="7772"/>
                  </a:cubicBezTo>
                  <a:cubicBezTo>
                    <a:pt x="1606" y="7772"/>
                    <a:pt x="1806" y="7780"/>
                    <a:pt x="1834" y="7781"/>
                  </a:cubicBezTo>
                  <a:cubicBezTo>
                    <a:pt x="1829" y="7826"/>
                    <a:pt x="1824" y="7863"/>
                    <a:pt x="1821" y="7872"/>
                  </a:cubicBezTo>
                  <a:cubicBezTo>
                    <a:pt x="1812" y="7880"/>
                    <a:pt x="1745" y="7933"/>
                    <a:pt x="1675" y="7989"/>
                  </a:cubicBezTo>
                  <a:cubicBezTo>
                    <a:pt x="1616" y="8037"/>
                    <a:pt x="1556" y="8085"/>
                    <a:pt x="1528" y="8110"/>
                  </a:cubicBezTo>
                  <a:cubicBezTo>
                    <a:pt x="1338" y="7875"/>
                    <a:pt x="1338" y="7875"/>
                    <a:pt x="1338" y="7875"/>
                  </a:cubicBezTo>
                  <a:cubicBezTo>
                    <a:pt x="1488" y="7663"/>
                    <a:pt x="1488" y="7663"/>
                    <a:pt x="1488" y="7663"/>
                  </a:cubicBezTo>
                  <a:cubicBezTo>
                    <a:pt x="1497" y="7673"/>
                    <a:pt x="1510" y="7689"/>
                    <a:pt x="1524" y="7705"/>
                  </a:cubicBezTo>
                  <a:close/>
                  <a:moveTo>
                    <a:pt x="1628" y="8306"/>
                  </a:moveTo>
                  <a:cubicBezTo>
                    <a:pt x="1613" y="8332"/>
                    <a:pt x="1578" y="8392"/>
                    <a:pt x="1537" y="8461"/>
                  </a:cubicBezTo>
                  <a:cubicBezTo>
                    <a:pt x="1327" y="8306"/>
                    <a:pt x="1327" y="8306"/>
                    <a:pt x="1327" y="8306"/>
                  </a:cubicBezTo>
                  <a:cubicBezTo>
                    <a:pt x="1345" y="8162"/>
                    <a:pt x="1345" y="8162"/>
                    <a:pt x="1345" y="8162"/>
                  </a:cubicBezTo>
                  <a:cubicBezTo>
                    <a:pt x="1222" y="7977"/>
                    <a:pt x="1222" y="7977"/>
                    <a:pt x="1222" y="7977"/>
                  </a:cubicBezTo>
                  <a:cubicBezTo>
                    <a:pt x="1307" y="7908"/>
                    <a:pt x="1307" y="7908"/>
                    <a:pt x="1307" y="7908"/>
                  </a:cubicBezTo>
                  <a:lnTo>
                    <a:pt x="1628" y="8306"/>
                  </a:lnTo>
                  <a:close/>
                  <a:moveTo>
                    <a:pt x="1328" y="8166"/>
                  </a:moveTo>
                  <a:cubicBezTo>
                    <a:pt x="1311" y="8302"/>
                    <a:pt x="1311" y="8302"/>
                    <a:pt x="1311" y="8302"/>
                  </a:cubicBezTo>
                  <a:cubicBezTo>
                    <a:pt x="1091" y="8314"/>
                    <a:pt x="1091" y="8314"/>
                    <a:pt x="1091" y="8314"/>
                  </a:cubicBezTo>
                  <a:cubicBezTo>
                    <a:pt x="1091" y="8263"/>
                    <a:pt x="1097" y="8105"/>
                    <a:pt x="1097" y="8077"/>
                  </a:cubicBezTo>
                  <a:cubicBezTo>
                    <a:pt x="1209" y="7987"/>
                    <a:pt x="1209" y="7987"/>
                    <a:pt x="1209" y="7987"/>
                  </a:cubicBezTo>
                  <a:lnTo>
                    <a:pt x="1328" y="8166"/>
                  </a:lnTo>
                  <a:close/>
                  <a:moveTo>
                    <a:pt x="1167" y="8623"/>
                  </a:moveTo>
                  <a:cubicBezTo>
                    <a:pt x="1235" y="8675"/>
                    <a:pt x="1306" y="8729"/>
                    <a:pt x="1358" y="8769"/>
                  </a:cubicBezTo>
                  <a:cubicBezTo>
                    <a:pt x="1356" y="8772"/>
                    <a:pt x="1354" y="8776"/>
                    <a:pt x="1353" y="8778"/>
                  </a:cubicBezTo>
                  <a:cubicBezTo>
                    <a:pt x="1347" y="8785"/>
                    <a:pt x="1347" y="8785"/>
                    <a:pt x="1347" y="8785"/>
                  </a:cubicBezTo>
                  <a:cubicBezTo>
                    <a:pt x="1343" y="8789"/>
                    <a:pt x="1337" y="8794"/>
                    <a:pt x="1331" y="8800"/>
                  </a:cubicBezTo>
                  <a:cubicBezTo>
                    <a:pt x="1316" y="8813"/>
                    <a:pt x="1296" y="8833"/>
                    <a:pt x="1272" y="8856"/>
                  </a:cubicBezTo>
                  <a:cubicBezTo>
                    <a:pt x="1253" y="8873"/>
                    <a:pt x="1233" y="8893"/>
                    <a:pt x="1211" y="8913"/>
                  </a:cubicBezTo>
                  <a:cubicBezTo>
                    <a:pt x="1195" y="8894"/>
                    <a:pt x="1137" y="8824"/>
                    <a:pt x="1078" y="8751"/>
                  </a:cubicBezTo>
                  <a:cubicBezTo>
                    <a:pt x="1014" y="8673"/>
                    <a:pt x="949" y="8593"/>
                    <a:pt x="935" y="8575"/>
                  </a:cubicBezTo>
                  <a:cubicBezTo>
                    <a:pt x="943" y="8563"/>
                    <a:pt x="965" y="8529"/>
                    <a:pt x="991" y="8489"/>
                  </a:cubicBezTo>
                  <a:cubicBezTo>
                    <a:pt x="1011" y="8504"/>
                    <a:pt x="1088" y="8563"/>
                    <a:pt x="1167" y="8623"/>
                  </a:cubicBezTo>
                  <a:close/>
                  <a:moveTo>
                    <a:pt x="1382" y="8814"/>
                  </a:moveTo>
                  <a:cubicBezTo>
                    <a:pt x="1382" y="8813"/>
                    <a:pt x="1382" y="8813"/>
                    <a:pt x="1382" y="8813"/>
                  </a:cubicBezTo>
                  <a:cubicBezTo>
                    <a:pt x="1383" y="8813"/>
                    <a:pt x="1384" y="8812"/>
                    <a:pt x="1385" y="8811"/>
                  </a:cubicBezTo>
                  <a:cubicBezTo>
                    <a:pt x="1386" y="8810"/>
                    <a:pt x="1386" y="8810"/>
                    <a:pt x="1387" y="8809"/>
                  </a:cubicBezTo>
                  <a:cubicBezTo>
                    <a:pt x="1387" y="8809"/>
                    <a:pt x="1387" y="8808"/>
                    <a:pt x="1388" y="8808"/>
                  </a:cubicBezTo>
                  <a:cubicBezTo>
                    <a:pt x="1388" y="8807"/>
                    <a:pt x="1388" y="8807"/>
                    <a:pt x="1388" y="8807"/>
                  </a:cubicBezTo>
                  <a:cubicBezTo>
                    <a:pt x="1388" y="8807"/>
                    <a:pt x="1388" y="8807"/>
                    <a:pt x="1389" y="8807"/>
                  </a:cubicBezTo>
                  <a:cubicBezTo>
                    <a:pt x="1389" y="8806"/>
                    <a:pt x="1389" y="8806"/>
                    <a:pt x="1389" y="8806"/>
                  </a:cubicBezTo>
                  <a:cubicBezTo>
                    <a:pt x="1389" y="8806"/>
                    <a:pt x="1389" y="8805"/>
                    <a:pt x="1389" y="8805"/>
                  </a:cubicBezTo>
                  <a:cubicBezTo>
                    <a:pt x="1390" y="8804"/>
                    <a:pt x="1391" y="8803"/>
                    <a:pt x="1392" y="8801"/>
                  </a:cubicBezTo>
                  <a:cubicBezTo>
                    <a:pt x="1394" y="8797"/>
                    <a:pt x="1397" y="8792"/>
                    <a:pt x="1401" y="8785"/>
                  </a:cubicBezTo>
                  <a:cubicBezTo>
                    <a:pt x="1409" y="8772"/>
                    <a:pt x="1420" y="8753"/>
                    <a:pt x="1433" y="8730"/>
                  </a:cubicBezTo>
                  <a:cubicBezTo>
                    <a:pt x="1446" y="8708"/>
                    <a:pt x="1461" y="8683"/>
                    <a:pt x="1476" y="8656"/>
                  </a:cubicBezTo>
                  <a:cubicBezTo>
                    <a:pt x="1478" y="8659"/>
                    <a:pt x="1479" y="8663"/>
                    <a:pt x="1481" y="8667"/>
                  </a:cubicBezTo>
                  <a:cubicBezTo>
                    <a:pt x="1489" y="8683"/>
                    <a:pt x="1499" y="8706"/>
                    <a:pt x="1512" y="8734"/>
                  </a:cubicBezTo>
                  <a:cubicBezTo>
                    <a:pt x="1535" y="8784"/>
                    <a:pt x="1565" y="8849"/>
                    <a:pt x="1596" y="8916"/>
                  </a:cubicBezTo>
                  <a:cubicBezTo>
                    <a:pt x="1045" y="9259"/>
                    <a:pt x="1045" y="9259"/>
                    <a:pt x="1045" y="9259"/>
                  </a:cubicBezTo>
                  <a:cubicBezTo>
                    <a:pt x="1048" y="9266"/>
                    <a:pt x="1048" y="9266"/>
                    <a:pt x="1048" y="9266"/>
                  </a:cubicBezTo>
                  <a:cubicBezTo>
                    <a:pt x="1048" y="9266"/>
                    <a:pt x="1066" y="9306"/>
                    <a:pt x="1088" y="9356"/>
                  </a:cubicBezTo>
                  <a:cubicBezTo>
                    <a:pt x="1079" y="9360"/>
                    <a:pt x="1079" y="9360"/>
                    <a:pt x="1079" y="9360"/>
                  </a:cubicBezTo>
                  <a:cubicBezTo>
                    <a:pt x="1150" y="9500"/>
                    <a:pt x="1150" y="9500"/>
                    <a:pt x="1150" y="9500"/>
                  </a:cubicBezTo>
                  <a:cubicBezTo>
                    <a:pt x="1152" y="9499"/>
                    <a:pt x="1152" y="9499"/>
                    <a:pt x="1152" y="9499"/>
                  </a:cubicBezTo>
                  <a:cubicBezTo>
                    <a:pt x="1156" y="9507"/>
                    <a:pt x="1160" y="9515"/>
                    <a:pt x="1163" y="9520"/>
                  </a:cubicBezTo>
                  <a:cubicBezTo>
                    <a:pt x="1164" y="9523"/>
                    <a:pt x="1165" y="9525"/>
                    <a:pt x="1166" y="9528"/>
                  </a:cubicBezTo>
                  <a:cubicBezTo>
                    <a:pt x="1085" y="9571"/>
                    <a:pt x="1085" y="9571"/>
                    <a:pt x="1085" y="9571"/>
                  </a:cubicBezTo>
                  <a:cubicBezTo>
                    <a:pt x="1079" y="9551"/>
                    <a:pt x="1067" y="9514"/>
                    <a:pt x="1050" y="9473"/>
                  </a:cubicBezTo>
                  <a:cubicBezTo>
                    <a:pt x="1024" y="9413"/>
                    <a:pt x="992" y="9345"/>
                    <a:pt x="938" y="9310"/>
                  </a:cubicBezTo>
                  <a:cubicBezTo>
                    <a:pt x="919" y="9299"/>
                    <a:pt x="901" y="9292"/>
                    <a:pt x="883" y="9287"/>
                  </a:cubicBezTo>
                  <a:cubicBezTo>
                    <a:pt x="923" y="9249"/>
                    <a:pt x="1017" y="9159"/>
                    <a:pt x="1114" y="9068"/>
                  </a:cubicBezTo>
                  <a:cubicBezTo>
                    <a:pt x="1237" y="8950"/>
                    <a:pt x="1365" y="8829"/>
                    <a:pt x="1382" y="8814"/>
                  </a:cubicBezTo>
                  <a:close/>
                  <a:moveTo>
                    <a:pt x="1161" y="9478"/>
                  </a:moveTo>
                  <a:cubicBezTo>
                    <a:pt x="1150" y="9454"/>
                    <a:pt x="1136" y="9424"/>
                    <a:pt x="1123" y="9393"/>
                  </a:cubicBezTo>
                  <a:cubicBezTo>
                    <a:pt x="1118" y="9383"/>
                    <a:pt x="1113" y="9372"/>
                    <a:pt x="1108" y="9361"/>
                  </a:cubicBezTo>
                  <a:cubicBezTo>
                    <a:pt x="1197" y="9319"/>
                    <a:pt x="1197" y="9319"/>
                    <a:pt x="1197" y="9319"/>
                  </a:cubicBezTo>
                  <a:cubicBezTo>
                    <a:pt x="1245" y="9419"/>
                    <a:pt x="1245" y="9419"/>
                    <a:pt x="1245" y="9419"/>
                  </a:cubicBezTo>
                  <a:cubicBezTo>
                    <a:pt x="1245" y="9419"/>
                    <a:pt x="1245" y="9419"/>
                    <a:pt x="1245" y="9419"/>
                  </a:cubicBezTo>
                  <a:cubicBezTo>
                    <a:pt x="1248" y="9429"/>
                    <a:pt x="1248" y="9429"/>
                    <a:pt x="1248" y="9429"/>
                  </a:cubicBezTo>
                  <a:cubicBezTo>
                    <a:pt x="1249" y="9432"/>
                    <a:pt x="1249" y="9432"/>
                    <a:pt x="1249" y="9432"/>
                  </a:cubicBezTo>
                  <a:lnTo>
                    <a:pt x="1161" y="9478"/>
                  </a:lnTo>
                  <a:close/>
                  <a:moveTo>
                    <a:pt x="1258" y="9444"/>
                  </a:moveTo>
                  <a:cubicBezTo>
                    <a:pt x="1271" y="9471"/>
                    <a:pt x="1271" y="9471"/>
                    <a:pt x="1271" y="9471"/>
                  </a:cubicBezTo>
                  <a:cubicBezTo>
                    <a:pt x="1181" y="9520"/>
                    <a:pt x="1181" y="9520"/>
                    <a:pt x="1181" y="9520"/>
                  </a:cubicBezTo>
                  <a:cubicBezTo>
                    <a:pt x="1180" y="9518"/>
                    <a:pt x="1180" y="9517"/>
                    <a:pt x="1179" y="9516"/>
                  </a:cubicBezTo>
                  <a:cubicBezTo>
                    <a:pt x="1176" y="9510"/>
                    <a:pt x="1172" y="9501"/>
                    <a:pt x="1167" y="9491"/>
                  </a:cubicBezTo>
                  <a:lnTo>
                    <a:pt x="1258" y="9444"/>
                  </a:lnTo>
                  <a:close/>
                  <a:moveTo>
                    <a:pt x="1266" y="9424"/>
                  </a:moveTo>
                  <a:cubicBezTo>
                    <a:pt x="1364" y="9374"/>
                    <a:pt x="1364" y="9374"/>
                    <a:pt x="1364" y="9374"/>
                  </a:cubicBezTo>
                  <a:cubicBezTo>
                    <a:pt x="1381" y="9412"/>
                    <a:pt x="1381" y="9412"/>
                    <a:pt x="1381" y="9412"/>
                  </a:cubicBezTo>
                  <a:cubicBezTo>
                    <a:pt x="1286" y="9464"/>
                    <a:pt x="1286" y="9464"/>
                    <a:pt x="1286" y="9464"/>
                  </a:cubicBezTo>
                  <a:lnTo>
                    <a:pt x="1266" y="9424"/>
                  </a:lnTo>
                  <a:close/>
                  <a:moveTo>
                    <a:pt x="1373" y="9353"/>
                  </a:moveTo>
                  <a:cubicBezTo>
                    <a:pt x="1483" y="9300"/>
                    <a:pt x="1483" y="9300"/>
                    <a:pt x="1483" y="9300"/>
                  </a:cubicBezTo>
                  <a:cubicBezTo>
                    <a:pt x="1504" y="9346"/>
                    <a:pt x="1504" y="9346"/>
                    <a:pt x="1504" y="9346"/>
                  </a:cubicBezTo>
                  <a:cubicBezTo>
                    <a:pt x="1396" y="9404"/>
                    <a:pt x="1396" y="9404"/>
                    <a:pt x="1396" y="9404"/>
                  </a:cubicBezTo>
                  <a:lnTo>
                    <a:pt x="1373" y="9353"/>
                  </a:lnTo>
                  <a:close/>
                  <a:moveTo>
                    <a:pt x="1493" y="9283"/>
                  </a:moveTo>
                  <a:cubicBezTo>
                    <a:pt x="1492" y="9277"/>
                    <a:pt x="1492" y="9277"/>
                    <a:pt x="1492" y="9277"/>
                  </a:cubicBezTo>
                  <a:cubicBezTo>
                    <a:pt x="1604" y="9223"/>
                    <a:pt x="1604" y="9223"/>
                    <a:pt x="1604" y="9223"/>
                  </a:cubicBezTo>
                  <a:cubicBezTo>
                    <a:pt x="1629" y="9278"/>
                    <a:pt x="1629" y="9278"/>
                    <a:pt x="1629" y="9278"/>
                  </a:cubicBezTo>
                  <a:cubicBezTo>
                    <a:pt x="1519" y="9338"/>
                    <a:pt x="1519" y="9338"/>
                    <a:pt x="1519" y="9338"/>
                  </a:cubicBezTo>
                  <a:lnTo>
                    <a:pt x="1493" y="9283"/>
                  </a:lnTo>
                  <a:close/>
                  <a:moveTo>
                    <a:pt x="1611" y="9201"/>
                  </a:moveTo>
                  <a:cubicBezTo>
                    <a:pt x="1707" y="9153"/>
                    <a:pt x="1707" y="9153"/>
                    <a:pt x="1707" y="9153"/>
                  </a:cubicBezTo>
                  <a:cubicBezTo>
                    <a:pt x="1722" y="9186"/>
                    <a:pt x="1733" y="9209"/>
                    <a:pt x="1738" y="9219"/>
                  </a:cubicBezTo>
                  <a:cubicBezTo>
                    <a:pt x="1644" y="9270"/>
                    <a:pt x="1644" y="9270"/>
                    <a:pt x="1644" y="9270"/>
                  </a:cubicBezTo>
                  <a:lnTo>
                    <a:pt x="1611" y="9201"/>
                  </a:lnTo>
                  <a:close/>
                  <a:moveTo>
                    <a:pt x="1715" y="9131"/>
                  </a:moveTo>
                  <a:cubicBezTo>
                    <a:pt x="1822" y="9080"/>
                    <a:pt x="1822" y="9080"/>
                    <a:pt x="1822" y="9080"/>
                  </a:cubicBezTo>
                  <a:cubicBezTo>
                    <a:pt x="1857" y="9155"/>
                    <a:pt x="1857" y="9155"/>
                    <a:pt x="1857" y="9155"/>
                  </a:cubicBezTo>
                  <a:cubicBezTo>
                    <a:pt x="1753" y="9212"/>
                    <a:pt x="1753" y="9212"/>
                    <a:pt x="1753" y="9212"/>
                  </a:cubicBezTo>
                  <a:cubicBezTo>
                    <a:pt x="1747" y="9199"/>
                    <a:pt x="1733" y="9170"/>
                    <a:pt x="1715" y="9131"/>
                  </a:cubicBezTo>
                  <a:close/>
                  <a:moveTo>
                    <a:pt x="1854" y="9110"/>
                  </a:moveTo>
                  <a:cubicBezTo>
                    <a:pt x="1961" y="9058"/>
                    <a:pt x="1961" y="9058"/>
                    <a:pt x="1961" y="9058"/>
                  </a:cubicBezTo>
                  <a:cubicBezTo>
                    <a:pt x="1968" y="9074"/>
                    <a:pt x="1974" y="9085"/>
                    <a:pt x="1976" y="9091"/>
                  </a:cubicBezTo>
                  <a:cubicBezTo>
                    <a:pt x="1872" y="9148"/>
                    <a:pt x="1872" y="9148"/>
                    <a:pt x="1872" y="9148"/>
                  </a:cubicBezTo>
                  <a:lnTo>
                    <a:pt x="1854" y="9110"/>
                  </a:lnTo>
                  <a:close/>
                  <a:moveTo>
                    <a:pt x="1969" y="9036"/>
                  </a:moveTo>
                  <a:cubicBezTo>
                    <a:pt x="1970" y="9035"/>
                    <a:pt x="1970" y="9035"/>
                    <a:pt x="1970" y="9035"/>
                  </a:cubicBezTo>
                  <a:cubicBezTo>
                    <a:pt x="1970" y="9035"/>
                    <a:pt x="1970" y="9035"/>
                    <a:pt x="1970" y="9035"/>
                  </a:cubicBezTo>
                  <a:cubicBezTo>
                    <a:pt x="2066" y="8985"/>
                    <a:pt x="2066" y="8985"/>
                    <a:pt x="2066" y="8985"/>
                  </a:cubicBezTo>
                  <a:cubicBezTo>
                    <a:pt x="2088" y="9031"/>
                    <a:pt x="2088" y="9031"/>
                    <a:pt x="2088" y="9031"/>
                  </a:cubicBezTo>
                  <a:cubicBezTo>
                    <a:pt x="1991" y="9083"/>
                    <a:pt x="1991" y="9083"/>
                    <a:pt x="1991" y="9083"/>
                  </a:cubicBezTo>
                  <a:cubicBezTo>
                    <a:pt x="1989" y="9081"/>
                    <a:pt x="1988" y="9078"/>
                    <a:pt x="1986" y="9074"/>
                  </a:cubicBezTo>
                  <a:cubicBezTo>
                    <a:pt x="1982" y="9064"/>
                    <a:pt x="1976" y="9051"/>
                    <a:pt x="1969" y="9036"/>
                  </a:cubicBezTo>
                  <a:close/>
                  <a:moveTo>
                    <a:pt x="2169" y="8919"/>
                  </a:moveTo>
                  <a:cubicBezTo>
                    <a:pt x="2173" y="8917"/>
                    <a:pt x="2173" y="8917"/>
                    <a:pt x="2173" y="8917"/>
                  </a:cubicBezTo>
                  <a:cubicBezTo>
                    <a:pt x="2158" y="8888"/>
                    <a:pt x="2158" y="8888"/>
                    <a:pt x="2158" y="8888"/>
                  </a:cubicBezTo>
                  <a:cubicBezTo>
                    <a:pt x="2158" y="8888"/>
                    <a:pt x="2159" y="8888"/>
                    <a:pt x="2160" y="8887"/>
                  </a:cubicBezTo>
                  <a:cubicBezTo>
                    <a:pt x="2163" y="8885"/>
                    <a:pt x="2166" y="8883"/>
                    <a:pt x="2171" y="8880"/>
                  </a:cubicBezTo>
                  <a:cubicBezTo>
                    <a:pt x="2181" y="8874"/>
                    <a:pt x="2195" y="8865"/>
                    <a:pt x="2212" y="8855"/>
                  </a:cubicBezTo>
                  <a:cubicBezTo>
                    <a:pt x="2246" y="8835"/>
                    <a:pt x="2291" y="8809"/>
                    <a:pt x="2337" y="8782"/>
                  </a:cubicBezTo>
                  <a:cubicBezTo>
                    <a:pt x="2420" y="8734"/>
                    <a:pt x="2502" y="8687"/>
                    <a:pt x="2515" y="8680"/>
                  </a:cubicBezTo>
                  <a:cubicBezTo>
                    <a:pt x="2564" y="8783"/>
                    <a:pt x="2564" y="8783"/>
                    <a:pt x="2564" y="8783"/>
                  </a:cubicBezTo>
                  <a:cubicBezTo>
                    <a:pt x="2500" y="8816"/>
                    <a:pt x="2441" y="8848"/>
                    <a:pt x="2388" y="8876"/>
                  </a:cubicBezTo>
                  <a:cubicBezTo>
                    <a:pt x="2302" y="8921"/>
                    <a:pt x="2233" y="8956"/>
                    <a:pt x="2195" y="8974"/>
                  </a:cubicBezTo>
                  <a:lnTo>
                    <a:pt x="2169" y="8919"/>
                  </a:lnTo>
                  <a:close/>
                  <a:moveTo>
                    <a:pt x="2547" y="8641"/>
                  </a:moveTo>
                  <a:cubicBezTo>
                    <a:pt x="2545" y="8642"/>
                    <a:pt x="2545" y="8642"/>
                    <a:pt x="2545" y="8642"/>
                  </a:cubicBezTo>
                  <a:cubicBezTo>
                    <a:pt x="2443" y="8428"/>
                    <a:pt x="2443" y="8428"/>
                    <a:pt x="2443" y="8428"/>
                  </a:cubicBezTo>
                  <a:cubicBezTo>
                    <a:pt x="2443" y="8428"/>
                    <a:pt x="2444" y="8428"/>
                    <a:pt x="2444" y="8428"/>
                  </a:cubicBezTo>
                  <a:cubicBezTo>
                    <a:pt x="2449" y="8426"/>
                    <a:pt x="2455" y="8423"/>
                    <a:pt x="2463" y="8420"/>
                  </a:cubicBezTo>
                  <a:cubicBezTo>
                    <a:pt x="2479" y="8414"/>
                    <a:pt x="2500" y="8406"/>
                    <a:pt x="2521" y="8398"/>
                  </a:cubicBezTo>
                  <a:cubicBezTo>
                    <a:pt x="2541" y="8390"/>
                    <a:pt x="2561" y="8383"/>
                    <a:pt x="2577" y="8377"/>
                  </a:cubicBezTo>
                  <a:cubicBezTo>
                    <a:pt x="2470" y="8419"/>
                    <a:pt x="2470" y="8419"/>
                    <a:pt x="2470" y="8419"/>
                  </a:cubicBezTo>
                  <a:cubicBezTo>
                    <a:pt x="2566" y="8640"/>
                    <a:pt x="2566" y="8640"/>
                    <a:pt x="2566" y="8640"/>
                  </a:cubicBezTo>
                  <a:cubicBezTo>
                    <a:pt x="2643" y="8619"/>
                    <a:pt x="2643" y="8619"/>
                    <a:pt x="2643" y="8619"/>
                  </a:cubicBezTo>
                  <a:cubicBezTo>
                    <a:pt x="2655" y="8501"/>
                    <a:pt x="2655" y="8501"/>
                    <a:pt x="2655" y="8501"/>
                  </a:cubicBezTo>
                  <a:cubicBezTo>
                    <a:pt x="2751" y="8595"/>
                    <a:pt x="2751" y="8595"/>
                    <a:pt x="2751" y="8595"/>
                  </a:cubicBezTo>
                  <a:cubicBezTo>
                    <a:pt x="2796" y="8585"/>
                    <a:pt x="2796" y="8585"/>
                    <a:pt x="2796" y="8585"/>
                  </a:cubicBezTo>
                  <a:cubicBezTo>
                    <a:pt x="2580" y="8376"/>
                    <a:pt x="2580" y="8376"/>
                    <a:pt x="2580" y="8376"/>
                  </a:cubicBezTo>
                  <a:cubicBezTo>
                    <a:pt x="2588" y="8373"/>
                    <a:pt x="2596" y="8370"/>
                    <a:pt x="2600" y="8369"/>
                  </a:cubicBezTo>
                  <a:cubicBezTo>
                    <a:pt x="2858" y="8626"/>
                    <a:pt x="2858" y="8626"/>
                    <a:pt x="2858" y="8626"/>
                  </a:cubicBezTo>
                  <a:cubicBezTo>
                    <a:pt x="2771" y="8673"/>
                    <a:pt x="2685" y="8719"/>
                    <a:pt x="2604" y="8761"/>
                  </a:cubicBezTo>
                  <a:lnTo>
                    <a:pt x="2547" y="8641"/>
                  </a:lnTo>
                  <a:close/>
                  <a:moveTo>
                    <a:pt x="2767" y="8577"/>
                  </a:moveTo>
                  <a:cubicBezTo>
                    <a:pt x="2755" y="8579"/>
                    <a:pt x="2755" y="8579"/>
                    <a:pt x="2755" y="8579"/>
                  </a:cubicBezTo>
                  <a:cubicBezTo>
                    <a:pt x="2665" y="8491"/>
                    <a:pt x="2665" y="8491"/>
                    <a:pt x="2665" y="8491"/>
                  </a:cubicBezTo>
                  <a:cubicBezTo>
                    <a:pt x="2645" y="8471"/>
                    <a:pt x="2645" y="8471"/>
                    <a:pt x="2645" y="8471"/>
                  </a:cubicBezTo>
                  <a:cubicBezTo>
                    <a:pt x="2642" y="8500"/>
                    <a:pt x="2642" y="8500"/>
                    <a:pt x="2642" y="8500"/>
                  </a:cubicBezTo>
                  <a:cubicBezTo>
                    <a:pt x="2630" y="8608"/>
                    <a:pt x="2630" y="8608"/>
                    <a:pt x="2630" y="8608"/>
                  </a:cubicBezTo>
                  <a:cubicBezTo>
                    <a:pt x="2574" y="8623"/>
                    <a:pt x="2574" y="8623"/>
                    <a:pt x="2574" y="8623"/>
                  </a:cubicBezTo>
                  <a:cubicBezTo>
                    <a:pt x="2488" y="8427"/>
                    <a:pt x="2488" y="8427"/>
                    <a:pt x="2488" y="8427"/>
                  </a:cubicBezTo>
                  <a:cubicBezTo>
                    <a:pt x="2576" y="8392"/>
                    <a:pt x="2576" y="8392"/>
                    <a:pt x="2576" y="8392"/>
                  </a:cubicBezTo>
                  <a:lnTo>
                    <a:pt x="2767" y="8577"/>
                  </a:lnTo>
                  <a:close/>
                  <a:moveTo>
                    <a:pt x="3342" y="8127"/>
                  </a:moveTo>
                  <a:cubicBezTo>
                    <a:pt x="3332" y="8116"/>
                    <a:pt x="3317" y="8102"/>
                    <a:pt x="3299" y="8084"/>
                  </a:cubicBezTo>
                  <a:cubicBezTo>
                    <a:pt x="3264" y="8049"/>
                    <a:pt x="3216" y="8002"/>
                    <a:pt x="3169" y="7956"/>
                  </a:cubicBezTo>
                  <a:cubicBezTo>
                    <a:pt x="3129" y="7917"/>
                    <a:pt x="3090" y="7878"/>
                    <a:pt x="3057" y="7846"/>
                  </a:cubicBezTo>
                  <a:cubicBezTo>
                    <a:pt x="3435" y="7552"/>
                    <a:pt x="3435" y="7552"/>
                    <a:pt x="3435" y="7552"/>
                  </a:cubicBezTo>
                  <a:cubicBezTo>
                    <a:pt x="3512" y="7570"/>
                    <a:pt x="3512" y="7570"/>
                    <a:pt x="3512" y="7570"/>
                  </a:cubicBezTo>
                  <a:cubicBezTo>
                    <a:pt x="3656" y="7957"/>
                    <a:pt x="3656" y="7957"/>
                    <a:pt x="3656" y="7957"/>
                  </a:cubicBezTo>
                  <a:cubicBezTo>
                    <a:pt x="3473" y="8176"/>
                    <a:pt x="3473" y="8176"/>
                    <a:pt x="3473" y="8176"/>
                  </a:cubicBezTo>
                  <a:cubicBezTo>
                    <a:pt x="3457" y="8170"/>
                    <a:pt x="3406" y="8155"/>
                    <a:pt x="3377" y="8146"/>
                  </a:cubicBezTo>
                  <a:cubicBezTo>
                    <a:pt x="3367" y="8143"/>
                    <a:pt x="3361" y="8142"/>
                    <a:pt x="3356" y="8141"/>
                  </a:cubicBezTo>
                  <a:cubicBezTo>
                    <a:pt x="3356" y="8140"/>
                    <a:pt x="3355" y="8139"/>
                    <a:pt x="3354" y="8138"/>
                  </a:cubicBezTo>
                  <a:cubicBezTo>
                    <a:pt x="3351" y="8136"/>
                    <a:pt x="3347" y="8132"/>
                    <a:pt x="3342" y="8127"/>
                  </a:cubicBezTo>
                  <a:close/>
                  <a:moveTo>
                    <a:pt x="3590" y="7733"/>
                  </a:moveTo>
                  <a:cubicBezTo>
                    <a:pt x="3856" y="7679"/>
                    <a:pt x="3856" y="7679"/>
                    <a:pt x="3856" y="7679"/>
                  </a:cubicBezTo>
                  <a:cubicBezTo>
                    <a:pt x="3857" y="7682"/>
                    <a:pt x="3857" y="7685"/>
                    <a:pt x="3857" y="7687"/>
                  </a:cubicBezTo>
                  <a:cubicBezTo>
                    <a:pt x="3857" y="7690"/>
                    <a:pt x="3858" y="7691"/>
                    <a:pt x="3858" y="7693"/>
                  </a:cubicBezTo>
                  <a:cubicBezTo>
                    <a:pt x="3858" y="7695"/>
                    <a:pt x="3858" y="7697"/>
                    <a:pt x="3858" y="7700"/>
                  </a:cubicBezTo>
                  <a:cubicBezTo>
                    <a:pt x="3858" y="7761"/>
                    <a:pt x="3875" y="7865"/>
                    <a:pt x="3881" y="7903"/>
                  </a:cubicBezTo>
                  <a:cubicBezTo>
                    <a:pt x="3881" y="7903"/>
                    <a:pt x="3881" y="7903"/>
                    <a:pt x="3881" y="7903"/>
                  </a:cubicBezTo>
                  <a:cubicBezTo>
                    <a:pt x="3881" y="7904"/>
                    <a:pt x="3882" y="7905"/>
                    <a:pt x="3882" y="7907"/>
                  </a:cubicBezTo>
                  <a:cubicBezTo>
                    <a:pt x="3882" y="7907"/>
                    <a:pt x="3882" y="7908"/>
                    <a:pt x="3882" y="7909"/>
                  </a:cubicBezTo>
                  <a:cubicBezTo>
                    <a:pt x="3727" y="7979"/>
                    <a:pt x="3727" y="7979"/>
                    <a:pt x="3727" y="7979"/>
                  </a:cubicBezTo>
                  <a:cubicBezTo>
                    <a:pt x="3675" y="7961"/>
                    <a:pt x="3675" y="7961"/>
                    <a:pt x="3675" y="7961"/>
                  </a:cubicBezTo>
                  <a:lnTo>
                    <a:pt x="3590" y="7733"/>
                  </a:lnTo>
                  <a:close/>
                  <a:moveTo>
                    <a:pt x="3711" y="7361"/>
                  </a:moveTo>
                  <a:cubicBezTo>
                    <a:pt x="3859" y="7241"/>
                    <a:pt x="3859" y="7241"/>
                    <a:pt x="3859" y="7241"/>
                  </a:cubicBezTo>
                  <a:cubicBezTo>
                    <a:pt x="3867" y="7242"/>
                    <a:pt x="3887" y="7245"/>
                    <a:pt x="3896" y="7246"/>
                  </a:cubicBezTo>
                  <a:cubicBezTo>
                    <a:pt x="3896" y="7247"/>
                    <a:pt x="3896" y="7247"/>
                    <a:pt x="3897" y="7247"/>
                  </a:cubicBezTo>
                  <a:cubicBezTo>
                    <a:pt x="3899" y="7249"/>
                    <a:pt x="3902" y="7252"/>
                    <a:pt x="3906" y="7256"/>
                  </a:cubicBezTo>
                  <a:cubicBezTo>
                    <a:pt x="3914" y="7264"/>
                    <a:pt x="3925" y="7274"/>
                    <a:pt x="3939" y="7287"/>
                  </a:cubicBezTo>
                  <a:cubicBezTo>
                    <a:pt x="3966" y="7313"/>
                    <a:pt x="4003" y="7347"/>
                    <a:pt x="4040" y="7382"/>
                  </a:cubicBezTo>
                  <a:cubicBezTo>
                    <a:pt x="4103" y="7441"/>
                    <a:pt x="4167" y="7500"/>
                    <a:pt x="4182" y="7515"/>
                  </a:cubicBezTo>
                  <a:cubicBezTo>
                    <a:pt x="4159" y="7525"/>
                    <a:pt x="4144" y="7532"/>
                    <a:pt x="4144" y="7532"/>
                  </a:cubicBezTo>
                  <a:cubicBezTo>
                    <a:pt x="4144" y="7532"/>
                    <a:pt x="4144" y="7532"/>
                    <a:pt x="4144" y="7532"/>
                  </a:cubicBezTo>
                  <a:cubicBezTo>
                    <a:pt x="4145" y="7534"/>
                    <a:pt x="4145" y="7534"/>
                    <a:pt x="4145" y="7534"/>
                  </a:cubicBezTo>
                  <a:cubicBezTo>
                    <a:pt x="4034" y="7589"/>
                    <a:pt x="4034" y="7589"/>
                    <a:pt x="4034" y="7589"/>
                  </a:cubicBezTo>
                  <a:cubicBezTo>
                    <a:pt x="3921" y="7639"/>
                    <a:pt x="3921" y="7639"/>
                    <a:pt x="3921" y="7639"/>
                  </a:cubicBezTo>
                  <a:cubicBezTo>
                    <a:pt x="3920" y="7635"/>
                    <a:pt x="3920" y="7630"/>
                    <a:pt x="3919" y="7626"/>
                  </a:cubicBezTo>
                  <a:cubicBezTo>
                    <a:pt x="3916" y="7605"/>
                    <a:pt x="3909" y="7593"/>
                    <a:pt x="3907" y="7590"/>
                  </a:cubicBezTo>
                  <a:cubicBezTo>
                    <a:pt x="3905" y="7588"/>
                    <a:pt x="3905" y="7588"/>
                    <a:pt x="3905" y="7588"/>
                  </a:cubicBezTo>
                  <a:lnTo>
                    <a:pt x="3711" y="7361"/>
                  </a:lnTo>
                  <a:close/>
                  <a:moveTo>
                    <a:pt x="4018" y="7671"/>
                  </a:moveTo>
                  <a:cubicBezTo>
                    <a:pt x="4063" y="7651"/>
                    <a:pt x="4063" y="7651"/>
                    <a:pt x="4063" y="7651"/>
                  </a:cubicBezTo>
                  <a:cubicBezTo>
                    <a:pt x="4125" y="7620"/>
                    <a:pt x="4125" y="7620"/>
                    <a:pt x="4125" y="7620"/>
                  </a:cubicBezTo>
                  <a:cubicBezTo>
                    <a:pt x="4171" y="7824"/>
                    <a:pt x="4171" y="7824"/>
                    <a:pt x="4171" y="7824"/>
                  </a:cubicBezTo>
                  <a:cubicBezTo>
                    <a:pt x="4094" y="7835"/>
                    <a:pt x="4094" y="7835"/>
                    <a:pt x="4094" y="7835"/>
                  </a:cubicBezTo>
                  <a:cubicBezTo>
                    <a:pt x="4118" y="7990"/>
                    <a:pt x="4118" y="7990"/>
                    <a:pt x="4118" y="7990"/>
                  </a:cubicBezTo>
                  <a:cubicBezTo>
                    <a:pt x="4205" y="7978"/>
                    <a:pt x="4205" y="7978"/>
                    <a:pt x="4205" y="7978"/>
                  </a:cubicBezTo>
                  <a:cubicBezTo>
                    <a:pt x="4216" y="8028"/>
                    <a:pt x="4216" y="8028"/>
                    <a:pt x="4216" y="8028"/>
                  </a:cubicBezTo>
                  <a:cubicBezTo>
                    <a:pt x="4178" y="8025"/>
                    <a:pt x="4141" y="8022"/>
                    <a:pt x="4104" y="8021"/>
                  </a:cubicBezTo>
                  <a:lnTo>
                    <a:pt x="4018" y="7671"/>
                  </a:lnTo>
                  <a:close/>
                  <a:moveTo>
                    <a:pt x="4280" y="8185"/>
                  </a:moveTo>
                  <a:cubicBezTo>
                    <a:pt x="4301" y="8186"/>
                    <a:pt x="4322" y="8186"/>
                    <a:pt x="4345" y="8186"/>
                  </a:cubicBezTo>
                  <a:cubicBezTo>
                    <a:pt x="4374" y="8186"/>
                    <a:pt x="4405" y="8185"/>
                    <a:pt x="4437" y="8183"/>
                  </a:cubicBezTo>
                  <a:cubicBezTo>
                    <a:pt x="4507" y="8178"/>
                    <a:pt x="4601" y="8164"/>
                    <a:pt x="4697" y="8148"/>
                  </a:cubicBezTo>
                  <a:cubicBezTo>
                    <a:pt x="4755" y="8146"/>
                    <a:pt x="4812" y="8145"/>
                    <a:pt x="4865" y="8145"/>
                  </a:cubicBezTo>
                  <a:cubicBezTo>
                    <a:pt x="4976" y="8145"/>
                    <a:pt x="5076" y="8148"/>
                    <a:pt x="5155" y="8152"/>
                  </a:cubicBezTo>
                  <a:cubicBezTo>
                    <a:pt x="5402" y="8163"/>
                    <a:pt x="5900" y="8219"/>
                    <a:pt x="6170" y="8219"/>
                  </a:cubicBezTo>
                  <a:cubicBezTo>
                    <a:pt x="6170" y="8219"/>
                    <a:pt x="6171" y="8219"/>
                    <a:pt x="6171" y="8219"/>
                  </a:cubicBezTo>
                  <a:cubicBezTo>
                    <a:pt x="6211" y="8219"/>
                    <a:pt x="6246" y="8218"/>
                    <a:pt x="6273" y="8215"/>
                  </a:cubicBezTo>
                  <a:cubicBezTo>
                    <a:pt x="6293" y="8213"/>
                    <a:pt x="6308" y="8210"/>
                    <a:pt x="6316" y="8208"/>
                  </a:cubicBezTo>
                  <a:cubicBezTo>
                    <a:pt x="6318" y="8207"/>
                    <a:pt x="6319" y="8207"/>
                    <a:pt x="6321" y="8206"/>
                  </a:cubicBezTo>
                  <a:cubicBezTo>
                    <a:pt x="6334" y="8200"/>
                    <a:pt x="6348" y="8187"/>
                    <a:pt x="6363" y="8157"/>
                  </a:cubicBezTo>
                  <a:cubicBezTo>
                    <a:pt x="6414" y="8160"/>
                    <a:pt x="6457" y="8163"/>
                    <a:pt x="6493" y="8166"/>
                  </a:cubicBezTo>
                  <a:cubicBezTo>
                    <a:pt x="6487" y="8181"/>
                    <a:pt x="6481" y="8196"/>
                    <a:pt x="6474" y="8211"/>
                  </a:cubicBezTo>
                  <a:cubicBezTo>
                    <a:pt x="6453" y="8254"/>
                    <a:pt x="6421" y="8296"/>
                    <a:pt x="6371" y="8319"/>
                  </a:cubicBezTo>
                  <a:cubicBezTo>
                    <a:pt x="6344" y="8330"/>
                    <a:pt x="6318" y="8334"/>
                    <a:pt x="6285" y="8337"/>
                  </a:cubicBezTo>
                  <a:cubicBezTo>
                    <a:pt x="6252" y="8341"/>
                    <a:pt x="6214" y="8342"/>
                    <a:pt x="6171" y="8342"/>
                  </a:cubicBezTo>
                  <a:cubicBezTo>
                    <a:pt x="6104" y="8342"/>
                    <a:pt x="6024" y="8339"/>
                    <a:pt x="5939" y="8333"/>
                  </a:cubicBezTo>
                  <a:cubicBezTo>
                    <a:pt x="5937" y="8330"/>
                    <a:pt x="5937" y="8330"/>
                    <a:pt x="5937" y="8330"/>
                  </a:cubicBezTo>
                  <a:cubicBezTo>
                    <a:pt x="5935" y="8332"/>
                    <a:pt x="5934" y="8333"/>
                    <a:pt x="5934" y="8333"/>
                  </a:cubicBezTo>
                  <a:cubicBezTo>
                    <a:pt x="5662" y="8317"/>
                    <a:pt x="5331" y="8283"/>
                    <a:pt x="5150" y="8275"/>
                  </a:cubicBezTo>
                  <a:cubicBezTo>
                    <a:pt x="5130" y="8274"/>
                    <a:pt x="5109" y="8273"/>
                    <a:pt x="5087" y="8272"/>
                  </a:cubicBezTo>
                  <a:cubicBezTo>
                    <a:pt x="5087" y="8265"/>
                    <a:pt x="5087" y="8265"/>
                    <a:pt x="5087" y="8265"/>
                  </a:cubicBezTo>
                  <a:cubicBezTo>
                    <a:pt x="5073" y="8264"/>
                    <a:pt x="5073" y="8264"/>
                    <a:pt x="5073" y="8264"/>
                  </a:cubicBezTo>
                  <a:cubicBezTo>
                    <a:pt x="5073" y="8272"/>
                    <a:pt x="5073" y="8272"/>
                    <a:pt x="5073" y="8272"/>
                  </a:cubicBezTo>
                  <a:cubicBezTo>
                    <a:pt x="5011" y="8270"/>
                    <a:pt x="4941" y="8268"/>
                    <a:pt x="4865" y="8268"/>
                  </a:cubicBezTo>
                  <a:cubicBezTo>
                    <a:pt x="4862" y="8268"/>
                    <a:pt x="4858" y="8268"/>
                    <a:pt x="4855" y="8268"/>
                  </a:cubicBezTo>
                  <a:cubicBezTo>
                    <a:pt x="4826" y="8268"/>
                    <a:pt x="4796" y="8268"/>
                    <a:pt x="4765" y="8269"/>
                  </a:cubicBezTo>
                  <a:cubicBezTo>
                    <a:pt x="4764" y="8262"/>
                    <a:pt x="4764" y="8262"/>
                    <a:pt x="4764" y="8262"/>
                  </a:cubicBezTo>
                  <a:cubicBezTo>
                    <a:pt x="4750" y="8264"/>
                    <a:pt x="4750" y="8264"/>
                    <a:pt x="4750" y="8264"/>
                  </a:cubicBezTo>
                  <a:cubicBezTo>
                    <a:pt x="4751" y="8269"/>
                    <a:pt x="4751" y="8269"/>
                    <a:pt x="4751" y="8269"/>
                  </a:cubicBezTo>
                  <a:cubicBezTo>
                    <a:pt x="4698" y="8270"/>
                    <a:pt x="4643" y="8273"/>
                    <a:pt x="4588" y="8276"/>
                  </a:cubicBezTo>
                  <a:cubicBezTo>
                    <a:pt x="4588" y="8275"/>
                    <a:pt x="4588" y="8273"/>
                    <a:pt x="4588" y="8273"/>
                  </a:cubicBezTo>
                  <a:cubicBezTo>
                    <a:pt x="4574" y="8273"/>
                    <a:pt x="4574" y="8273"/>
                    <a:pt x="4574" y="8273"/>
                  </a:cubicBezTo>
                  <a:cubicBezTo>
                    <a:pt x="4574" y="8273"/>
                    <a:pt x="4574" y="8275"/>
                    <a:pt x="4574" y="8277"/>
                  </a:cubicBezTo>
                  <a:cubicBezTo>
                    <a:pt x="4494" y="8282"/>
                    <a:pt x="4413" y="8290"/>
                    <a:pt x="4333" y="8301"/>
                  </a:cubicBezTo>
                  <a:cubicBezTo>
                    <a:pt x="4331" y="8294"/>
                    <a:pt x="4331" y="8294"/>
                    <a:pt x="4331" y="8294"/>
                  </a:cubicBezTo>
                  <a:cubicBezTo>
                    <a:pt x="4318" y="8297"/>
                    <a:pt x="4318" y="8297"/>
                    <a:pt x="4318" y="8297"/>
                  </a:cubicBezTo>
                  <a:cubicBezTo>
                    <a:pt x="4319" y="8303"/>
                    <a:pt x="4319" y="8303"/>
                    <a:pt x="4319" y="8303"/>
                  </a:cubicBezTo>
                  <a:cubicBezTo>
                    <a:pt x="4152" y="8328"/>
                    <a:pt x="3990" y="8368"/>
                    <a:pt x="3857" y="8431"/>
                  </a:cubicBezTo>
                  <a:cubicBezTo>
                    <a:pt x="3810" y="8318"/>
                    <a:pt x="3810" y="8318"/>
                    <a:pt x="3810" y="8318"/>
                  </a:cubicBezTo>
                  <a:cubicBezTo>
                    <a:pt x="3951" y="8252"/>
                    <a:pt x="4114" y="8211"/>
                    <a:pt x="4280" y="8185"/>
                  </a:cubicBezTo>
                  <a:close/>
                  <a:moveTo>
                    <a:pt x="4324" y="8319"/>
                  </a:moveTo>
                  <a:cubicBezTo>
                    <a:pt x="4429" y="8715"/>
                    <a:pt x="4429" y="8715"/>
                    <a:pt x="4429" y="8715"/>
                  </a:cubicBezTo>
                  <a:cubicBezTo>
                    <a:pt x="4442" y="8711"/>
                    <a:pt x="4442" y="8711"/>
                    <a:pt x="4442" y="8711"/>
                  </a:cubicBezTo>
                  <a:cubicBezTo>
                    <a:pt x="4338" y="8317"/>
                    <a:pt x="4338" y="8317"/>
                    <a:pt x="4338" y="8317"/>
                  </a:cubicBezTo>
                  <a:cubicBezTo>
                    <a:pt x="4416" y="8306"/>
                    <a:pt x="4495" y="8299"/>
                    <a:pt x="4574" y="8293"/>
                  </a:cubicBezTo>
                  <a:cubicBezTo>
                    <a:pt x="4573" y="8363"/>
                    <a:pt x="4569" y="8595"/>
                    <a:pt x="4569" y="8625"/>
                  </a:cubicBezTo>
                  <a:cubicBezTo>
                    <a:pt x="4077" y="8960"/>
                    <a:pt x="4077" y="8960"/>
                    <a:pt x="4077" y="8960"/>
                  </a:cubicBezTo>
                  <a:cubicBezTo>
                    <a:pt x="3863" y="8446"/>
                    <a:pt x="3863" y="8446"/>
                    <a:pt x="3863" y="8446"/>
                  </a:cubicBezTo>
                  <a:cubicBezTo>
                    <a:pt x="3995" y="8384"/>
                    <a:pt x="4156" y="8344"/>
                    <a:pt x="4324" y="8319"/>
                  </a:cubicBezTo>
                  <a:close/>
                  <a:moveTo>
                    <a:pt x="3357" y="9834"/>
                  </a:moveTo>
                  <a:cubicBezTo>
                    <a:pt x="3374" y="9859"/>
                    <a:pt x="3396" y="9893"/>
                    <a:pt x="3419" y="9930"/>
                  </a:cubicBezTo>
                  <a:cubicBezTo>
                    <a:pt x="3465" y="10003"/>
                    <a:pt x="3517" y="10084"/>
                    <a:pt x="3538" y="10118"/>
                  </a:cubicBezTo>
                  <a:cubicBezTo>
                    <a:pt x="3545" y="10128"/>
                    <a:pt x="3548" y="10133"/>
                    <a:pt x="3550" y="10136"/>
                  </a:cubicBezTo>
                  <a:cubicBezTo>
                    <a:pt x="3551" y="10136"/>
                    <a:pt x="3550" y="10136"/>
                    <a:pt x="3553" y="10137"/>
                  </a:cubicBezTo>
                  <a:cubicBezTo>
                    <a:pt x="3553" y="10137"/>
                    <a:pt x="3553" y="10137"/>
                    <a:pt x="3553" y="10137"/>
                  </a:cubicBezTo>
                  <a:cubicBezTo>
                    <a:pt x="3538" y="10143"/>
                    <a:pt x="3450" y="10179"/>
                    <a:pt x="3360" y="10216"/>
                  </a:cubicBezTo>
                  <a:cubicBezTo>
                    <a:pt x="3291" y="10244"/>
                    <a:pt x="3221" y="10272"/>
                    <a:pt x="3182" y="10287"/>
                  </a:cubicBezTo>
                  <a:cubicBezTo>
                    <a:pt x="3112" y="9997"/>
                    <a:pt x="3112" y="9997"/>
                    <a:pt x="3112" y="9997"/>
                  </a:cubicBezTo>
                  <a:cubicBezTo>
                    <a:pt x="3145" y="9981"/>
                    <a:pt x="3171" y="9969"/>
                    <a:pt x="3191" y="9957"/>
                  </a:cubicBezTo>
                  <a:cubicBezTo>
                    <a:pt x="3241" y="9931"/>
                    <a:pt x="3267" y="9905"/>
                    <a:pt x="3310" y="9845"/>
                  </a:cubicBezTo>
                  <a:cubicBezTo>
                    <a:pt x="3320" y="9831"/>
                    <a:pt x="3328" y="9817"/>
                    <a:pt x="3336" y="9802"/>
                  </a:cubicBezTo>
                  <a:cubicBezTo>
                    <a:pt x="3336" y="9803"/>
                    <a:pt x="3336" y="9803"/>
                    <a:pt x="3337" y="9804"/>
                  </a:cubicBezTo>
                  <a:cubicBezTo>
                    <a:pt x="3342" y="9811"/>
                    <a:pt x="3349" y="9821"/>
                    <a:pt x="3357" y="9834"/>
                  </a:cubicBezTo>
                  <a:close/>
                  <a:moveTo>
                    <a:pt x="3169" y="10292"/>
                  </a:moveTo>
                  <a:cubicBezTo>
                    <a:pt x="3160" y="10295"/>
                    <a:pt x="3154" y="10298"/>
                    <a:pt x="3152" y="10298"/>
                  </a:cubicBezTo>
                  <a:cubicBezTo>
                    <a:pt x="3152" y="10298"/>
                    <a:pt x="3152" y="10298"/>
                    <a:pt x="3152" y="10298"/>
                  </a:cubicBezTo>
                  <a:cubicBezTo>
                    <a:pt x="3148" y="10299"/>
                    <a:pt x="3149" y="10300"/>
                    <a:pt x="3145" y="10301"/>
                  </a:cubicBezTo>
                  <a:cubicBezTo>
                    <a:pt x="3143" y="10302"/>
                    <a:pt x="3139" y="10305"/>
                    <a:pt x="3134" y="10307"/>
                  </a:cubicBezTo>
                  <a:cubicBezTo>
                    <a:pt x="3124" y="10313"/>
                    <a:pt x="3110" y="10320"/>
                    <a:pt x="3094" y="10329"/>
                  </a:cubicBezTo>
                  <a:cubicBezTo>
                    <a:pt x="3062" y="10348"/>
                    <a:pt x="3020" y="10372"/>
                    <a:pt x="2978" y="10396"/>
                  </a:cubicBezTo>
                  <a:cubicBezTo>
                    <a:pt x="2906" y="10438"/>
                    <a:pt x="2835" y="10479"/>
                    <a:pt x="2815" y="10491"/>
                  </a:cubicBezTo>
                  <a:cubicBezTo>
                    <a:pt x="2596" y="10200"/>
                    <a:pt x="2596" y="10200"/>
                    <a:pt x="2596" y="10200"/>
                  </a:cubicBezTo>
                  <a:cubicBezTo>
                    <a:pt x="2696" y="10187"/>
                    <a:pt x="2810" y="10159"/>
                    <a:pt x="2920" y="10097"/>
                  </a:cubicBezTo>
                  <a:cubicBezTo>
                    <a:pt x="2999" y="10054"/>
                    <a:pt x="3056" y="10025"/>
                    <a:pt x="3099" y="10003"/>
                  </a:cubicBezTo>
                  <a:lnTo>
                    <a:pt x="3169" y="10292"/>
                  </a:lnTo>
                  <a:close/>
                  <a:moveTo>
                    <a:pt x="2802" y="10496"/>
                  </a:moveTo>
                  <a:cubicBezTo>
                    <a:pt x="2747" y="10510"/>
                    <a:pt x="2747" y="10510"/>
                    <a:pt x="2747" y="10510"/>
                  </a:cubicBezTo>
                  <a:cubicBezTo>
                    <a:pt x="2550" y="10236"/>
                    <a:pt x="2550" y="10236"/>
                    <a:pt x="2550" y="10236"/>
                  </a:cubicBezTo>
                  <a:cubicBezTo>
                    <a:pt x="2468" y="10240"/>
                    <a:pt x="2468" y="10240"/>
                    <a:pt x="2468" y="10240"/>
                  </a:cubicBezTo>
                  <a:cubicBezTo>
                    <a:pt x="2653" y="10516"/>
                    <a:pt x="2653" y="10516"/>
                    <a:pt x="2653" y="10516"/>
                  </a:cubicBezTo>
                  <a:cubicBezTo>
                    <a:pt x="2734" y="10512"/>
                    <a:pt x="2734" y="10512"/>
                    <a:pt x="2734" y="10512"/>
                  </a:cubicBezTo>
                  <a:cubicBezTo>
                    <a:pt x="2744" y="10511"/>
                    <a:pt x="2744" y="10511"/>
                    <a:pt x="2744" y="10511"/>
                  </a:cubicBezTo>
                  <a:cubicBezTo>
                    <a:pt x="2556" y="10560"/>
                    <a:pt x="2556" y="10560"/>
                    <a:pt x="2556" y="10560"/>
                  </a:cubicBezTo>
                  <a:cubicBezTo>
                    <a:pt x="2535" y="10560"/>
                    <a:pt x="2535" y="10560"/>
                    <a:pt x="2535" y="10560"/>
                  </a:cubicBezTo>
                  <a:cubicBezTo>
                    <a:pt x="2541" y="10564"/>
                    <a:pt x="2541" y="10564"/>
                    <a:pt x="2541" y="10564"/>
                  </a:cubicBezTo>
                  <a:cubicBezTo>
                    <a:pt x="2494" y="10576"/>
                    <a:pt x="2494" y="10576"/>
                    <a:pt x="2494" y="10576"/>
                  </a:cubicBezTo>
                  <a:cubicBezTo>
                    <a:pt x="2270" y="10536"/>
                    <a:pt x="2270" y="10536"/>
                    <a:pt x="2270" y="10536"/>
                  </a:cubicBezTo>
                  <a:cubicBezTo>
                    <a:pt x="2337" y="10200"/>
                    <a:pt x="2337" y="10200"/>
                    <a:pt x="2337" y="10200"/>
                  </a:cubicBezTo>
                  <a:cubicBezTo>
                    <a:pt x="2362" y="10203"/>
                    <a:pt x="2404" y="10209"/>
                    <a:pt x="2462" y="10209"/>
                  </a:cubicBezTo>
                  <a:cubicBezTo>
                    <a:pt x="2497" y="10209"/>
                    <a:pt x="2537" y="10207"/>
                    <a:pt x="2581" y="10202"/>
                  </a:cubicBezTo>
                  <a:lnTo>
                    <a:pt x="2802" y="10496"/>
                  </a:lnTo>
                  <a:close/>
                  <a:moveTo>
                    <a:pt x="2720" y="10498"/>
                  </a:moveTo>
                  <a:cubicBezTo>
                    <a:pt x="2661" y="10500"/>
                    <a:pt x="2661" y="10500"/>
                    <a:pt x="2661" y="10500"/>
                  </a:cubicBezTo>
                  <a:cubicBezTo>
                    <a:pt x="2495" y="10253"/>
                    <a:pt x="2495" y="10253"/>
                    <a:pt x="2495" y="10253"/>
                  </a:cubicBezTo>
                  <a:cubicBezTo>
                    <a:pt x="2543" y="10251"/>
                    <a:pt x="2543" y="10251"/>
                    <a:pt x="2543" y="10251"/>
                  </a:cubicBezTo>
                  <a:lnTo>
                    <a:pt x="2720" y="10498"/>
                  </a:lnTo>
                  <a:close/>
                  <a:moveTo>
                    <a:pt x="2272" y="10295"/>
                  </a:moveTo>
                  <a:cubicBezTo>
                    <a:pt x="1936" y="10410"/>
                    <a:pt x="1936" y="10410"/>
                    <a:pt x="1936" y="10410"/>
                  </a:cubicBezTo>
                  <a:cubicBezTo>
                    <a:pt x="1766" y="10564"/>
                    <a:pt x="1766" y="10564"/>
                    <a:pt x="1766" y="10564"/>
                  </a:cubicBezTo>
                  <a:cubicBezTo>
                    <a:pt x="1599" y="10457"/>
                    <a:pt x="1599" y="10457"/>
                    <a:pt x="1599" y="10457"/>
                  </a:cubicBezTo>
                  <a:cubicBezTo>
                    <a:pt x="1605" y="10386"/>
                    <a:pt x="1605" y="10386"/>
                    <a:pt x="1605" y="10386"/>
                  </a:cubicBezTo>
                  <a:cubicBezTo>
                    <a:pt x="1623" y="10388"/>
                    <a:pt x="1623" y="10388"/>
                    <a:pt x="1623" y="10388"/>
                  </a:cubicBezTo>
                  <a:cubicBezTo>
                    <a:pt x="1623" y="10384"/>
                    <a:pt x="1628" y="10336"/>
                    <a:pt x="1633" y="10286"/>
                  </a:cubicBezTo>
                  <a:cubicBezTo>
                    <a:pt x="1636" y="10248"/>
                    <a:pt x="1639" y="10210"/>
                    <a:pt x="1641" y="10190"/>
                  </a:cubicBezTo>
                  <a:cubicBezTo>
                    <a:pt x="1994" y="10041"/>
                    <a:pt x="1994" y="10041"/>
                    <a:pt x="1994" y="10041"/>
                  </a:cubicBezTo>
                  <a:cubicBezTo>
                    <a:pt x="2017" y="10065"/>
                    <a:pt x="2073" y="10120"/>
                    <a:pt x="2139" y="10147"/>
                  </a:cubicBezTo>
                  <a:cubicBezTo>
                    <a:pt x="2186" y="10167"/>
                    <a:pt x="2251" y="10182"/>
                    <a:pt x="2293" y="10191"/>
                  </a:cubicBezTo>
                  <a:lnTo>
                    <a:pt x="2272" y="10295"/>
                  </a:lnTo>
                  <a:close/>
                  <a:moveTo>
                    <a:pt x="1767" y="10585"/>
                  </a:moveTo>
                  <a:cubicBezTo>
                    <a:pt x="1945" y="10425"/>
                    <a:pt x="1945" y="10425"/>
                    <a:pt x="1945" y="10425"/>
                  </a:cubicBezTo>
                  <a:cubicBezTo>
                    <a:pt x="2269" y="10313"/>
                    <a:pt x="2269" y="10313"/>
                    <a:pt x="2269" y="10313"/>
                  </a:cubicBezTo>
                  <a:cubicBezTo>
                    <a:pt x="2220" y="10553"/>
                    <a:pt x="2220" y="10553"/>
                    <a:pt x="2220" y="10553"/>
                  </a:cubicBezTo>
                  <a:cubicBezTo>
                    <a:pt x="2215" y="10540"/>
                    <a:pt x="2210" y="10525"/>
                    <a:pt x="2208" y="10507"/>
                  </a:cubicBezTo>
                  <a:cubicBezTo>
                    <a:pt x="2207" y="10501"/>
                    <a:pt x="2207" y="10501"/>
                    <a:pt x="2207" y="10501"/>
                  </a:cubicBezTo>
                  <a:cubicBezTo>
                    <a:pt x="2202" y="10498"/>
                    <a:pt x="2202" y="10498"/>
                    <a:pt x="2202" y="10498"/>
                  </a:cubicBezTo>
                  <a:cubicBezTo>
                    <a:pt x="2171" y="10478"/>
                    <a:pt x="2140" y="10470"/>
                    <a:pt x="2111" y="10470"/>
                  </a:cubicBezTo>
                  <a:cubicBezTo>
                    <a:pt x="2022" y="10471"/>
                    <a:pt x="1952" y="10540"/>
                    <a:pt x="1919" y="10573"/>
                  </a:cubicBezTo>
                  <a:cubicBezTo>
                    <a:pt x="1878" y="10615"/>
                    <a:pt x="1796" y="10678"/>
                    <a:pt x="1751" y="10699"/>
                  </a:cubicBezTo>
                  <a:cubicBezTo>
                    <a:pt x="1730" y="10708"/>
                    <a:pt x="1673" y="10716"/>
                    <a:pt x="1616" y="10725"/>
                  </a:cubicBezTo>
                  <a:cubicBezTo>
                    <a:pt x="1558" y="10734"/>
                    <a:pt x="1500" y="10744"/>
                    <a:pt x="1467" y="10762"/>
                  </a:cubicBezTo>
                  <a:cubicBezTo>
                    <a:pt x="1452" y="10771"/>
                    <a:pt x="1422" y="10785"/>
                    <a:pt x="1386" y="10802"/>
                  </a:cubicBezTo>
                  <a:cubicBezTo>
                    <a:pt x="1357" y="10769"/>
                    <a:pt x="1328" y="10737"/>
                    <a:pt x="1310" y="10715"/>
                  </a:cubicBezTo>
                  <a:cubicBezTo>
                    <a:pt x="1289" y="10690"/>
                    <a:pt x="1273" y="10670"/>
                    <a:pt x="1260" y="10651"/>
                  </a:cubicBezTo>
                  <a:cubicBezTo>
                    <a:pt x="1591" y="10470"/>
                    <a:pt x="1591" y="10470"/>
                    <a:pt x="1591" y="10470"/>
                  </a:cubicBezTo>
                  <a:lnTo>
                    <a:pt x="1767" y="10585"/>
                  </a:lnTo>
                  <a:close/>
                  <a:moveTo>
                    <a:pt x="1429" y="10951"/>
                  </a:moveTo>
                  <a:cubicBezTo>
                    <a:pt x="1419" y="10956"/>
                    <a:pt x="1409" y="10960"/>
                    <a:pt x="1400" y="10965"/>
                  </a:cubicBezTo>
                  <a:cubicBezTo>
                    <a:pt x="1310" y="10863"/>
                    <a:pt x="1310" y="10863"/>
                    <a:pt x="1310" y="10863"/>
                  </a:cubicBezTo>
                  <a:cubicBezTo>
                    <a:pt x="1319" y="10859"/>
                    <a:pt x="1328" y="10855"/>
                    <a:pt x="1338" y="10851"/>
                  </a:cubicBezTo>
                  <a:cubicBezTo>
                    <a:pt x="1372" y="10888"/>
                    <a:pt x="1406" y="10926"/>
                    <a:pt x="1429" y="10951"/>
                  </a:cubicBezTo>
                  <a:close/>
                  <a:moveTo>
                    <a:pt x="1378" y="10976"/>
                  </a:moveTo>
                  <a:cubicBezTo>
                    <a:pt x="1364" y="10983"/>
                    <a:pt x="1353" y="10988"/>
                    <a:pt x="1346" y="10992"/>
                  </a:cubicBezTo>
                  <a:cubicBezTo>
                    <a:pt x="1326" y="10970"/>
                    <a:pt x="1295" y="10934"/>
                    <a:pt x="1256" y="10889"/>
                  </a:cubicBezTo>
                  <a:cubicBezTo>
                    <a:pt x="1266" y="10884"/>
                    <a:pt x="1276" y="10879"/>
                    <a:pt x="1287" y="10874"/>
                  </a:cubicBezTo>
                  <a:lnTo>
                    <a:pt x="1378" y="10976"/>
                  </a:lnTo>
                  <a:close/>
                  <a:moveTo>
                    <a:pt x="1326" y="11075"/>
                  </a:moveTo>
                  <a:cubicBezTo>
                    <a:pt x="1657" y="11455"/>
                    <a:pt x="1657" y="11455"/>
                    <a:pt x="1657" y="11455"/>
                  </a:cubicBezTo>
                  <a:cubicBezTo>
                    <a:pt x="1594" y="11494"/>
                    <a:pt x="1525" y="11538"/>
                    <a:pt x="1510" y="11546"/>
                  </a:cubicBezTo>
                  <a:cubicBezTo>
                    <a:pt x="1505" y="11549"/>
                    <a:pt x="1486" y="11553"/>
                    <a:pt x="1464" y="11553"/>
                  </a:cubicBezTo>
                  <a:cubicBezTo>
                    <a:pt x="1414" y="11553"/>
                    <a:pt x="1342" y="11538"/>
                    <a:pt x="1317" y="11512"/>
                  </a:cubicBezTo>
                  <a:cubicBezTo>
                    <a:pt x="1307" y="11502"/>
                    <a:pt x="1304" y="11494"/>
                    <a:pt x="1304" y="11486"/>
                  </a:cubicBezTo>
                  <a:cubicBezTo>
                    <a:pt x="1303" y="11462"/>
                    <a:pt x="1335" y="11430"/>
                    <a:pt x="1351" y="11399"/>
                  </a:cubicBezTo>
                  <a:cubicBezTo>
                    <a:pt x="1360" y="11380"/>
                    <a:pt x="1369" y="11360"/>
                    <a:pt x="1369" y="11337"/>
                  </a:cubicBezTo>
                  <a:cubicBezTo>
                    <a:pt x="1369" y="11312"/>
                    <a:pt x="1358" y="11286"/>
                    <a:pt x="1333" y="11259"/>
                  </a:cubicBezTo>
                  <a:cubicBezTo>
                    <a:pt x="1302" y="11228"/>
                    <a:pt x="1298" y="11194"/>
                    <a:pt x="1298" y="11177"/>
                  </a:cubicBezTo>
                  <a:cubicBezTo>
                    <a:pt x="1298" y="11170"/>
                    <a:pt x="1299" y="11167"/>
                    <a:pt x="1299" y="11167"/>
                  </a:cubicBezTo>
                  <a:cubicBezTo>
                    <a:pt x="1299" y="11164"/>
                    <a:pt x="1299" y="11164"/>
                    <a:pt x="1299" y="11164"/>
                  </a:cubicBezTo>
                  <a:cubicBezTo>
                    <a:pt x="1298" y="11161"/>
                    <a:pt x="1298" y="11161"/>
                    <a:pt x="1298" y="11161"/>
                  </a:cubicBezTo>
                  <a:cubicBezTo>
                    <a:pt x="1298" y="11161"/>
                    <a:pt x="1291" y="11138"/>
                    <a:pt x="1277" y="11111"/>
                  </a:cubicBezTo>
                  <a:cubicBezTo>
                    <a:pt x="1285" y="11105"/>
                    <a:pt x="1293" y="11099"/>
                    <a:pt x="1300" y="11094"/>
                  </a:cubicBezTo>
                  <a:cubicBezTo>
                    <a:pt x="1312" y="11085"/>
                    <a:pt x="1321" y="11078"/>
                    <a:pt x="1326" y="11075"/>
                  </a:cubicBezTo>
                  <a:close/>
                  <a:moveTo>
                    <a:pt x="1189" y="12600"/>
                  </a:moveTo>
                  <a:cubicBezTo>
                    <a:pt x="771" y="12698"/>
                    <a:pt x="771" y="12698"/>
                    <a:pt x="771" y="12698"/>
                  </a:cubicBezTo>
                  <a:cubicBezTo>
                    <a:pt x="752" y="12643"/>
                    <a:pt x="752" y="12643"/>
                    <a:pt x="752" y="12643"/>
                  </a:cubicBezTo>
                  <a:cubicBezTo>
                    <a:pt x="711" y="12657"/>
                    <a:pt x="711" y="12657"/>
                    <a:pt x="711" y="12657"/>
                  </a:cubicBezTo>
                  <a:cubicBezTo>
                    <a:pt x="696" y="12612"/>
                    <a:pt x="696" y="12612"/>
                    <a:pt x="696" y="12612"/>
                  </a:cubicBezTo>
                  <a:cubicBezTo>
                    <a:pt x="620" y="12638"/>
                    <a:pt x="620" y="12638"/>
                    <a:pt x="620" y="12638"/>
                  </a:cubicBezTo>
                  <a:cubicBezTo>
                    <a:pt x="614" y="12640"/>
                    <a:pt x="614" y="12640"/>
                    <a:pt x="614" y="12640"/>
                  </a:cubicBezTo>
                  <a:cubicBezTo>
                    <a:pt x="644" y="12727"/>
                    <a:pt x="644" y="12727"/>
                    <a:pt x="644" y="12727"/>
                  </a:cubicBezTo>
                  <a:cubicBezTo>
                    <a:pt x="611" y="12735"/>
                    <a:pt x="611" y="12735"/>
                    <a:pt x="611" y="12735"/>
                  </a:cubicBezTo>
                  <a:cubicBezTo>
                    <a:pt x="597" y="12709"/>
                    <a:pt x="578" y="12678"/>
                    <a:pt x="557" y="12645"/>
                  </a:cubicBezTo>
                  <a:cubicBezTo>
                    <a:pt x="575" y="12640"/>
                    <a:pt x="598" y="12632"/>
                    <a:pt x="626" y="12623"/>
                  </a:cubicBezTo>
                  <a:cubicBezTo>
                    <a:pt x="683" y="12606"/>
                    <a:pt x="756" y="12582"/>
                    <a:pt x="829" y="12558"/>
                  </a:cubicBezTo>
                  <a:cubicBezTo>
                    <a:pt x="942" y="12520"/>
                    <a:pt x="1053" y="12483"/>
                    <a:pt x="1097" y="12469"/>
                  </a:cubicBezTo>
                  <a:lnTo>
                    <a:pt x="1189" y="12600"/>
                  </a:lnTo>
                  <a:close/>
                  <a:moveTo>
                    <a:pt x="748" y="12803"/>
                  </a:moveTo>
                  <a:cubicBezTo>
                    <a:pt x="691" y="12823"/>
                    <a:pt x="691" y="12823"/>
                    <a:pt x="691" y="12823"/>
                  </a:cubicBezTo>
                  <a:cubicBezTo>
                    <a:pt x="662" y="12738"/>
                    <a:pt x="662" y="12738"/>
                    <a:pt x="662" y="12738"/>
                  </a:cubicBezTo>
                  <a:cubicBezTo>
                    <a:pt x="763" y="12714"/>
                    <a:pt x="763" y="12714"/>
                    <a:pt x="763" y="12714"/>
                  </a:cubicBezTo>
                  <a:cubicBezTo>
                    <a:pt x="773" y="12745"/>
                    <a:pt x="773" y="12745"/>
                    <a:pt x="773" y="12745"/>
                  </a:cubicBezTo>
                  <a:cubicBezTo>
                    <a:pt x="732" y="12759"/>
                    <a:pt x="732" y="12759"/>
                    <a:pt x="732" y="12759"/>
                  </a:cubicBezTo>
                  <a:lnTo>
                    <a:pt x="748" y="12803"/>
                  </a:lnTo>
                  <a:close/>
                  <a:moveTo>
                    <a:pt x="657" y="12724"/>
                  </a:moveTo>
                  <a:cubicBezTo>
                    <a:pt x="631" y="12649"/>
                    <a:pt x="631" y="12649"/>
                    <a:pt x="631" y="12649"/>
                  </a:cubicBezTo>
                  <a:cubicBezTo>
                    <a:pt x="687" y="12629"/>
                    <a:pt x="687" y="12629"/>
                    <a:pt x="687" y="12629"/>
                  </a:cubicBezTo>
                  <a:cubicBezTo>
                    <a:pt x="703" y="12673"/>
                    <a:pt x="703" y="12673"/>
                    <a:pt x="703" y="12673"/>
                  </a:cubicBezTo>
                  <a:cubicBezTo>
                    <a:pt x="743" y="12659"/>
                    <a:pt x="743" y="12659"/>
                    <a:pt x="743" y="12659"/>
                  </a:cubicBezTo>
                  <a:cubicBezTo>
                    <a:pt x="758" y="12701"/>
                    <a:pt x="758" y="12701"/>
                    <a:pt x="758" y="12701"/>
                  </a:cubicBezTo>
                  <a:lnTo>
                    <a:pt x="657" y="12724"/>
                  </a:lnTo>
                  <a:close/>
                  <a:moveTo>
                    <a:pt x="649" y="12741"/>
                  </a:moveTo>
                  <a:cubicBezTo>
                    <a:pt x="683" y="12840"/>
                    <a:pt x="683" y="12840"/>
                    <a:pt x="683" y="12840"/>
                  </a:cubicBezTo>
                  <a:cubicBezTo>
                    <a:pt x="765" y="12811"/>
                    <a:pt x="765" y="12811"/>
                    <a:pt x="765" y="12811"/>
                  </a:cubicBezTo>
                  <a:cubicBezTo>
                    <a:pt x="749" y="12767"/>
                    <a:pt x="749" y="12767"/>
                    <a:pt x="749" y="12767"/>
                  </a:cubicBezTo>
                  <a:cubicBezTo>
                    <a:pt x="790" y="12753"/>
                    <a:pt x="790" y="12753"/>
                    <a:pt x="790" y="12753"/>
                  </a:cubicBezTo>
                  <a:cubicBezTo>
                    <a:pt x="775" y="12711"/>
                    <a:pt x="775" y="12711"/>
                    <a:pt x="775" y="12711"/>
                  </a:cubicBezTo>
                  <a:cubicBezTo>
                    <a:pt x="1198" y="12613"/>
                    <a:pt x="1198" y="12613"/>
                    <a:pt x="1198" y="12613"/>
                  </a:cubicBezTo>
                  <a:cubicBezTo>
                    <a:pt x="1270" y="12716"/>
                    <a:pt x="1270" y="12716"/>
                    <a:pt x="1270" y="12716"/>
                  </a:cubicBezTo>
                  <a:cubicBezTo>
                    <a:pt x="1168" y="12738"/>
                    <a:pt x="945" y="12788"/>
                    <a:pt x="945" y="12788"/>
                  </a:cubicBezTo>
                  <a:cubicBezTo>
                    <a:pt x="945" y="12788"/>
                    <a:pt x="945" y="12788"/>
                    <a:pt x="945" y="12788"/>
                  </a:cubicBezTo>
                  <a:cubicBezTo>
                    <a:pt x="926" y="12792"/>
                    <a:pt x="903" y="12797"/>
                    <a:pt x="876" y="12803"/>
                  </a:cubicBezTo>
                  <a:cubicBezTo>
                    <a:pt x="816" y="12816"/>
                    <a:pt x="745" y="12832"/>
                    <a:pt x="695" y="12843"/>
                  </a:cubicBezTo>
                  <a:cubicBezTo>
                    <a:pt x="682" y="12846"/>
                    <a:pt x="672" y="12848"/>
                    <a:pt x="663" y="12851"/>
                  </a:cubicBezTo>
                  <a:cubicBezTo>
                    <a:pt x="653" y="12822"/>
                    <a:pt x="640" y="12790"/>
                    <a:pt x="621" y="12753"/>
                  </a:cubicBezTo>
                  <a:cubicBezTo>
                    <a:pt x="620" y="12752"/>
                    <a:pt x="619" y="12750"/>
                    <a:pt x="618" y="12748"/>
                  </a:cubicBezTo>
                  <a:lnTo>
                    <a:pt x="649" y="12741"/>
                  </a:lnTo>
                  <a:close/>
                  <a:moveTo>
                    <a:pt x="1320" y="12789"/>
                  </a:moveTo>
                  <a:cubicBezTo>
                    <a:pt x="1516" y="12888"/>
                    <a:pt x="1516" y="12888"/>
                    <a:pt x="1516" y="12888"/>
                  </a:cubicBezTo>
                  <a:cubicBezTo>
                    <a:pt x="1566" y="13289"/>
                    <a:pt x="1566" y="13289"/>
                    <a:pt x="1566" y="13289"/>
                  </a:cubicBezTo>
                  <a:cubicBezTo>
                    <a:pt x="1433" y="13492"/>
                    <a:pt x="1433" y="13492"/>
                    <a:pt x="1433" y="13492"/>
                  </a:cubicBezTo>
                  <a:cubicBezTo>
                    <a:pt x="1168" y="13272"/>
                    <a:pt x="1168" y="13272"/>
                    <a:pt x="1168" y="13272"/>
                  </a:cubicBezTo>
                  <a:cubicBezTo>
                    <a:pt x="1164" y="13059"/>
                    <a:pt x="1164" y="13059"/>
                    <a:pt x="1164" y="13059"/>
                  </a:cubicBezTo>
                  <a:cubicBezTo>
                    <a:pt x="1164" y="13055"/>
                    <a:pt x="1164" y="13055"/>
                    <a:pt x="1164" y="13055"/>
                  </a:cubicBezTo>
                  <a:cubicBezTo>
                    <a:pt x="1162" y="13052"/>
                    <a:pt x="1162" y="13052"/>
                    <a:pt x="1162" y="13052"/>
                  </a:cubicBezTo>
                  <a:cubicBezTo>
                    <a:pt x="1040" y="12854"/>
                    <a:pt x="1040" y="12854"/>
                    <a:pt x="1040" y="12854"/>
                  </a:cubicBezTo>
                  <a:lnTo>
                    <a:pt x="1320" y="12789"/>
                  </a:lnTo>
                  <a:close/>
                  <a:moveTo>
                    <a:pt x="677" y="13188"/>
                  </a:moveTo>
                  <a:cubicBezTo>
                    <a:pt x="681" y="13110"/>
                    <a:pt x="683" y="13031"/>
                    <a:pt x="683" y="12986"/>
                  </a:cubicBezTo>
                  <a:cubicBezTo>
                    <a:pt x="683" y="12973"/>
                    <a:pt x="683" y="12963"/>
                    <a:pt x="682" y="12955"/>
                  </a:cubicBezTo>
                  <a:cubicBezTo>
                    <a:pt x="682" y="12942"/>
                    <a:pt x="681" y="12929"/>
                    <a:pt x="678" y="12914"/>
                  </a:cubicBezTo>
                  <a:cubicBezTo>
                    <a:pt x="679" y="12914"/>
                    <a:pt x="680" y="12914"/>
                    <a:pt x="680" y="12914"/>
                  </a:cubicBezTo>
                  <a:cubicBezTo>
                    <a:pt x="699" y="12909"/>
                    <a:pt x="726" y="12903"/>
                    <a:pt x="756" y="12897"/>
                  </a:cubicBezTo>
                  <a:cubicBezTo>
                    <a:pt x="815" y="12883"/>
                    <a:pt x="878" y="12872"/>
                    <a:pt x="928" y="12861"/>
                  </a:cubicBezTo>
                  <a:cubicBezTo>
                    <a:pt x="928" y="12861"/>
                    <a:pt x="960" y="12855"/>
                    <a:pt x="972" y="12852"/>
                  </a:cubicBezTo>
                  <a:cubicBezTo>
                    <a:pt x="1111" y="13078"/>
                    <a:pt x="1111" y="13078"/>
                    <a:pt x="1111" y="13078"/>
                  </a:cubicBezTo>
                  <a:cubicBezTo>
                    <a:pt x="1112" y="13276"/>
                    <a:pt x="1112" y="13276"/>
                    <a:pt x="1112" y="13276"/>
                  </a:cubicBezTo>
                  <a:cubicBezTo>
                    <a:pt x="1024" y="13195"/>
                    <a:pt x="1024" y="13195"/>
                    <a:pt x="1024" y="13195"/>
                  </a:cubicBezTo>
                  <a:cubicBezTo>
                    <a:pt x="677" y="13199"/>
                    <a:pt x="677" y="13199"/>
                    <a:pt x="677" y="13199"/>
                  </a:cubicBezTo>
                  <a:cubicBezTo>
                    <a:pt x="677" y="13195"/>
                    <a:pt x="677" y="13192"/>
                    <a:pt x="677" y="13188"/>
                  </a:cubicBezTo>
                  <a:close/>
                  <a:moveTo>
                    <a:pt x="1544" y="13552"/>
                  </a:moveTo>
                  <a:cubicBezTo>
                    <a:pt x="1545" y="13551"/>
                    <a:pt x="1545" y="13551"/>
                    <a:pt x="1545" y="13551"/>
                  </a:cubicBezTo>
                  <a:cubicBezTo>
                    <a:pt x="1545" y="13551"/>
                    <a:pt x="1573" y="13507"/>
                    <a:pt x="1603" y="13460"/>
                  </a:cubicBezTo>
                  <a:cubicBezTo>
                    <a:pt x="1623" y="13428"/>
                    <a:pt x="1645" y="13395"/>
                    <a:pt x="1658" y="13375"/>
                  </a:cubicBezTo>
                  <a:cubicBezTo>
                    <a:pt x="1882" y="13457"/>
                    <a:pt x="1882" y="13457"/>
                    <a:pt x="1882" y="13457"/>
                  </a:cubicBezTo>
                  <a:cubicBezTo>
                    <a:pt x="1595" y="13905"/>
                    <a:pt x="1595" y="13905"/>
                    <a:pt x="1595" y="13905"/>
                  </a:cubicBezTo>
                  <a:cubicBezTo>
                    <a:pt x="1532" y="13867"/>
                    <a:pt x="1532" y="13867"/>
                    <a:pt x="1532" y="13867"/>
                  </a:cubicBezTo>
                  <a:cubicBezTo>
                    <a:pt x="1358" y="13808"/>
                    <a:pt x="1358" y="13808"/>
                    <a:pt x="1358" y="13808"/>
                  </a:cubicBezTo>
                  <a:lnTo>
                    <a:pt x="1544" y="13552"/>
                  </a:lnTo>
                  <a:close/>
                  <a:moveTo>
                    <a:pt x="2900" y="15193"/>
                  </a:moveTo>
                  <a:cubicBezTo>
                    <a:pt x="2951" y="15148"/>
                    <a:pt x="3003" y="15107"/>
                    <a:pt x="3049" y="15071"/>
                  </a:cubicBezTo>
                  <a:cubicBezTo>
                    <a:pt x="3055" y="15075"/>
                    <a:pt x="3061" y="15079"/>
                    <a:pt x="3068" y="15084"/>
                  </a:cubicBezTo>
                  <a:cubicBezTo>
                    <a:pt x="3093" y="15101"/>
                    <a:pt x="3126" y="15124"/>
                    <a:pt x="3160" y="15146"/>
                  </a:cubicBezTo>
                  <a:cubicBezTo>
                    <a:pt x="3222" y="15188"/>
                    <a:pt x="3284" y="15229"/>
                    <a:pt x="3292" y="15234"/>
                  </a:cubicBezTo>
                  <a:cubicBezTo>
                    <a:pt x="3370" y="15325"/>
                    <a:pt x="3370" y="15325"/>
                    <a:pt x="3370" y="15325"/>
                  </a:cubicBezTo>
                  <a:cubicBezTo>
                    <a:pt x="3055" y="15501"/>
                    <a:pt x="3055" y="15501"/>
                    <a:pt x="3055" y="15501"/>
                  </a:cubicBezTo>
                  <a:cubicBezTo>
                    <a:pt x="3055" y="15500"/>
                    <a:pt x="3054" y="15500"/>
                    <a:pt x="3053" y="15499"/>
                  </a:cubicBezTo>
                  <a:cubicBezTo>
                    <a:pt x="3047" y="15490"/>
                    <a:pt x="3038" y="15478"/>
                    <a:pt x="3028" y="15464"/>
                  </a:cubicBezTo>
                  <a:cubicBezTo>
                    <a:pt x="3006" y="15436"/>
                    <a:pt x="2978" y="15400"/>
                    <a:pt x="2950" y="15363"/>
                  </a:cubicBezTo>
                  <a:cubicBezTo>
                    <a:pt x="2912" y="15314"/>
                    <a:pt x="2873" y="15265"/>
                    <a:pt x="2851" y="15236"/>
                  </a:cubicBezTo>
                  <a:cubicBezTo>
                    <a:pt x="2867" y="15222"/>
                    <a:pt x="2883" y="15207"/>
                    <a:pt x="2900" y="15193"/>
                  </a:cubicBezTo>
                  <a:close/>
                  <a:moveTo>
                    <a:pt x="3321" y="15948"/>
                  </a:moveTo>
                  <a:cubicBezTo>
                    <a:pt x="3322" y="15946"/>
                    <a:pt x="3323" y="15944"/>
                    <a:pt x="3324" y="15942"/>
                  </a:cubicBezTo>
                  <a:cubicBezTo>
                    <a:pt x="3326" y="15937"/>
                    <a:pt x="3328" y="15931"/>
                    <a:pt x="3330" y="15923"/>
                  </a:cubicBezTo>
                  <a:cubicBezTo>
                    <a:pt x="3335" y="15908"/>
                    <a:pt x="3341" y="15889"/>
                    <a:pt x="3346" y="15869"/>
                  </a:cubicBezTo>
                  <a:cubicBezTo>
                    <a:pt x="3357" y="15829"/>
                    <a:pt x="3367" y="15790"/>
                    <a:pt x="3367" y="15790"/>
                  </a:cubicBezTo>
                  <a:cubicBezTo>
                    <a:pt x="3368" y="15787"/>
                    <a:pt x="3368" y="15787"/>
                    <a:pt x="3368" y="15787"/>
                  </a:cubicBezTo>
                  <a:cubicBezTo>
                    <a:pt x="3367" y="15785"/>
                    <a:pt x="3367" y="15785"/>
                    <a:pt x="3367" y="15785"/>
                  </a:cubicBezTo>
                  <a:cubicBezTo>
                    <a:pt x="3367" y="15785"/>
                    <a:pt x="3326" y="15708"/>
                    <a:pt x="3286" y="15629"/>
                  </a:cubicBezTo>
                  <a:cubicBezTo>
                    <a:pt x="3257" y="15575"/>
                    <a:pt x="3229" y="15520"/>
                    <a:pt x="3213" y="15488"/>
                  </a:cubicBezTo>
                  <a:cubicBezTo>
                    <a:pt x="3467" y="15346"/>
                    <a:pt x="3467" y="15346"/>
                    <a:pt x="3467" y="15346"/>
                  </a:cubicBezTo>
                  <a:cubicBezTo>
                    <a:pt x="3519" y="15433"/>
                    <a:pt x="3519" y="15433"/>
                    <a:pt x="3519" y="15433"/>
                  </a:cubicBezTo>
                  <a:cubicBezTo>
                    <a:pt x="3416" y="15492"/>
                    <a:pt x="3416" y="15492"/>
                    <a:pt x="3416" y="15492"/>
                  </a:cubicBezTo>
                  <a:cubicBezTo>
                    <a:pt x="3465" y="15577"/>
                    <a:pt x="3465" y="15577"/>
                    <a:pt x="3465" y="15577"/>
                  </a:cubicBezTo>
                  <a:cubicBezTo>
                    <a:pt x="3469" y="15583"/>
                    <a:pt x="3469" y="15583"/>
                    <a:pt x="3469" y="15583"/>
                  </a:cubicBezTo>
                  <a:cubicBezTo>
                    <a:pt x="3573" y="15522"/>
                    <a:pt x="3573" y="15522"/>
                    <a:pt x="3573" y="15522"/>
                  </a:cubicBezTo>
                  <a:cubicBezTo>
                    <a:pt x="3702" y="15738"/>
                    <a:pt x="3702" y="15738"/>
                    <a:pt x="3702" y="15738"/>
                  </a:cubicBezTo>
                  <a:cubicBezTo>
                    <a:pt x="3449" y="16003"/>
                    <a:pt x="3449" y="16003"/>
                    <a:pt x="3449" y="16003"/>
                  </a:cubicBezTo>
                  <a:cubicBezTo>
                    <a:pt x="3320" y="15949"/>
                    <a:pt x="3320" y="15949"/>
                    <a:pt x="3320" y="15949"/>
                  </a:cubicBezTo>
                  <a:cubicBezTo>
                    <a:pt x="3321" y="15948"/>
                    <a:pt x="3321" y="15948"/>
                    <a:pt x="3321" y="15948"/>
                  </a:cubicBezTo>
                  <a:close/>
                  <a:moveTo>
                    <a:pt x="3713" y="15746"/>
                  </a:moveTo>
                  <a:cubicBezTo>
                    <a:pt x="3864" y="15779"/>
                    <a:pt x="3864" y="15779"/>
                    <a:pt x="3864" y="15779"/>
                  </a:cubicBezTo>
                  <a:cubicBezTo>
                    <a:pt x="4269" y="15530"/>
                    <a:pt x="4269" y="15530"/>
                    <a:pt x="4269" y="15530"/>
                  </a:cubicBezTo>
                  <a:cubicBezTo>
                    <a:pt x="4270" y="15530"/>
                    <a:pt x="4271" y="15530"/>
                    <a:pt x="4272" y="15530"/>
                  </a:cubicBezTo>
                  <a:cubicBezTo>
                    <a:pt x="4296" y="15575"/>
                    <a:pt x="4314" y="15612"/>
                    <a:pt x="4319" y="15628"/>
                  </a:cubicBezTo>
                  <a:cubicBezTo>
                    <a:pt x="4326" y="15649"/>
                    <a:pt x="4335" y="15685"/>
                    <a:pt x="4345" y="15728"/>
                  </a:cubicBezTo>
                  <a:cubicBezTo>
                    <a:pt x="4305" y="15748"/>
                    <a:pt x="4124" y="15835"/>
                    <a:pt x="4026" y="15883"/>
                  </a:cubicBezTo>
                  <a:cubicBezTo>
                    <a:pt x="3989" y="15901"/>
                    <a:pt x="3966" y="15912"/>
                    <a:pt x="3961" y="15915"/>
                  </a:cubicBezTo>
                  <a:cubicBezTo>
                    <a:pt x="3961" y="15915"/>
                    <a:pt x="3961" y="15916"/>
                    <a:pt x="3961" y="15916"/>
                  </a:cubicBezTo>
                  <a:cubicBezTo>
                    <a:pt x="3961" y="15916"/>
                    <a:pt x="3961" y="15916"/>
                    <a:pt x="3961" y="15916"/>
                  </a:cubicBezTo>
                  <a:cubicBezTo>
                    <a:pt x="3961" y="15917"/>
                    <a:pt x="3960" y="15915"/>
                    <a:pt x="3959" y="15918"/>
                  </a:cubicBezTo>
                  <a:cubicBezTo>
                    <a:pt x="3958" y="15919"/>
                    <a:pt x="3957" y="15920"/>
                    <a:pt x="3956" y="15921"/>
                  </a:cubicBezTo>
                  <a:cubicBezTo>
                    <a:pt x="3953" y="15924"/>
                    <a:pt x="3949" y="15927"/>
                    <a:pt x="3944" y="15932"/>
                  </a:cubicBezTo>
                  <a:cubicBezTo>
                    <a:pt x="3933" y="15942"/>
                    <a:pt x="3918" y="15955"/>
                    <a:pt x="3900" y="15971"/>
                  </a:cubicBezTo>
                  <a:cubicBezTo>
                    <a:pt x="3864" y="16003"/>
                    <a:pt x="3815" y="16046"/>
                    <a:pt x="3767" y="16088"/>
                  </a:cubicBezTo>
                  <a:cubicBezTo>
                    <a:pt x="3685" y="16159"/>
                    <a:pt x="3603" y="16230"/>
                    <a:pt x="3580" y="16250"/>
                  </a:cubicBezTo>
                  <a:cubicBezTo>
                    <a:pt x="3459" y="16013"/>
                    <a:pt x="3459" y="16013"/>
                    <a:pt x="3459" y="16013"/>
                  </a:cubicBezTo>
                  <a:lnTo>
                    <a:pt x="3713" y="15746"/>
                  </a:lnTo>
                  <a:close/>
                  <a:moveTo>
                    <a:pt x="4248" y="16186"/>
                  </a:moveTo>
                  <a:cubicBezTo>
                    <a:pt x="4217" y="16156"/>
                    <a:pt x="4175" y="16116"/>
                    <a:pt x="4134" y="16076"/>
                  </a:cubicBezTo>
                  <a:cubicBezTo>
                    <a:pt x="4065" y="16009"/>
                    <a:pt x="3997" y="15943"/>
                    <a:pt x="3977" y="15923"/>
                  </a:cubicBezTo>
                  <a:cubicBezTo>
                    <a:pt x="3979" y="15922"/>
                    <a:pt x="3981" y="15921"/>
                    <a:pt x="3985" y="15919"/>
                  </a:cubicBezTo>
                  <a:cubicBezTo>
                    <a:pt x="3996" y="15913"/>
                    <a:pt x="4011" y="15906"/>
                    <a:pt x="4029" y="15897"/>
                  </a:cubicBezTo>
                  <a:cubicBezTo>
                    <a:pt x="4066" y="15879"/>
                    <a:pt x="4115" y="15855"/>
                    <a:pt x="4164" y="15832"/>
                  </a:cubicBezTo>
                  <a:cubicBezTo>
                    <a:pt x="4242" y="15794"/>
                    <a:pt x="4320" y="15756"/>
                    <a:pt x="4348" y="15742"/>
                  </a:cubicBezTo>
                  <a:cubicBezTo>
                    <a:pt x="4361" y="15798"/>
                    <a:pt x="4375" y="15864"/>
                    <a:pt x="4387" y="15926"/>
                  </a:cubicBezTo>
                  <a:cubicBezTo>
                    <a:pt x="4404" y="16012"/>
                    <a:pt x="4418" y="16091"/>
                    <a:pt x="4424" y="16126"/>
                  </a:cubicBezTo>
                  <a:cubicBezTo>
                    <a:pt x="4394" y="16148"/>
                    <a:pt x="4343" y="16184"/>
                    <a:pt x="4288" y="16222"/>
                  </a:cubicBezTo>
                  <a:cubicBezTo>
                    <a:pt x="4287" y="16222"/>
                    <a:pt x="4287" y="16222"/>
                    <a:pt x="4287" y="16222"/>
                  </a:cubicBezTo>
                  <a:cubicBezTo>
                    <a:pt x="4278" y="16213"/>
                    <a:pt x="4264" y="16201"/>
                    <a:pt x="4248" y="16186"/>
                  </a:cubicBezTo>
                  <a:close/>
                  <a:moveTo>
                    <a:pt x="4683" y="15301"/>
                  </a:moveTo>
                  <a:cubicBezTo>
                    <a:pt x="4644" y="15323"/>
                    <a:pt x="4605" y="15344"/>
                    <a:pt x="4568" y="15365"/>
                  </a:cubicBezTo>
                  <a:cubicBezTo>
                    <a:pt x="4291" y="14884"/>
                    <a:pt x="4291" y="14884"/>
                    <a:pt x="4291" y="14884"/>
                  </a:cubicBezTo>
                  <a:cubicBezTo>
                    <a:pt x="4718" y="14641"/>
                    <a:pt x="4718" y="14641"/>
                    <a:pt x="4718" y="14641"/>
                  </a:cubicBezTo>
                  <a:cubicBezTo>
                    <a:pt x="4759" y="14702"/>
                    <a:pt x="4999" y="15052"/>
                    <a:pt x="5039" y="15103"/>
                  </a:cubicBezTo>
                  <a:cubicBezTo>
                    <a:pt x="5004" y="15123"/>
                    <a:pt x="4844" y="15211"/>
                    <a:pt x="4683" y="15301"/>
                  </a:cubicBezTo>
                  <a:close/>
                  <a:moveTo>
                    <a:pt x="5038" y="15080"/>
                  </a:moveTo>
                  <a:cubicBezTo>
                    <a:pt x="5029" y="15066"/>
                    <a:pt x="5016" y="15048"/>
                    <a:pt x="5000" y="15025"/>
                  </a:cubicBezTo>
                  <a:cubicBezTo>
                    <a:pt x="4968" y="14980"/>
                    <a:pt x="4927" y="14921"/>
                    <a:pt x="4886" y="14861"/>
                  </a:cubicBezTo>
                  <a:cubicBezTo>
                    <a:pt x="4818" y="14763"/>
                    <a:pt x="4751" y="14665"/>
                    <a:pt x="4730" y="14634"/>
                  </a:cubicBezTo>
                  <a:cubicBezTo>
                    <a:pt x="5161" y="14389"/>
                    <a:pt x="5161" y="14389"/>
                    <a:pt x="5161" y="14389"/>
                  </a:cubicBezTo>
                  <a:cubicBezTo>
                    <a:pt x="5438" y="14819"/>
                    <a:pt x="5438" y="14819"/>
                    <a:pt x="5438" y="14819"/>
                  </a:cubicBezTo>
                  <a:cubicBezTo>
                    <a:pt x="5051" y="15096"/>
                    <a:pt x="5051" y="15096"/>
                    <a:pt x="5051" y="15096"/>
                  </a:cubicBezTo>
                  <a:cubicBezTo>
                    <a:pt x="5050" y="15096"/>
                    <a:pt x="5050" y="15096"/>
                    <a:pt x="5050" y="15095"/>
                  </a:cubicBezTo>
                  <a:cubicBezTo>
                    <a:pt x="5047" y="15092"/>
                    <a:pt x="5043" y="15086"/>
                    <a:pt x="5038" y="15080"/>
                  </a:cubicBezTo>
                  <a:close/>
                  <a:moveTo>
                    <a:pt x="5173" y="14382"/>
                  </a:moveTo>
                  <a:cubicBezTo>
                    <a:pt x="5571" y="14094"/>
                    <a:pt x="5571" y="14094"/>
                    <a:pt x="5571" y="14094"/>
                  </a:cubicBezTo>
                  <a:cubicBezTo>
                    <a:pt x="5528" y="14208"/>
                    <a:pt x="5528" y="14208"/>
                    <a:pt x="5528" y="14208"/>
                  </a:cubicBezTo>
                  <a:cubicBezTo>
                    <a:pt x="5842" y="14484"/>
                    <a:pt x="5842" y="14484"/>
                    <a:pt x="5842" y="14484"/>
                  </a:cubicBezTo>
                  <a:cubicBezTo>
                    <a:pt x="5449" y="14810"/>
                    <a:pt x="5449" y="14810"/>
                    <a:pt x="5449" y="14810"/>
                  </a:cubicBezTo>
                  <a:lnTo>
                    <a:pt x="5173" y="14382"/>
                  </a:lnTo>
                  <a:close/>
                  <a:moveTo>
                    <a:pt x="5853" y="14493"/>
                  </a:moveTo>
                  <a:cubicBezTo>
                    <a:pt x="6041" y="14659"/>
                    <a:pt x="6041" y="14659"/>
                    <a:pt x="6041" y="14659"/>
                  </a:cubicBezTo>
                  <a:cubicBezTo>
                    <a:pt x="6041" y="14659"/>
                    <a:pt x="6041" y="14659"/>
                    <a:pt x="6041" y="14659"/>
                  </a:cubicBezTo>
                  <a:cubicBezTo>
                    <a:pt x="6040" y="14660"/>
                    <a:pt x="6039" y="14661"/>
                    <a:pt x="6037" y="14662"/>
                  </a:cubicBezTo>
                  <a:cubicBezTo>
                    <a:pt x="6021" y="14672"/>
                    <a:pt x="5998" y="14686"/>
                    <a:pt x="5970" y="14703"/>
                  </a:cubicBezTo>
                  <a:cubicBezTo>
                    <a:pt x="5915" y="14737"/>
                    <a:pt x="5841" y="14781"/>
                    <a:pt x="5767" y="14825"/>
                  </a:cubicBezTo>
                  <a:cubicBezTo>
                    <a:pt x="5639" y="14902"/>
                    <a:pt x="5511" y="14978"/>
                    <a:pt x="5479" y="14997"/>
                  </a:cubicBezTo>
                  <a:cubicBezTo>
                    <a:pt x="5455" y="14823"/>
                    <a:pt x="5455" y="14823"/>
                    <a:pt x="5455" y="14823"/>
                  </a:cubicBezTo>
                  <a:lnTo>
                    <a:pt x="5853" y="14493"/>
                  </a:lnTo>
                  <a:close/>
                  <a:moveTo>
                    <a:pt x="5768" y="14841"/>
                  </a:moveTo>
                  <a:cubicBezTo>
                    <a:pt x="5879" y="14774"/>
                    <a:pt x="5991" y="14707"/>
                    <a:pt x="6042" y="14675"/>
                  </a:cubicBezTo>
                  <a:cubicBezTo>
                    <a:pt x="6080" y="15160"/>
                    <a:pt x="6080" y="15160"/>
                    <a:pt x="6080" y="15160"/>
                  </a:cubicBezTo>
                  <a:cubicBezTo>
                    <a:pt x="6019" y="15161"/>
                    <a:pt x="5826" y="15164"/>
                    <a:pt x="5827" y="15164"/>
                  </a:cubicBezTo>
                  <a:cubicBezTo>
                    <a:pt x="5502" y="15152"/>
                    <a:pt x="5502" y="15152"/>
                    <a:pt x="5502" y="15152"/>
                  </a:cubicBezTo>
                  <a:cubicBezTo>
                    <a:pt x="5482" y="15012"/>
                    <a:pt x="5482" y="15012"/>
                    <a:pt x="5482" y="15012"/>
                  </a:cubicBezTo>
                  <a:cubicBezTo>
                    <a:pt x="5500" y="15001"/>
                    <a:pt x="5633" y="14922"/>
                    <a:pt x="5768" y="14841"/>
                  </a:cubicBezTo>
                  <a:close/>
                  <a:moveTo>
                    <a:pt x="6123" y="14861"/>
                  </a:moveTo>
                  <a:cubicBezTo>
                    <a:pt x="6592" y="14887"/>
                    <a:pt x="6592" y="14887"/>
                    <a:pt x="6592" y="14887"/>
                  </a:cubicBezTo>
                  <a:cubicBezTo>
                    <a:pt x="6597" y="15027"/>
                    <a:pt x="6597" y="15027"/>
                    <a:pt x="6597" y="15027"/>
                  </a:cubicBezTo>
                  <a:cubicBezTo>
                    <a:pt x="6568" y="15026"/>
                    <a:pt x="6465" y="15023"/>
                    <a:pt x="6361" y="15020"/>
                  </a:cubicBezTo>
                  <a:cubicBezTo>
                    <a:pt x="6340" y="15019"/>
                    <a:pt x="6319" y="15018"/>
                    <a:pt x="6299" y="15018"/>
                  </a:cubicBezTo>
                  <a:cubicBezTo>
                    <a:pt x="6301" y="14909"/>
                    <a:pt x="6301" y="14909"/>
                    <a:pt x="6301" y="14909"/>
                  </a:cubicBezTo>
                  <a:cubicBezTo>
                    <a:pt x="6215" y="14907"/>
                    <a:pt x="6215" y="14907"/>
                    <a:pt x="6215" y="14907"/>
                  </a:cubicBezTo>
                  <a:cubicBezTo>
                    <a:pt x="6214" y="14954"/>
                    <a:pt x="6214" y="14954"/>
                    <a:pt x="6214" y="14954"/>
                  </a:cubicBezTo>
                  <a:cubicBezTo>
                    <a:pt x="6171" y="14954"/>
                    <a:pt x="6171" y="14954"/>
                    <a:pt x="6171" y="14954"/>
                  </a:cubicBezTo>
                  <a:cubicBezTo>
                    <a:pt x="6170" y="15013"/>
                    <a:pt x="6170" y="15013"/>
                    <a:pt x="6170" y="15013"/>
                  </a:cubicBezTo>
                  <a:cubicBezTo>
                    <a:pt x="6156" y="15013"/>
                    <a:pt x="6144" y="15012"/>
                    <a:pt x="6135" y="15012"/>
                  </a:cubicBezTo>
                  <a:lnTo>
                    <a:pt x="6123" y="14861"/>
                  </a:lnTo>
                  <a:close/>
                  <a:moveTo>
                    <a:pt x="6182" y="15058"/>
                  </a:moveTo>
                  <a:cubicBezTo>
                    <a:pt x="6183" y="15028"/>
                    <a:pt x="6183" y="15028"/>
                    <a:pt x="6183" y="15028"/>
                  </a:cubicBezTo>
                  <a:cubicBezTo>
                    <a:pt x="6183" y="15028"/>
                    <a:pt x="6184" y="15028"/>
                    <a:pt x="6185" y="15028"/>
                  </a:cubicBezTo>
                  <a:cubicBezTo>
                    <a:pt x="6214" y="15029"/>
                    <a:pt x="6249" y="15030"/>
                    <a:pt x="6286" y="15031"/>
                  </a:cubicBezTo>
                  <a:cubicBezTo>
                    <a:pt x="6284" y="15106"/>
                    <a:pt x="6284" y="15106"/>
                    <a:pt x="6284" y="15106"/>
                  </a:cubicBezTo>
                  <a:cubicBezTo>
                    <a:pt x="6224" y="15105"/>
                    <a:pt x="6224" y="15105"/>
                    <a:pt x="6224" y="15105"/>
                  </a:cubicBezTo>
                  <a:cubicBezTo>
                    <a:pt x="6225" y="15058"/>
                    <a:pt x="6225" y="15058"/>
                    <a:pt x="6225" y="15058"/>
                  </a:cubicBezTo>
                  <a:lnTo>
                    <a:pt x="6182" y="15058"/>
                  </a:lnTo>
                  <a:close/>
                  <a:moveTo>
                    <a:pt x="6183" y="15014"/>
                  </a:moveTo>
                  <a:cubicBezTo>
                    <a:pt x="6184" y="14967"/>
                    <a:pt x="6184" y="14967"/>
                    <a:pt x="6184" y="14967"/>
                  </a:cubicBezTo>
                  <a:cubicBezTo>
                    <a:pt x="6227" y="14968"/>
                    <a:pt x="6227" y="14968"/>
                    <a:pt x="6227" y="14968"/>
                  </a:cubicBezTo>
                  <a:cubicBezTo>
                    <a:pt x="6228" y="14921"/>
                    <a:pt x="6228" y="14921"/>
                    <a:pt x="6228" y="14921"/>
                  </a:cubicBezTo>
                  <a:cubicBezTo>
                    <a:pt x="6288" y="14922"/>
                    <a:pt x="6288" y="14922"/>
                    <a:pt x="6288" y="14922"/>
                  </a:cubicBezTo>
                  <a:cubicBezTo>
                    <a:pt x="6286" y="15017"/>
                    <a:pt x="6286" y="15017"/>
                    <a:pt x="6286" y="15017"/>
                  </a:cubicBezTo>
                  <a:cubicBezTo>
                    <a:pt x="6248" y="15016"/>
                    <a:pt x="6212" y="15015"/>
                    <a:pt x="6183" y="15014"/>
                  </a:cubicBezTo>
                  <a:close/>
                  <a:moveTo>
                    <a:pt x="6169" y="15027"/>
                  </a:moveTo>
                  <a:cubicBezTo>
                    <a:pt x="6169" y="15070"/>
                    <a:pt x="6169" y="15070"/>
                    <a:pt x="6169" y="15070"/>
                  </a:cubicBezTo>
                  <a:cubicBezTo>
                    <a:pt x="6212" y="15071"/>
                    <a:pt x="6212" y="15071"/>
                    <a:pt x="6212" y="15071"/>
                  </a:cubicBezTo>
                  <a:cubicBezTo>
                    <a:pt x="6211" y="15118"/>
                    <a:pt x="6211" y="15118"/>
                    <a:pt x="6211" y="15118"/>
                  </a:cubicBezTo>
                  <a:cubicBezTo>
                    <a:pt x="6291" y="15120"/>
                    <a:pt x="6291" y="15120"/>
                    <a:pt x="6291" y="15120"/>
                  </a:cubicBezTo>
                  <a:cubicBezTo>
                    <a:pt x="6297" y="15120"/>
                    <a:pt x="6297" y="15120"/>
                    <a:pt x="6297" y="15120"/>
                  </a:cubicBezTo>
                  <a:cubicBezTo>
                    <a:pt x="6299" y="15032"/>
                    <a:pt x="6299" y="15032"/>
                    <a:pt x="6299" y="15032"/>
                  </a:cubicBezTo>
                  <a:cubicBezTo>
                    <a:pt x="6318" y="15032"/>
                    <a:pt x="6337" y="15033"/>
                    <a:pt x="6356" y="15033"/>
                  </a:cubicBezTo>
                  <a:cubicBezTo>
                    <a:pt x="6463" y="15037"/>
                    <a:pt x="6569" y="15040"/>
                    <a:pt x="6598" y="15041"/>
                  </a:cubicBezTo>
                  <a:cubicBezTo>
                    <a:pt x="6603" y="15189"/>
                    <a:pt x="6603" y="15189"/>
                    <a:pt x="6603" y="15189"/>
                  </a:cubicBezTo>
                  <a:cubicBezTo>
                    <a:pt x="6601" y="15189"/>
                    <a:pt x="6598" y="15189"/>
                    <a:pt x="6593" y="15189"/>
                  </a:cubicBezTo>
                  <a:cubicBezTo>
                    <a:pt x="6584" y="15189"/>
                    <a:pt x="6571" y="15189"/>
                    <a:pt x="6555" y="15189"/>
                  </a:cubicBezTo>
                  <a:cubicBezTo>
                    <a:pt x="6450" y="15189"/>
                    <a:pt x="6227" y="15188"/>
                    <a:pt x="6148" y="15187"/>
                  </a:cubicBezTo>
                  <a:cubicBezTo>
                    <a:pt x="6136" y="15026"/>
                    <a:pt x="6136" y="15026"/>
                    <a:pt x="6136" y="15026"/>
                  </a:cubicBezTo>
                  <a:cubicBezTo>
                    <a:pt x="6145" y="15026"/>
                    <a:pt x="6156" y="15027"/>
                    <a:pt x="6169" y="15027"/>
                  </a:cubicBezTo>
                  <a:close/>
                  <a:moveTo>
                    <a:pt x="6169" y="15201"/>
                  </a:moveTo>
                  <a:cubicBezTo>
                    <a:pt x="6200" y="15201"/>
                    <a:pt x="6243" y="15202"/>
                    <a:pt x="6289" y="15202"/>
                  </a:cubicBezTo>
                  <a:cubicBezTo>
                    <a:pt x="6382" y="15203"/>
                    <a:pt x="6491" y="15203"/>
                    <a:pt x="6555" y="15203"/>
                  </a:cubicBezTo>
                  <a:cubicBezTo>
                    <a:pt x="6579" y="15203"/>
                    <a:pt x="6595" y="15203"/>
                    <a:pt x="6604" y="15203"/>
                  </a:cubicBezTo>
                  <a:cubicBezTo>
                    <a:pt x="6608" y="15317"/>
                    <a:pt x="6608" y="15317"/>
                    <a:pt x="6608" y="15317"/>
                  </a:cubicBezTo>
                  <a:cubicBezTo>
                    <a:pt x="6622" y="15316"/>
                    <a:pt x="6622" y="15316"/>
                    <a:pt x="6622" y="15316"/>
                  </a:cubicBezTo>
                  <a:cubicBezTo>
                    <a:pt x="6597" y="14675"/>
                    <a:pt x="6597" y="14675"/>
                    <a:pt x="6597" y="14675"/>
                  </a:cubicBezTo>
                  <a:cubicBezTo>
                    <a:pt x="6655" y="14675"/>
                    <a:pt x="6715" y="14675"/>
                    <a:pt x="6775" y="14675"/>
                  </a:cubicBezTo>
                  <a:cubicBezTo>
                    <a:pt x="6775" y="14757"/>
                    <a:pt x="6775" y="15049"/>
                    <a:pt x="6780" y="15140"/>
                  </a:cubicBezTo>
                  <a:cubicBezTo>
                    <a:pt x="6781" y="15156"/>
                    <a:pt x="6781" y="15164"/>
                    <a:pt x="6783" y="15170"/>
                  </a:cubicBezTo>
                  <a:cubicBezTo>
                    <a:pt x="6783" y="15170"/>
                    <a:pt x="6783" y="15170"/>
                    <a:pt x="6783" y="15170"/>
                  </a:cubicBezTo>
                  <a:cubicBezTo>
                    <a:pt x="6715" y="15154"/>
                    <a:pt x="6715" y="15154"/>
                    <a:pt x="6715" y="15154"/>
                  </a:cubicBezTo>
                  <a:cubicBezTo>
                    <a:pt x="6719" y="15310"/>
                    <a:pt x="6719" y="15310"/>
                    <a:pt x="6719" y="15310"/>
                  </a:cubicBezTo>
                  <a:cubicBezTo>
                    <a:pt x="6335" y="15336"/>
                    <a:pt x="6335" y="15336"/>
                    <a:pt x="6335" y="15336"/>
                  </a:cubicBezTo>
                  <a:cubicBezTo>
                    <a:pt x="6337" y="15242"/>
                    <a:pt x="6337" y="15242"/>
                    <a:pt x="6337" y="15242"/>
                  </a:cubicBezTo>
                  <a:cubicBezTo>
                    <a:pt x="6251" y="15241"/>
                    <a:pt x="6251" y="15241"/>
                    <a:pt x="6251" y="15241"/>
                  </a:cubicBezTo>
                  <a:cubicBezTo>
                    <a:pt x="6250" y="15288"/>
                    <a:pt x="6250" y="15288"/>
                    <a:pt x="6250" y="15288"/>
                  </a:cubicBezTo>
                  <a:cubicBezTo>
                    <a:pt x="6207" y="15287"/>
                    <a:pt x="6207" y="15287"/>
                    <a:pt x="6207" y="15287"/>
                  </a:cubicBezTo>
                  <a:cubicBezTo>
                    <a:pt x="6206" y="15344"/>
                    <a:pt x="6206" y="15344"/>
                    <a:pt x="6206" y="15344"/>
                  </a:cubicBezTo>
                  <a:cubicBezTo>
                    <a:pt x="6161" y="15347"/>
                    <a:pt x="6161" y="15347"/>
                    <a:pt x="6161" y="15347"/>
                  </a:cubicBezTo>
                  <a:cubicBezTo>
                    <a:pt x="6149" y="15201"/>
                    <a:pt x="6149" y="15201"/>
                    <a:pt x="6149" y="15201"/>
                  </a:cubicBezTo>
                  <a:cubicBezTo>
                    <a:pt x="6155" y="15201"/>
                    <a:pt x="6162" y="15201"/>
                    <a:pt x="6169" y="15201"/>
                  </a:cubicBezTo>
                  <a:close/>
                  <a:moveTo>
                    <a:pt x="6218" y="15391"/>
                  </a:moveTo>
                  <a:cubicBezTo>
                    <a:pt x="6219" y="15357"/>
                    <a:pt x="6219" y="15357"/>
                    <a:pt x="6219" y="15357"/>
                  </a:cubicBezTo>
                  <a:cubicBezTo>
                    <a:pt x="6322" y="15351"/>
                    <a:pt x="6322" y="15351"/>
                    <a:pt x="6322" y="15351"/>
                  </a:cubicBezTo>
                  <a:cubicBezTo>
                    <a:pt x="6320" y="15439"/>
                    <a:pt x="6320" y="15439"/>
                    <a:pt x="6320" y="15439"/>
                  </a:cubicBezTo>
                  <a:cubicBezTo>
                    <a:pt x="6260" y="15438"/>
                    <a:pt x="6260" y="15438"/>
                    <a:pt x="6260" y="15438"/>
                  </a:cubicBezTo>
                  <a:cubicBezTo>
                    <a:pt x="6261" y="15391"/>
                    <a:pt x="6261" y="15391"/>
                    <a:pt x="6261" y="15391"/>
                  </a:cubicBezTo>
                  <a:lnTo>
                    <a:pt x="6218" y="15391"/>
                  </a:lnTo>
                  <a:close/>
                  <a:moveTo>
                    <a:pt x="6219" y="15343"/>
                  </a:moveTo>
                  <a:cubicBezTo>
                    <a:pt x="6220" y="15300"/>
                    <a:pt x="6220" y="15300"/>
                    <a:pt x="6220" y="15300"/>
                  </a:cubicBezTo>
                  <a:cubicBezTo>
                    <a:pt x="6263" y="15301"/>
                    <a:pt x="6263" y="15301"/>
                    <a:pt x="6263" y="15301"/>
                  </a:cubicBezTo>
                  <a:cubicBezTo>
                    <a:pt x="6264" y="15254"/>
                    <a:pt x="6264" y="15254"/>
                    <a:pt x="6264" y="15254"/>
                  </a:cubicBezTo>
                  <a:cubicBezTo>
                    <a:pt x="6324" y="15255"/>
                    <a:pt x="6324" y="15255"/>
                    <a:pt x="6324" y="15255"/>
                  </a:cubicBezTo>
                  <a:cubicBezTo>
                    <a:pt x="6322" y="15337"/>
                    <a:pt x="6322" y="15337"/>
                    <a:pt x="6322" y="15337"/>
                  </a:cubicBezTo>
                  <a:lnTo>
                    <a:pt x="6219" y="15343"/>
                  </a:lnTo>
                  <a:close/>
                  <a:moveTo>
                    <a:pt x="6412" y="15645"/>
                  </a:moveTo>
                  <a:cubicBezTo>
                    <a:pt x="6406" y="15910"/>
                    <a:pt x="6406" y="15910"/>
                    <a:pt x="6406" y="15910"/>
                  </a:cubicBezTo>
                  <a:cubicBezTo>
                    <a:pt x="6205" y="15904"/>
                    <a:pt x="6205" y="15904"/>
                    <a:pt x="6205" y="15904"/>
                  </a:cubicBezTo>
                  <a:cubicBezTo>
                    <a:pt x="6185" y="15658"/>
                    <a:pt x="6185" y="15658"/>
                    <a:pt x="6185" y="15658"/>
                  </a:cubicBezTo>
                  <a:lnTo>
                    <a:pt x="6412" y="15645"/>
                  </a:lnTo>
                  <a:close/>
                  <a:moveTo>
                    <a:pt x="6290" y="16604"/>
                  </a:moveTo>
                  <a:cubicBezTo>
                    <a:pt x="6304" y="16571"/>
                    <a:pt x="6312" y="16532"/>
                    <a:pt x="6313" y="16488"/>
                  </a:cubicBezTo>
                  <a:cubicBezTo>
                    <a:pt x="6315" y="16449"/>
                    <a:pt x="6316" y="16406"/>
                    <a:pt x="6317" y="16362"/>
                  </a:cubicBezTo>
                  <a:cubicBezTo>
                    <a:pt x="6475" y="16373"/>
                    <a:pt x="6475" y="16373"/>
                    <a:pt x="6475" y="16373"/>
                  </a:cubicBezTo>
                  <a:cubicBezTo>
                    <a:pt x="6475" y="16433"/>
                    <a:pt x="6475" y="16433"/>
                    <a:pt x="6475" y="16433"/>
                  </a:cubicBezTo>
                  <a:cubicBezTo>
                    <a:pt x="6481" y="16434"/>
                    <a:pt x="6481" y="16434"/>
                    <a:pt x="6481" y="16434"/>
                  </a:cubicBezTo>
                  <a:cubicBezTo>
                    <a:pt x="6481" y="16434"/>
                    <a:pt x="6754" y="16501"/>
                    <a:pt x="6813" y="16513"/>
                  </a:cubicBezTo>
                  <a:cubicBezTo>
                    <a:pt x="6700" y="16571"/>
                    <a:pt x="6700" y="16571"/>
                    <a:pt x="6700" y="16571"/>
                  </a:cubicBezTo>
                  <a:cubicBezTo>
                    <a:pt x="6718" y="16703"/>
                    <a:pt x="6718" y="16703"/>
                    <a:pt x="6718" y="16703"/>
                  </a:cubicBezTo>
                  <a:lnTo>
                    <a:pt x="6290" y="16604"/>
                  </a:lnTo>
                  <a:close/>
                  <a:moveTo>
                    <a:pt x="6650" y="16461"/>
                  </a:moveTo>
                  <a:cubicBezTo>
                    <a:pt x="6578" y="16444"/>
                    <a:pt x="6509" y="16427"/>
                    <a:pt x="6489" y="16422"/>
                  </a:cubicBezTo>
                  <a:cubicBezTo>
                    <a:pt x="6489" y="16360"/>
                    <a:pt x="6489" y="16360"/>
                    <a:pt x="6489" y="16360"/>
                  </a:cubicBezTo>
                  <a:cubicBezTo>
                    <a:pt x="6317" y="16348"/>
                    <a:pt x="6317" y="16348"/>
                    <a:pt x="6317" y="16348"/>
                  </a:cubicBezTo>
                  <a:cubicBezTo>
                    <a:pt x="6319" y="16278"/>
                    <a:pt x="6320" y="16207"/>
                    <a:pt x="6320" y="16144"/>
                  </a:cubicBezTo>
                  <a:cubicBezTo>
                    <a:pt x="6499" y="16145"/>
                    <a:pt x="6499" y="16145"/>
                    <a:pt x="6499" y="16145"/>
                  </a:cubicBezTo>
                  <a:cubicBezTo>
                    <a:pt x="6493" y="16208"/>
                    <a:pt x="6493" y="16208"/>
                    <a:pt x="6493" y="16208"/>
                  </a:cubicBezTo>
                  <a:cubicBezTo>
                    <a:pt x="6855" y="16282"/>
                    <a:pt x="6855" y="16282"/>
                    <a:pt x="6855" y="16282"/>
                  </a:cubicBezTo>
                  <a:cubicBezTo>
                    <a:pt x="6839" y="16377"/>
                    <a:pt x="6824" y="16465"/>
                    <a:pt x="6818" y="16500"/>
                  </a:cubicBezTo>
                  <a:cubicBezTo>
                    <a:pt x="6797" y="16495"/>
                    <a:pt x="6722" y="16478"/>
                    <a:pt x="6650" y="16461"/>
                  </a:cubicBezTo>
                  <a:close/>
                  <a:moveTo>
                    <a:pt x="6508" y="16197"/>
                  </a:moveTo>
                  <a:cubicBezTo>
                    <a:pt x="6514" y="16132"/>
                    <a:pt x="6514" y="16132"/>
                    <a:pt x="6514" y="16132"/>
                  </a:cubicBezTo>
                  <a:cubicBezTo>
                    <a:pt x="6321" y="16130"/>
                    <a:pt x="6321" y="16130"/>
                    <a:pt x="6321" y="16130"/>
                  </a:cubicBezTo>
                  <a:cubicBezTo>
                    <a:pt x="6321" y="16061"/>
                    <a:pt x="6321" y="16004"/>
                    <a:pt x="6321" y="15974"/>
                  </a:cubicBezTo>
                  <a:cubicBezTo>
                    <a:pt x="6904" y="15991"/>
                    <a:pt x="6904" y="15991"/>
                    <a:pt x="6904" y="15991"/>
                  </a:cubicBezTo>
                  <a:cubicBezTo>
                    <a:pt x="6904" y="15993"/>
                    <a:pt x="6904" y="15994"/>
                    <a:pt x="6903" y="15996"/>
                  </a:cubicBezTo>
                  <a:cubicBezTo>
                    <a:pt x="6901" y="16011"/>
                    <a:pt x="6897" y="16032"/>
                    <a:pt x="6893" y="16058"/>
                  </a:cubicBezTo>
                  <a:cubicBezTo>
                    <a:pt x="6884" y="16109"/>
                    <a:pt x="6872" y="16177"/>
                    <a:pt x="6861" y="16244"/>
                  </a:cubicBezTo>
                  <a:cubicBezTo>
                    <a:pt x="6860" y="16253"/>
                    <a:pt x="6858" y="16261"/>
                    <a:pt x="6857" y="16269"/>
                  </a:cubicBezTo>
                  <a:lnTo>
                    <a:pt x="6508" y="16197"/>
                  </a:lnTo>
                  <a:close/>
                  <a:moveTo>
                    <a:pt x="6977" y="15514"/>
                  </a:moveTo>
                  <a:cubicBezTo>
                    <a:pt x="6977" y="15508"/>
                    <a:pt x="6977" y="15508"/>
                    <a:pt x="6977" y="15508"/>
                  </a:cubicBezTo>
                  <a:cubicBezTo>
                    <a:pt x="6871" y="15489"/>
                    <a:pt x="6871" y="15489"/>
                    <a:pt x="6871" y="15489"/>
                  </a:cubicBezTo>
                  <a:cubicBezTo>
                    <a:pt x="6883" y="15207"/>
                    <a:pt x="6883" y="15207"/>
                    <a:pt x="6883" y="15207"/>
                  </a:cubicBezTo>
                  <a:cubicBezTo>
                    <a:pt x="7025" y="15240"/>
                    <a:pt x="7025" y="15240"/>
                    <a:pt x="7025" y="15240"/>
                  </a:cubicBezTo>
                  <a:cubicBezTo>
                    <a:pt x="7094" y="15226"/>
                    <a:pt x="7094" y="15226"/>
                    <a:pt x="7094" y="15226"/>
                  </a:cubicBezTo>
                  <a:cubicBezTo>
                    <a:pt x="7098" y="15508"/>
                    <a:pt x="7098" y="15508"/>
                    <a:pt x="7098" y="15508"/>
                  </a:cubicBezTo>
                  <a:cubicBezTo>
                    <a:pt x="7162" y="15539"/>
                    <a:pt x="7162" y="15539"/>
                    <a:pt x="7162" y="15539"/>
                  </a:cubicBezTo>
                  <a:cubicBezTo>
                    <a:pt x="7212" y="15935"/>
                    <a:pt x="7212" y="15935"/>
                    <a:pt x="7212" y="15935"/>
                  </a:cubicBezTo>
                  <a:cubicBezTo>
                    <a:pt x="6952" y="15927"/>
                    <a:pt x="6952" y="15927"/>
                    <a:pt x="6952" y="15927"/>
                  </a:cubicBezTo>
                  <a:cubicBezTo>
                    <a:pt x="6952" y="15926"/>
                    <a:pt x="6952" y="15926"/>
                    <a:pt x="6952" y="15926"/>
                  </a:cubicBezTo>
                  <a:cubicBezTo>
                    <a:pt x="6952" y="15863"/>
                    <a:pt x="6977" y="15514"/>
                    <a:pt x="6977" y="15514"/>
                  </a:cubicBezTo>
                  <a:close/>
                  <a:moveTo>
                    <a:pt x="7032" y="15224"/>
                  </a:moveTo>
                  <a:cubicBezTo>
                    <a:pt x="7014" y="14831"/>
                    <a:pt x="7014" y="14831"/>
                    <a:pt x="7014" y="14831"/>
                  </a:cubicBezTo>
                  <a:cubicBezTo>
                    <a:pt x="7115" y="14829"/>
                    <a:pt x="7115" y="14829"/>
                    <a:pt x="7115" y="14829"/>
                  </a:cubicBezTo>
                  <a:cubicBezTo>
                    <a:pt x="7113" y="14742"/>
                    <a:pt x="7113" y="14742"/>
                    <a:pt x="7113" y="14742"/>
                  </a:cubicBezTo>
                  <a:cubicBezTo>
                    <a:pt x="7066" y="14744"/>
                    <a:pt x="7066" y="14744"/>
                    <a:pt x="7066" y="14744"/>
                  </a:cubicBezTo>
                  <a:cubicBezTo>
                    <a:pt x="7065" y="14701"/>
                    <a:pt x="7065" y="14701"/>
                    <a:pt x="7065" y="14701"/>
                  </a:cubicBezTo>
                  <a:cubicBezTo>
                    <a:pt x="7008" y="14702"/>
                    <a:pt x="7008" y="14702"/>
                    <a:pt x="7008" y="14702"/>
                  </a:cubicBezTo>
                  <a:cubicBezTo>
                    <a:pt x="7007" y="14674"/>
                    <a:pt x="7007" y="14674"/>
                    <a:pt x="7007" y="14674"/>
                  </a:cubicBezTo>
                  <a:cubicBezTo>
                    <a:pt x="7069" y="14674"/>
                    <a:pt x="7127" y="14673"/>
                    <a:pt x="7178" y="14673"/>
                  </a:cubicBezTo>
                  <a:cubicBezTo>
                    <a:pt x="7178" y="14676"/>
                    <a:pt x="7178" y="14676"/>
                    <a:pt x="7178" y="14676"/>
                  </a:cubicBezTo>
                  <a:cubicBezTo>
                    <a:pt x="7178" y="14676"/>
                    <a:pt x="7178" y="14676"/>
                    <a:pt x="7179" y="14676"/>
                  </a:cubicBezTo>
                  <a:cubicBezTo>
                    <a:pt x="7179" y="14684"/>
                    <a:pt x="7179" y="14694"/>
                    <a:pt x="7179" y="14705"/>
                  </a:cubicBezTo>
                  <a:cubicBezTo>
                    <a:pt x="7179" y="14835"/>
                    <a:pt x="7177" y="15151"/>
                    <a:pt x="7176" y="15196"/>
                  </a:cubicBezTo>
                  <a:lnTo>
                    <a:pt x="7032" y="15224"/>
                  </a:lnTo>
                  <a:close/>
                  <a:moveTo>
                    <a:pt x="7447" y="14382"/>
                  </a:moveTo>
                  <a:cubicBezTo>
                    <a:pt x="7442" y="14381"/>
                    <a:pt x="7442" y="14381"/>
                    <a:pt x="7442" y="14381"/>
                  </a:cubicBezTo>
                  <a:cubicBezTo>
                    <a:pt x="7442" y="14381"/>
                    <a:pt x="7408" y="14376"/>
                    <a:pt x="7396" y="14374"/>
                  </a:cubicBezTo>
                  <a:cubicBezTo>
                    <a:pt x="7396" y="14374"/>
                    <a:pt x="7396" y="14374"/>
                    <a:pt x="7396" y="14373"/>
                  </a:cubicBezTo>
                  <a:cubicBezTo>
                    <a:pt x="7396" y="14370"/>
                    <a:pt x="7396" y="14365"/>
                    <a:pt x="7396" y="14359"/>
                  </a:cubicBezTo>
                  <a:cubicBezTo>
                    <a:pt x="7396" y="14312"/>
                    <a:pt x="7402" y="14200"/>
                    <a:pt x="7403" y="14185"/>
                  </a:cubicBezTo>
                  <a:cubicBezTo>
                    <a:pt x="7465" y="14090"/>
                    <a:pt x="7465" y="14090"/>
                    <a:pt x="7465" y="14090"/>
                  </a:cubicBezTo>
                  <a:cubicBezTo>
                    <a:pt x="7496" y="14096"/>
                    <a:pt x="7675" y="14131"/>
                    <a:pt x="7731" y="14140"/>
                  </a:cubicBezTo>
                  <a:cubicBezTo>
                    <a:pt x="7727" y="14205"/>
                    <a:pt x="7724" y="14267"/>
                    <a:pt x="7721" y="14316"/>
                  </a:cubicBezTo>
                  <a:cubicBezTo>
                    <a:pt x="7719" y="14360"/>
                    <a:pt x="7716" y="14396"/>
                    <a:pt x="7714" y="14409"/>
                  </a:cubicBezTo>
                  <a:cubicBezTo>
                    <a:pt x="7713" y="14410"/>
                    <a:pt x="7711" y="14411"/>
                    <a:pt x="7709" y="14414"/>
                  </a:cubicBezTo>
                  <a:cubicBezTo>
                    <a:pt x="7705" y="14419"/>
                    <a:pt x="7698" y="14427"/>
                    <a:pt x="7688" y="14436"/>
                  </a:cubicBezTo>
                  <a:cubicBezTo>
                    <a:pt x="7669" y="14454"/>
                    <a:pt x="7642" y="14479"/>
                    <a:pt x="7606" y="14504"/>
                  </a:cubicBezTo>
                  <a:cubicBezTo>
                    <a:pt x="7573" y="14528"/>
                    <a:pt x="7532" y="14551"/>
                    <a:pt x="7486" y="14570"/>
                  </a:cubicBezTo>
                  <a:lnTo>
                    <a:pt x="7447" y="14382"/>
                  </a:lnTo>
                  <a:close/>
                  <a:moveTo>
                    <a:pt x="7603" y="14102"/>
                  </a:moveTo>
                  <a:cubicBezTo>
                    <a:pt x="7544" y="14091"/>
                    <a:pt x="7486" y="14080"/>
                    <a:pt x="7469" y="14077"/>
                  </a:cubicBezTo>
                  <a:cubicBezTo>
                    <a:pt x="7468" y="14046"/>
                    <a:pt x="7461" y="13882"/>
                    <a:pt x="7461" y="13814"/>
                  </a:cubicBezTo>
                  <a:cubicBezTo>
                    <a:pt x="7461" y="13809"/>
                    <a:pt x="7461" y="13805"/>
                    <a:pt x="7461" y="13802"/>
                  </a:cubicBezTo>
                  <a:cubicBezTo>
                    <a:pt x="7761" y="13790"/>
                    <a:pt x="7761" y="13790"/>
                    <a:pt x="7761" y="13790"/>
                  </a:cubicBezTo>
                  <a:cubicBezTo>
                    <a:pt x="7747" y="13873"/>
                    <a:pt x="7738" y="14005"/>
                    <a:pt x="7731" y="14126"/>
                  </a:cubicBezTo>
                  <a:cubicBezTo>
                    <a:pt x="7706" y="14122"/>
                    <a:pt x="7654" y="14112"/>
                    <a:pt x="7603" y="14102"/>
                  </a:cubicBezTo>
                  <a:close/>
                  <a:moveTo>
                    <a:pt x="7322" y="12859"/>
                  </a:moveTo>
                  <a:cubicBezTo>
                    <a:pt x="7319" y="12892"/>
                    <a:pt x="7319" y="12892"/>
                    <a:pt x="7319" y="12892"/>
                  </a:cubicBezTo>
                  <a:cubicBezTo>
                    <a:pt x="6948" y="12834"/>
                    <a:pt x="6948" y="12834"/>
                    <a:pt x="6948" y="12834"/>
                  </a:cubicBezTo>
                  <a:cubicBezTo>
                    <a:pt x="6957" y="12695"/>
                    <a:pt x="6965" y="12574"/>
                    <a:pt x="6966" y="12559"/>
                  </a:cubicBezTo>
                  <a:cubicBezTo>
                    <a:pt x="7036" y="12441"/>
                    <a:pt x="7036" y="12441"/>
                    <a:pt x="7036" y="12441"/>
                  </a:cubicBezTo>
                  <a:cubicBezTo>
                    <a:pt x="7034" y="12446"/>
                    <a:pt x="7034" y="12446"/>
                    <a:pt x="7034" y="12446"/>
                  </a:cubicBezTo>
                  <a:cubicBezTo>
                    <a:pt x="7457" y="12581"/>
                    <a:pt x="7457" y="12581"/>
                    <a:pt x="7457" y="12581"/>
                  </a:cubicBezTo>
                  <a:lnTo>
                    <a:pt x="7322" y="12859"/>
                  </a:lnTo>
                  <a:close/>
                  <a:moveTo>
                    <a:pt x="7781" y="11589"/>
                  </a:moveTo>
                  <a:cubicBezTo>
                    <a:pt x="7477" y="11570"/>
                    <a:pt x="7477" y="11570"/>
                    <a:pt x="7477" y="11570"/>
                  </a:cubicBezTo>
                  <a:cubicBezTo>
                    <a:pt x="7313" y="11412"/>
                    <a:pt x="7313" y="11412"/>
                    <a:pt x="7313" y="11412"/>
                  </a:cubicBezTo>
                  <a:cubicBezTo>
                    <a:pt x="7317" y="11400"/>
                    <a:pt x="7321" y="11387"/>
                    <a:pt x="7325" y="11375"/>
                  </a:cubicBezTo>
                  <a:cubicBezTo>
                    <a:pt x="7326" y="11375"/>
                    <a:pt x="7326" y="11375"/>
                    <a:pt x="7326" y="11375"/>
                  </a:cubicBezTo>
                  <a:cubicBezTo>
                    <a:pt x="7326" y="11374"/>
                    <a:pt x="7326" y="11374"/>
                    <a:pt x="7326" y="11374"/>
                  </a:cubicBezTo>
                  <a:cubicBezTo>
                    <a:pt x="7358" y="11281"/>
                    <a:pt x="7385" y="11201"/>
                    <a:pt x="7400" y="11155"/>
                  </a:cubicBezTo>
                  <a:cubicBezTo>
                    <a:pt x="7401" y="11153"/>
                    <a:pt x="7401" y="11151"/>
                    <a:pt x="7402" y="11149"/>
                  </a:cubicBezTo>
                  <a:cubicBezTo>
                    <a:pt x="7418" y="11156"/>
                    <a:pt x="7434" y="11163"/>
                    <a:pt x="7450" y="11171"/>
                  </a:cubicBezTo>
                  <a:cubicBezTo>
                    <a:pt x="7654" y="11269"/>
                    <a:pt x="7799" y="11341"/>
                    <a:pt x="7894" y="11389"/>
                  </a:cubicBezTo>
                  <a:cubicBezTo>
                    <a:pt x="7950" y="11417"/>
                    <a:pt x="7987" y="11437"/>
                    <a:pt x="8009" y="11448"/>
                  </a:cubicBezTo>
                  <a:cubicBezTo>
                    <a:pt x="7893" y="11687"/>
                    <a:pt x="7893" y="11687"/>
                    <a:pt x="7893" y="11687"/>
                  </a:cubicBezTo>
                  <a:lnTo>
                    <a:pt x="7781" y="11589"/>
                  </a:lnTo>
                  <a:close/>
                  <a:moveTo>
                    <a:pt x="7523" y="11134"/>
                  </a:moveTo>
                  <a:cubicBezTo>
                    <a:pt x="7538" y="11079"/>
                    <a:pt x="7595" y="10875"/>
                    <a:pt x="7660" y="10647"/>
                  </a:cubicBezTo>
                  <a:cubicBezTo>
                    <a:pt x="7736" y="10378"/>
                    <a:pt x="7823" y="10076"/>
                    <a:pt x="7865" y="9941"/>
                  </a:cubicBezTo>
                  <a:cubicBezTo>
                    <a:pt x="7871" y="9922"/>
                    <a:pt x="7876" y="9906"/>
                    <a:pt x="7880" y="9895"/>
                  </a:cubicBezTo>
                  <a:cubicBezTo>
                    <a:pt x="7984" y="9964"/>
                    <a:pt x="8411" y="10250"/>
                    <a:pt x="8547" y="10338"/>
                  </a:cubicBezTo>
                  <a:cubicBezTo>
                    <a:pt x="8548" y="10338"/>
                    <a:pt x="8548" y="10339"/>
                    <a:pt x="8549" y="10339"/>
                  </a:cubicBezTo>
                  <a:cubicBezTo>
                    <a:pt x="8038" y="11389"/>
                    <a:pt x="8038" y="11389"/>
                    <a:pt x="8038" y="11389"/>
                  </a:cubicBezTo>
                  <a:cubicBezTo>
                    <a:pt x="7979" y="11359"/>
                    <a:pt x="7816" y="11275"/>
                    <a:pt x="7523" y="11134"/>
                  </a:cubicBezTo>
                  <a:close/>
                  <a:moveTo>
                    <a:pt x="8494" y="10250"/>
                  </a:moveTo>
                  <a:cubicBezTo>
                    <a:pt x="8425" y="10205"/>
                    <a:pt x="8334" y="10144"/>
                    <a:pt x="8244" y="10084"/>
                  </a:cubicBezTo>
                  <a:cubicBezTo>
                    <a:pt x="8098" y="9987"/>
                    <a:pt x="7954" y="9890"/>
                    <a:pt x="7902" y="9855"/>
                  </a:cubicBezTo>
                  <a:cubicBezTo>
                    <a:pt x="7909" y="9846"/>
                    <a:pt x="7918" y="9833"/>
                    <a:pt x="7929" y="9817"/>
                  </a:cubicBezTo>
                  <a:cubicBezTo>
                    <a:pt x="7953" y="9781"/>
                    <a:pt x="7987" y="9730"/>
                    <a:pt x="8028" y="9669"/>
                  </a:cubicBezTo>
                  <a:cubicBezTo>
                    <a:pt x="8108" y="9546"/>
                    <a:pt x="8214" y="9383"/>
                    <a:pt x="8320" y="9219"/>
                  </a:cubicBezTo>
                  <a:cubicBezTo>
                    <a:pt x="8499" y="8942"/>
                    <a:pt x="8677" y="8664"/>
                    <a:pt x="8726" y="8588"/>
                  </a:cubicBezTo>
                  <a:cubicBezTo>
                    <a:pt x="8856" y="8667"/>
                    <a:pt x="9104" y="8822"/>
                    <a:pt x="9249" y="8903"/>
                  </a:cubicBezTo>
                  <a:cubicBezTo>
                    <a:pt x="8569" y="10299"/>
                    <a:pt x="8569" y="10299"/>
                    <a:pt x="8569" y="10299"/>
                  </a:cubicBezTo>
                  <a:cubicBezTo>
                    <a:pt x="8549" y="10286"/>
                    <a:pt x="8524" y="10269"/>
                    <a:pt x="8494" y="10250"/>
                  </a:cubicBezTo>
                  <a:close/>
                  <a:moveTo>
                    <a:pt x="8450" y="8934"/>
                  </a:moveTo>
                  <a:cubicBezTo>
                    <a:pt x="8366" y="9064"/>
                    <a:pt x="8272" y="9210"/>
                    <a:pt x="8183" y="9347"/>
                  </a:cubicBezTo>
                  <a:cubicBezTo>
                    <a:pt x="7631" y="8990"/>
                    <a:pt x="7631" y="8990"/>
                    <a:pt x="7631" y="8990"/>
                  </a:cubicBezTo>
                  <a:cubicBezTo>
                    <a:pt x="8065" y="8135"/>
                    <a:pt x="8065" y="8135"/>
                    <a:pt x="8065" y="8135"/>
                  </a:cubicBezTo>
                  <a:cubicBezTo>
                    <a:pt x="8069" y="8135"/>
                    <a:pt x="8076" y="8134"/>
                    <a:pt x="8088" y="8133"/>
                  </a:cubicBezTo>
                  <a:cubicBezTo>
                    <a:pt x="8130" y="8165"/>
                    <a:pt x="8226" y="8236"/>
                    <a:pt x="8329" y="8311"/>
                  </a:cubicBezTo>
                  <a:cubicBezTo>
                    <a:pt x="8467" y="8413"/>
                    <a:pt x="8617" y="8521"/>
                    <a:pt x="8671" y="8554"/>
                  </a:cubicBezTo>
                  <a:cubicBezTo>
                    <a:pt x="8676" y="8557"/>
                    <a:pt x="8682" y="8561"/>
                    <a:pt x="8688" y="8564"/>
                  </a:cubicBezTo>
                  <a:cubicBezTo>
                    <a:pt x="8654" y="8617"/>
                    <a:pt x="8562" y="8761"/>
                    <a:pt x="8450" y="8934"/>
                  </a:cubicBezTo>
                  <a:close/>
                  <a:moveTo>
                    <a:pt x="8352" y="7919"/>
                  </a:moveTo>
                  <a:cubicBezTo>
                    <a:pt x="8337" y="7905"/>
                    <a:pt x="8317" y="7885"/>
                    <a:pt x="8292" y="7861"/>
                  </a:cubicBezTo>
                  <a:cubicBezTo>
                    <a:pt x="8243" y="7813"/>
                    <a:pt x="8180" y="7749"/>
                    <a:pt x="8116" y="7685"/>
                  </a:cubicBezTo>
                  <a:cubicBezTo>
                    <a:pt x="8110" y="7679"/>
                    <a:pt x="8104" y="7673"/>
                    <a:pt x="8099" y="7667"/>
                  </a:cubicBezTo>
                  <a:cubicBezTo>
                    <a:pt x="8178" y="7637"/>
                    <a:pt x="8258" y="7608"/>
                    <a:pt x="8285" y="7599"/>
                  </a:cubicBezTo>
                  <a:cubicBezTo>
                    <a:pt x="8577" y="7848"/>
                    <a:pt x="8577" y="7848"/>
                    <a:pt x="8577" y="7848"/>
                  </a:cubicBezTo>
                  <a:cubicBezTo>
                    <a:pt x="8523" y="7885"/>
                    <a:pt x="8457" y="7921"/>
                    <a:pt x="8406" y="7933"/>
                  </a:cubicBezTo>
                  <a:cubicBezTo>
                    <a:pt x="8396" y="7935"/>
                    <a:pt x="8385" y="7937"/>
                    <a:pt x="8374" y="7939"/>
                  </a:cubicBezTo>
                  <a:cubicBezTo>
                    <a:pt x="8373" y="7938"/>
                    <a:pt x="8372" y="7937"/>
                    <a:pt x="8370" y="7935"/>
                  </a:cubicBezTo>
                  <a:cubicBezTo>
                    <a:pt x="8365" y="7932"/>
                    <a:pt x="8359" y="7926"/>
                    <a:pt x="8352" y="7919"/>
                  </a:cubicBezTo>
                  <a:close/>
                  <a:moveTo>
                    <a:pt x="8299" y="7593"/>
                  </a:moveTo>
                  <a:cubicBezTo>
                    <a:pt x="8300" y="7592"/>
                    <a:pt x="8300" y="7592"/>
                    <a:pt x="8301" y="7591"/>
                  </a:cubicBezTo>
                  <a:cubicBezTo>
                    <a:pt x="8302" y="7589"/>
                    <a:pt x="8303" y="7587"/>
                    <a:pt x="8304" y="7584"/>
                  </a:cubicBezTo>
                  <a:cubicBezTo>
                    <a:pt x="8307" y="7579"/>
                    <a:pt x="8310" y="7572"/>
                    <a:pt x="8313" y="7563"/>
                  </a:cubicBezTo>
                  <a:cubicBezTo>
                    <a:pt x="8320" y="7546"/>
                    <a:pt x="8328" y="7522"/>
                    <a:pt x="8336" y="7499"/>
                  </a:cubicBezTo>
                  <a:cubicBezTo>
                    <a:pt x="8349" y="7459"/>
                    <a:pt x="8364" y="7416"/>
                    <a:pt x="8369" y="7402"/>
                  </a:cubicBezTo>
                  <a:cubicBezTo>
                    <a:pt x="8426" y="7442"/>
                    <a:pt x="8479" y="7480"/>
                    <a:pt x="8506" y="7498"/>
                  </a:cubicBezTo>
                  <a:cubicBezTo>
                    <a:pt x="8509" y="7499"/>
                    <a:pt x="8510" y="7500"/>
                    <a:pt x="8512" y="7501"/>
                  </a:cubicBezTo>
                  <a:cubicBezTo>
                    <a:pt x="8519" y="7557"/>
                    <a:pt x="8531" y="7614"/>
                    <a:pt x="8555" y="7669"/>
                  </a:cubicBezTo>
                  <a:cubicBezTo>
                    <a:pt x="8576" y="7715"/>
                    <a:pt x="8606" y="7759"/>
                    <a:pt x="8640" y="7801"/>
                  </a:cubicBezTo>
                  <a:cubicBezTo>
                    <a:pt x="8626" y="7812"/>
                    <a:pt x="8611" y="7825"/>
                    <a:pt x="8593" y="7837"/>
                  </a:cubicBezTo>
                  <a:cubicBezTo>
                    <a:pt x="8592" y="7838"/>
                    <a:pt x="8590" y="7839"/>
                    <a:pt x="8589" y="7840"/>
                  </a:cubicBezTo>
                  <a:lnTo>
                    <a:pt x="8299" y="7593"/>
                  </a:lnTo>
                  <a:close/>
                  <a:moveTo>
                    <a:pt x="10111" y="2660"/>
                  </a:moveTo>
                  <a:cubicBezTo>
                    <a:pt x="9660" y="2788"/>
                    <a:pt x="9079" y="2945"/>
                    <a:pt x="8602" y="3074"/>
                  </a:cubicBezTo>
                  <a:cubicBezTo>
                    <a:pt x="8364" y="3138"/>
                    <a:pt x="8153" y="3195"/>
                    <a:pt x="7997" y="3238"/>
                  </a:cubicBezTo>
                  <a:cubicBezTo>
                    <a:pt x="7919" y="3259"/>
                    <a:pt x="7855" y="3277"/>
                    <a:pt x="7809" y="3290"/>
                  </a:cubicBezTo>
                  <a:cubicBezTo>
                    <a:pt x="7786" y="3296"/>
                    <a:pt x="7767" y="3302"/>
                    <a:pt x="7754" y="3306"/>
                  </a:cubicBezTo>
                  <a:cubicBezTo>
                    <a:pt x="7749" y="3307"/>
                    <a:pt x="7745" y="3308"/>
                    <a:pt x="7742" y="3309"/>
                  </a:cubicBezTo>
                  <a:cubicBezTo>
                    <a:pt x="7742" y="3309"/>
                    <a:pt x="7742" y="3309"/>
                    <a:pt x="7742" y="3309"/>
                  </a:cubicBezTo>
                  <a:cubicBezTo>
                    <a:pt x="7733" y="3312"/>
                    <a:pt x="7733" y="3312"/>
                    <a:pt x="7733" y="3312"/>
                  </a:cubicBezTo>
                  <a:cubicBezTo>
                    <a:pt x="7717" y="3319"/>
                    <a:pt x="7700" y="3324"/>
                    <a:pt x="7677" y="3330"/>
                  </a:cubicBezTo>
                  <a:cubicBezTo>
                    <a:pt x="7638" y="3341"/>
                    <a:pt x="7584" y="3356"/>
                    <a:pt x="7527" y="3376"/>
                  </a:cubicBezTo>
                  <a:cubicBezTo>
                    <a:pt x="7513" y="3342"/>
                    <a:pt x="7513" y="3342"/>
                    <a:pt x="7513" y="3342"/>
                  </a:cubicBezTo>
                  <a:cubicBezTo>
                    <a:pt x="7513" y="3341"/>
                    <a:pt x="7500" y="3309"/>
                    <a:pt x="7478" y="3263"/>
                  </a:cubicBezTo>
                  <a:cubicBezTo>
                    <a:pt x="7526" y="3245"/>
                    <a:pt x="7571" y="3232"/>
                    <a:pt x="7607" y="3222"/>
                  </a:cubicBezTo>
                  <a:cubicBezTo>
                    <a:pt x="7647" y="3211"/>
                    <a:pt x="7678" y="3202"/>
                    <a:pt x="7686" y="3199"/>
                  </a:cubicBezTo>
                  <a:cubicBezTo>
                    <a:pt x="7694" y="3196"/>
                    <a:pt x="7698" y="3194"/>
                    <a:pt x="7707" y="3191"/>
                  </a:cubicBezTo>
                  <a:cubicBezTo>
                    <a:pt x="7771" y="3172"/>
                    <a:pt x="7983" y="3114"/>
                    <a:pt x="8271" y="3036"/>
                  </a:cubicBezTo>
                  <a:cubicBezTo>
                    <a:pt x="8703" y="2919"/>
                    <a:pt x="9303" y="2758"/>
                    <a:pt x="9810" y="2616"/>
                  </a:cubicBezTo>
                  <a:cubicBezTo>
                    <a:pt x="10063" y="2546"/>
                    <a:pt x="10294" y="2480"/>
                    <a:pt x="10468" y="2428"/>
                  </a:cubicBezTo>
                  <a:cubicBezTo>
                    <a:pt x="10478" y="2424"/>
                    <a:pt x="10488" y="2421"/>
                    <a:pt x="10498" y="2418"/>
                  </a:cubicBezTo>
                  <a:cubicBezTo>
                    <a:pt x="10505" y="2445"/>
                    <a:pt x="10513" y="2474"/>
                    <a:pt x="10522" y="2507"/>
                  </a:cubicBezTo>
                  <a:cubicBezTo>
                    <a:pt x="10525" y="2517"/>
                    <a:pt x="10527" y="2527"/>
                    <a:pt x="10530" y="2537"/>
                  </a:cubicBezTo>
                  <a:cubicBezTo>
                    <a:pt x="10414" y="2573"/>
                    <a:pt x="10271" y="2614"/>
                    <a:pt x="10111" y="2660"/>
                  </a:cubicBezTo>
                  <a:close/>
                  <a:moveTo>
                    <a:pt x="10463" y="2412"/>
                  </a:moveTo>
                  <a:cubicBezTo>
                    <a:pt x="10289" y="2464"/>
                    <a:pt x="10059" y="2530"/>
                    <a:pt x="9805" y="2601"/>
                  </a:cubicBezTo>
                  <a:cubicBezTo>
                    <a:pt x="9298" y="2742"/>
                    <a:pt x="8699" y="2904"/>
                    <a:pt x="8267" y="3020"/>
                  </a:cubicBezTo>
                  <a:cubicBezTo>
                    <a:pt x="7978" y="3098"/>
                    <a:pt x="7767" y="3156"/>
                    <a:pt x="7702" y="3176"/>
                  </a:cubicBezTo>
                  <a:cubicBezTo>
                    <a:pt x="7694" y="3178"/>
                    <a:pt x="7688" y="3180"/>
                    <a:pt x="7680" y="3184"/>
                  </a:cubicBezTo>
                  <a:cubicBezTo>
                    <a:pt x="7675" y="3186"/>
                    <a:pt x="7642" y="3195"/>
                    <a:pt x="7603" y="3206"/>
                  </a:cubicBezTo>
                  <a:cubicBezTo>
                    <a:pt x="7566" y="3216"/>
                    <a:pt x="7520" y="3230"/>
                    <a:pt x="7470" y="3248"/>
                  </a:cubicBezTo>
                  <a:cubicBezTo>
                    <a:pt x="7462" y="3232"/>
                    <a:pt x="7454" y="3214"/>
                    <a:pt x="7444" y="3195"/>
                  </a:cubicBezTo>
                  <a:cubicBezTo>
                    <a:pt x="7440" y="3188"/>
                    <a:pt x="7435" y="3180"/>
                    <a:pt x="7431" y="3172"/>
                  </a:cubicBezTo>
                  <a:cubicBezTo>
                    <a:pt x="7543" y="3137"/>
                    <a:pt x="7752" y="3073"/>
                    <a:pt x="7964" y="3008"/>
                  </a:cubicBezTo>
                  <a:cubicBezTo>
                    <a:pt x="8245" y="2921"/>
                    <a:pt x="8530" y="2833"/>
                    <a:pt x="8588" y="2815"/>
                  </a:cubicBezTo>
                  <a:cubicBezTo>
                    <a:pt x="8589" y="2815"/>
                    <a:pt x="8589" y="2815"/>
                    <a:pt x="8589" y="2815"/>
                  </a:cubicBezTo>
                  <a:cubicBezTo>
                    <a:pt x="8598" y="2813"/>
                    <a:pt x="8598" y="2813"/>
                    <a:pt x="8598" y="2813"/>
                  </a:cubicBezTo>
                  <a:cubicBezTo>
                    <a:pt x="8598" y="2813"/>
                    <a:pt x="8598" y="2813"/>
                    <a:pt x="8599" y="2812"/>
                  </a:cubicBezTo>
                  <a:cubicBezTo>
                    <a:pt x="8601" y="2812"/>
                    <a:pt x="8604" y="2811"/>
                    <a:pt x="8608" y="2810"/>
                  </a:cubicBezTo>
                  <a:cubicBezTo>
                    <a:pt x="8616" y="2808"/>
                    <a:pt x="8628" y="2805"/>
                    <a:pt x="8644" y="2801"/>
                  </a:cubicBezTo>
                  <a:cubicBezTo>
                    <a:pt x="8675" y="2793"/>
                    <a:pt x="8720" y="2782"/>
                    <a:pt x="8775" y="2768"/>
                  </a:cubicBezTo>
                  <a:cubicBezTo>
                    <a:pt x="8886" y="2740"/>
                    <a:pt x="9039" y="2702"/>
                    <a:pt x="9209" y="2659"/>
                  </a:cubicBezTo>
                  <a:cubicBezTo>
                    <a:pt x="9549" y="2573"/>
                    <a:pt x="9956" y="2470"/>
                    <a:pt x="10228" y="2401"/>
                  </a:cubicBezTo>
                  <a:cubicBezTo>
                    <a:pt x="10338" y="2373"/>
                    <a:pt x="10424" y="2352"/>
                    <a:pt x="10476" y="2338"/>
                  </a:cubicBezTo>
                  <a:cubicBezTo>
                    <a:pt x="10481" y="2355"/>
                    <a:pt x="10487" y="2377"/>
                    <a:pt x="10494" y="2403"/>
                  </a:cubicBezTo>
                  <a:cubicBezTo>
                    <a:pt x="10483" y="2406"/>
                    <a:pt x="10474" y="2409"/>
                    <a:pt x="10463" y="2412"/>
                  </a:cubicBezTo>
                  <a:close/>
                  <a:moveTo>
                    <a:pt x="8504" y="2717"/>
                  </a:moveTo>
                  <a:cubicBezTo>
                    <a:pt x="8505" y="2713"/>
                    <a:pt x="8507" y="2708"/>
                    <a:pt x="8510" y="2703"/>
                  </a:cubicBezTo>
                  <a:cubicBezTo>
                    <a:pt x="8510" y="2702"/>
                    <a:pt x="8511" y="2701"/>
                    <a:pt x="8511" y="2701"/>
                  </a:cubicBezTo>
                  <a:cubicBezTo>
                    <a:pt x="8508" y="2706"/>
                    <a:pt x="8506" y="2712"/>
                    <a:pt x="8504" y="2717"/>
                  </a:cubicBezTo>
                  <a:close/>
                  <a:moveTo>
                    <a:pt x="8501" y="2683"/>
                  </a:moveTo>
                  <a:cubicBezTo>
                    <a:pt x="8466" y="2693"/>
                    <a:pt x="8417" y="2709"/>
                    <a:pt x="8359" y="2727"/>
                  </a:cubicBezTo>
                  <a:cubicBezTo>
                    <a:pt x="8241" y="2763"/>
                    <a:pt x="8085" y="2811"/>
                    <a:pt x="7928" y="2859"/>
                  </a:cubicBezTo>
                  <a:cubicBezTo>
                    <a:pt x="7684" y="2934"/>
                    <a:pt x="7439" y="3010"/>
                    <a:pt x="7345" y="3039"/>
                  </a:cubicBezTo>
                  <a:cubicBezTo>
                    <a:pt x="7323" y="3012"/>
                    <a:pt x="7300" y="2987"/>
                    <a:pt x="7274" y="2967"/>
                  </a:cubicBezTo>
                  <a:cubicBezTo>
                    <a:pt x="7144" y="2866"/>
                    <a:pt x="6995" y="2845"/>
                    <a:pt x="6891" y="2821"/>
                  </a:cubicBezTo>
                  <a:cubicBezTo>
                    <a:pt x="6842" y="2809"/>
                    <a:pt x="6688" y="2771"/>
                    <a:pt x="6522" y="2728"/>
                  </a:cubicBezTo>
                  <a:cubicBezTo>
                    <a:pt x="6592" y="2482"/>
                    <a:pt x="6592" y="2482"/>
                    <a:pt x="6592" y="2482"/>
                  </a:cubicBezTo>
                  <a:cubicBezTo>
                    <a:pt x="6610" y="2458"/>
                    <a:pt x="6631" y="2443"/>
                    <a:pt x="6661" y="2432"/>
                  </a:cubicBezTo>
                  <a:cubicBezTo>
                    <a:pt x="6692" y="2421"/>
                    <a:pt x="6732" y="2417"/>
                    <a:pt x="6782" y="2417"/>
                  </a:cubicBezTo>
                  <a:cubicBezTo>
                    <a:pt x="6828" y="2417"/>
                    <a:pt x="6954" y="2433"/>
                    <a:pt x="7065" y="2449"/>
                  </a:cubicBezTo>
                  <a:cubicBezTo>
                    <a:pt x="7176" y="2465"/>
                    <a:pt x="7274" y="2482"/>
                    <a:pt x="7274" y="2482"/>
                  </a:cubicBezTo>
                  <a:cubicBezTo>
                    <a:pt x="7277" y="2482"/>
                    <a:pt x="7277" y="2482"/>
                    <a:pt x="7277" y="2482"/>
                  </a:cubicBezTo>
                  <a:cubicBezTo>
                    <a:pt x="8517" y="2458"/>
                    <a:pt x="8517" y="2458"/>
                    <a:pt x="8517" y="2458"/>
                  </a:cubicBezTo>
                  <a:cubicBezTo>
                    <a:pt x="8520" y="2536"/>
                    <a:pt x="8525" y="2626"/>
                    <a:pt x="8527" y="2675"/>
                  </a:cubicBezTo>
                  <a:cubicBezTo>
                    <a:pt x="8520" y="2677"/>
                    <a:pt x="8511" y="2680"/>
                    <a:pt x="8501" y="2683"/>
                  </a:cubicBezTo>
                  <a:close/>
                  <a:moveTo>
                    <a:pt x="5370" y="3915"/>
                  </a:moveTo>
                  <a:cubicBezTo>
                    <a:pt x="5546" y="3990"/>
                    <a:pt x="5657" y="4117"/>
                    <a:pt x="5928" y="4268"/>
                  </a:cubicBezTo>
                  <a:cubicBezTo>
                    <a:pt x="6005" y="4311"/>
                    <a:pt x="6051" y="4384"/>
                    <a:pt x="6079" y="4466"/>
                  </a:cubicBezTo>
                  <a:cubicBezTo>
                    <a:pt x="6106" y="4549"/>
                    <a:pt x="6114" y="4641"/>
                    <a:pt x="6114" y="4714"/>
                  </a:cubicBezTo>
                  <a:cubicBezTo>
                    <a:pt x="6114" y="4754"/>
                    <a:pt x="6112" y="4789"/>
                    <a:pt x="6109" y="4814"/>
                  </a:cubicBezTo>
                  <a:cubicBezTo>
                    <a:pt x="6107" y="4839"/>
                    <a:pt x="6105" y="4853"/>
                    <a:pt x="6105" y="4852"/>
                  </a:cubicBezTo>
                  <a:cubicBezTo>
                    <a:pt x="6062" y="5110"/>
                    <a:pt x="6062" y="5110"/>
                    <a:pt x="6062" y="5110"/>
                  </a:cubicBezTo>
                  <a:cubicBezTo>
                    <a:pt x="5439" y="5213"/>
                    <a:pt x="5439" y="5213"/>
                    <a:pt x="5439" y="5213"/>
                  </a:cubicBezTo>
                  <a:cubicBezTo>
                    <a:pt x="5420" y="4661"/>
                    <a:pt x="5420" y="4661"/>
                    <a:pt x="5420" y="4661"/>
                  </a:cubicBezTo>
                  <a:cubicBezTo>
                    <a:pt x="5416" y="4659"/>
                    <a:pt x="5416" y="4659"/>
                    <a:pt x="5416" y="4659"/>
                  </a:cubicBezTo>
                  <a:cubicBezTo>
                    <a:pt x="5415" y="4659"/>
                    <a:pt x="5050" y="4544"/>
                    <a:pt x="5041" y="4541"/>
                  </a:cubicBezTo>
                  <a:cubicBezTo>
                    <a:pt x="5041" y="4541"/>
                    <a:pt x="5041" y="4541"/>
                    <a:pt x="5041" y="4541"/>
                  </a:cubicBezTo>
                  <a:cubicBezTo>
                    <a:pt x="5040" y="4541"/>
                    <a:pt x="5039" y="4540"/>
                    <a:pt x="5037" y="4538"/>
                  </a:cubicBezTo>
                  <a:cubicBezTo>
                    <a:pt x="5034" y="4536"/>
                    <a:pt x="5030" y="4532"/>
                    <a:pt x="5024" y="4528"/>
                  </a:cubicBezTo>
                  <a:cubicBezTo>
                    <a:pt x="5013" y="4518"/>
                    <a:pt x="4998" y="4505"/>
                    <a:pt x="4980" y="4489"/>
                  </a:cubicBezTo>
                  <a:cubicBezTo>
                    <a:pt x="4944" y="4458"/>
                    <a:pt x="4897" y="4416"/>
                    <a:pt x="4850" y="4375"/>
                  </a:cubicBezTo>
                  <a:cubicBezTo>
                    <a:pt x="4756" y="4292"/>
                    <a:pt x="4663" y="4210"/>
                    <a:pt x="4663" y="4209"/>
                  </a:cubicBezTo>
                  <a:cubicBezTo>
                    <a:pt x="4661" y="4208"/>
                    <a:pt x="4661" y="4208"/>
                    <a:pt x="4661" y="4208"/>
                  </a:cubicBezTo>
                  <a:cubicBezTo>
                    <a:pt x="4152" y="4097"/>
                    <a:pt x="4152" y="4097"/>
                    <a:pt x="4152" y="4097"/>
                  </a:cubicBezTo>
                  <a:cubicBezTo>
                    <a:pt x="4148" y="4009"/>
                    <a:pt x="4143" y="3936"/>
                    <a:pt x="4141" y="3912"/>
                  </a:cubicBezTo>
                  <a:cubicBezTo>
                    <a:pt x="4150" y="3891"/>
                    <a:pt x="4178" y="3824"/>
                    <a:pt x="4209" y="3754"/>
                  </a:cubicBezTo>
                  <a:cubicBezTo>
                    <a:pt x="4239" y="3683"/>
                    <a:pt x="4273" y="3606"/>
                    <a:pt x="4288" y="3573"/>
                  </a:cubicBezTo>
                  <a:cubicBezTo>
                    <a:pt x="4466" y="3635"/>
                    <a:pt x="4624" y="3687"/>
                    <a:pt x="4748" y="3719"/>
                  </a:cubicBezTo>
                  <a:cubicBezTo>
                    <a:pt x="4949" y="3772"/>
                    <a:pt x="5190" y="3837"/>
                    <a:pt x="5370" y="3915"/>
                  </a:cubicBezTo>
                  <a:close/>
                  <a:moveTo>
                    <a:pt x="4211" y="3585"/>
                  </a:moveTo>
                  <a:cubicBezTo>
                    <a:pt x="4195" y="3620"/>
                    <a:pt x="4175" y="3665"/>
                    <a:pt x="4156" y="3711"/>
                  </a:cubicBezTo>
                  <a:cubicBezTo>
                    <a:pt x="4116" y="3803"/>
                    <a:pt x="4078" y="3894"/>
                    <a:pt x="4078" y="3894"/>
                  </a:cubicBezTo>
                  <a:cubicBezTo>
                    <a:pt x="4075" y="3901"/>
                    <a:pt x="4075" y="3901"/>
                    <a:pt x="4075" y="3901"/>
                  </a:cubicBezTo>
                  <a:cubicBezTo>
                    <a:pt x="4075" y="3909"/>
                    <a:pt x="4075" y="3909"/>
                    <a:pt x="4075" y="3909"/>
                  </a:cubicBezTo>
                  <a:cubicBezTo>
                    <a:pt x="4075" y="3910"/>
                    <a:pt x="4081" y="3987"/>
                    <a:pt x="4085" y="4086"/>
                  </a:cubicBezTo>
                  <a:cubicBezTo>
                    <a:pt x="3710" y="4048"/>
                    <a:pt x="3710" y="4048"/>
                    <a:pt x="3710" y="4048"/>
                  </a:cubicBezTo>
                  <a:cubicBezTo>
                    <a:pt x="2642" y="4178"/>
                    <a:pt x="2642" y="4178"/>
                    <a:pt x="2642" y="4178"/>
                  </a:cubicBezTo>
                  <a:cubicBezTo>
                    <a:pt x="2209" y="4669"/>
                    <a:pt x="2209" y="4669"/>
                    <a:pt x="2209" y="4669"/>
                  </a:cubicBezTo>
                  <a:cubicBezTo>
                    <a:pt x="1634" y="4252"/>
                    <a:pt x="1634" y="4252"/>
                    <a:pt x="1634" y="4252"/>
                  </a:cubicBezTo>
                  <a:cubicBezTo>
                    <a:pt x="1643" y="4242"/>
                    <a:pt x="1653" y="4232"/>
                    <a:pt x="1665" y="4218"/>
                  </a:cubicBezTo>
                  <a:cubicBezTo>
                    <a:pt x="1704" y="4177"/>
                    <a:pt x="1758" y="4118"/>
                    <a:pt x="1822" y="4050"/>
                  </a:cubicBezTo>
                  <a:cubicBezTo>
                    <a:pt x="1949" y="3912"/>
                    <a:pt x="2112" y="3735"/>
                    <a:pt x="2261" y="3574"/>
                  </a:cubicBezTo>
                  <a:cubicBezTo>
                    <a:pt x="2417" y="3405"/>
                    <a:pt x="2532" y="3273"/>
                    <a:pt x="2604" y="3213"/>
                  </a:cubicBezTo>
                  <a:cubicBezTo>
                    <a:pt x="2725" y="3112"/>
                    <a:pt x="2845" y="3086"/>
                    <a:pt x="2944" y="3085"/>
                  </a:cubicBezTo>
                  <a:cubicBezTo>
                    <a:pt x="3016" y="3085"/>
                    <a:pt x="3077" y="3099"/>
                    <a:pt x="3118" y="3110"/>
                  </a:cubicBezTo>
                  <a:cubicBezTo>
                    <a:pt x="3162" y="3121"/>
                    <a:pt x="3287" y="3175"/>
                    <a:pt x="3436" y="3240"/>
                  </a:cubicBezTo>
                  <a:cubicBezTo>
                    <a:pt x="3586" y="3306"/>
                    <a:pt x="3764" y="3383"/>
                    <a:pt x="3926" y="3442"/>
                  </a:cubicBezTo>
                  <a:cubicBezTo>
                    <a:pt x="4029" y="3481"/>
                    <a:pt x="4130" y="3517"/>
                    <a:pt x="4226" y="3551"/>
                  </a:cubicBezTo>
                  <a:cubicBezTo>
                    <a:pt x="4222" y="3561"/>
                    <a:pt x="4217" y="3572"/>
                    <a:pt x="4211" y="3585"/>
                  </a:cubicBezTo>
                  <a:close/>
                  <a:moveTo>
                    <a:pt x="1910" y="4534"/>
                  </a:moveTo>
                  <a:cubicBezTo>
                    <a:pt x="1784" y="4667"/>
                    <a:pt x="1784" y="4667"/>
                    <a:pt x="1784" y="4667"/>
                  </a:cubicBezTo>
                  <a:cubicBezTo>
                    <a:pt x="1510" y="4511"/>
                    <a:pt x="1510" y="4511"/>
                    <a:pt x="1510" y="4511"/>
                  </a:cubicBezTo>
                  <a:cubicBezTo>
                    <a:pt x="1524" y="4474"/>
                    <a:pt x="1560" y="4384"/>
                    <a:pt x="1582" y="4330"/>
                  </a:cubicBezTo>
                  <a:cubicBezTo>
                    <a:pt x="1586" y="4320"/>
                    <a:pt x="1590" y="4311"/>
                    <a:pt x="1593" y="4304"/>
                  </a:cubicBezTo>
                  <a:cubicBezTo>
                    <a:pt x="1593" y="4304"/>
                    <a:pt x="1594" y="4304"/>
                    <a:pt x="1594" y="4304"/>
                  </a:cubicBezTo>
                  <a:lnTo>
                    <a:pt x="1910" y="4534"/>
                  </a:lnTo>
                  <a:close/>
                  <a:moveTo>
                    <a:pt x="1793" y="4688"/>
                  </a:moveTo>
                  <a:cubicBezTo>
                    <a:pt x="2338" y="4999"/>
                    <a:pt x="2338" y="4999"/>
                    <a:pt x="2338" y="4999"/>
                  </a:cubicBezTo>
                  <a:cubicBezTo>
                    <a:pt x="2273" y="5115"/>
                    <a:pt x="2273" y="5115"/>
                    <a:pt x="2273" y="5115"/>
                  </a:cubicBezTo>
                  <a:cubicBezTo>
                    <a:pt x="2226" y="5088"/>
                    <a:pt x="2226" y="5088"/>
                    <a:pt x="2226" y="5088"/>
                  </a:cubicBezTo>
                  <a:cubicBezTo>
                    <a:pt x="2281" y="4991"/>
                    <a:pt x="2281" y="4991"/>
                    <a:pt x="2281" y="4991"/>
                  </a:cubicBezTo>
                  <a:cubicBezTo>
                    <a:pt x="2284" y="4985"/>
                    <a:pt x="2284" y="4985"/>
                    <a:pt x="2284" y="4985"/>
                  </a:cubicBezTo>
                  <a:cubicBezTo>
                    <a:pt x="2147" y="4907"/>
                    <a:pt x="2147" y="4907"/>
                    <a:pt x="2147" y="4907"/>
                  </a:cubicBezTo>
                  <a:cubicBezTo>
                    <a:pt x="2089" y="5010"/>
                    <a:pt x="2089" y="5010"/>
                    <a:pt x="2089" y="5010"/>
                  </a:cubicBezTo>
                  <a:cubicBezTo>
                    <a:pt x="1764" y="4825"/>
                    <a:pt x="1764" y="4825"/>
                    <a:pt x="1764" y="4825"/>
                  </a:cubicBezTo>
                  <a:lnTo>
                    <a:pt x="1793" y="4688"/>
                  </a:lnTo>
                  <a:close/>
                  <a:moveTo>
                    <a:pt x="2082" y="5022"/>
                  </a:moveTo>
                  <a:cubicBezTo>
                    <a:pt x="2028" y="5117"/>
                    <a:pt x="2028" y="5117"/>
                    <a:pt x="2028" y="5117"/>
                  </a:cubicBezTo>
                  <a:cubicBezTo>
                    <a:pt x="1676" y="4916"/>
                    <a:pt x="1676" y="4916"/>
                    <a:pt x="1676" y="4916"/>
                  </a:cubicBezTo>
                  <a:cubicBezTo>
                    <a:pt x="1756" y="4836"/>
                    <a:pt x="1756" y="4836"/>
                    <a:pt x="1756" y="4836"/>
                  </a:cubicBezTo>
                  <a:lnTo>
                    <a:pt x="2082" y="5022"/>
                  </a:lnTo>
                  <a:close/>
                  <a:moveTo>
                    <a:pt x="1664" y="4909"/>
                  </a:moveTo>
                  <a:cubicBezTo>
                    <a:pt x="1287" y="4694"/>
                    <a:pt x="1287" y="4694"/>
                    <a:pt x="1287" y="4694"/>
                  </a:cubicBezTo>
                  <a:cubicBezTo>
                    <a:pt x="1339" y="4598"/>
                    <a:pt x="1339" y="4598"/>
                    <a:pt x="1339" y="4598"/>
                  </a:cubicBezTo>
                  <a:cubicBezTo>
                    <a:pt x="1743" y="4829"/>
                    <a:pt x="1743" y="4829"/>
                    <a:pt x="1743" y="4829"/>
                  </a:cubicBezTo>
                  <a:lnTo>
                    <a:pt x="1664" y="4909"/>
                  </a:lnTo>
                  <a:close/>
                  <a:moveTo>
                    <a:pt x="1334" y="4580"/>
                  </a:moveTo>
                  <a:cubicBezTo>
                    <a:pt x="1220" y="4514"/>
                    <a:pt x="1220" y="4514"/>
                    <a:pt x="1220" y="4514"/>
                  </a:cubicBezTo>
                  <a:cubicBezTo>
                    <a:pt x="1265" y="4431"/>
                    <a:pt x="1265" y="4431"/>
                    <a:pt x="1265" y="4431"/>
                  </a:cubicBezTo>
                  <a:cubicBezTo>
                    <a:pt x="1381" y="4494"/>
                    <a:pt x="1381" y="4494"/>
                    <a:pt x="1381" y="4494"/>
                  </a:cubicBezTo>
                  <a:lnTo>
                    <a:pt x="1334" y="4580"/>
                  </a:lnTo>
                  <a:close/>
                  <a:moveTo>
                    <a:pt x="1327" y="4592"/>
                  </a:moveTo>
                  <a:cubicBezTo>
                    <a:pt x="1275" y="4687"/>
                    <a:pt x="1275" y="4687"/>
                    <a:pt x="1275" y="4687"/>
                  </a:cubicBezTo>
                  <a:cubicBezTo>
                    <a:pt x="1161" y="4622"/>
                    <a:pt x="1161" y="4622"/>
                    <a:pt x="1161" y="4622"/>
                  </a:cubicBezTo>
                  <a:cubicBezTo>
                    <a:pt x="1213" y="4527"/>
                    <a:pt x="1213" y="4527"/>
                    <a:pt x="1213" y="4527"/>
                  </a:cubicBezTo>
                  <a:lnTo>
                    <a:pt x="1327" y="4592"/>
                  </a:lnTo>
                  <a:close/>
                  <a:moveTo>
                    <a:pt x="1269" y="4699"/>
                  </a:moveTo>
                  <a:cubicBezTo>
                    <a:pt x="1221" y="4787"/>
                    <a:pt x="1221" y="4787"/>
                    <a:pt x="1221" y="4787"/>
                  </a:cubicBezTo>
                  <a:cubicBezTo>
                    <a:pt x="1107" y="4722"/>
                    <a:pt x="1107" y="4722"/>
                    <a:pt x="1107" y="4722"/>
                  </a:cubicBezTo>
                  <a:cubicBezTo>
                    <a:pt x="1155" y="4634"/>
                    <a:pt x="1155" y="4634"/>
                    <a:pt x="1155" y="4634"/>
                  </a:cubicBezTo>
                  <a:lnTo>
                    <a:pt x="1269" y="4699"/>
                  </a:lnTo>
                  <a:close/>
                  <a:moveTo>
                    <a:pt x="1214" y="4799"/>
                  </a:moveTo>
                  <a:cubicBezTo>
                    <a:pt x="1164" y="4892"/>
                    <a:pt x="1164" y="4892"/>
                    <a:pt x="1164" y="4892"/>
                  </a:cubicBezTo>
                  <a:cubicBezTo>
                    <a:pt x="1050" y="4827"/>
                    <a:pt x="1050" y="4827"/>
                    <a:pt x="1050" y="4827"/>
                  </a:cubicBezTo>
                  <a:cubicBezTo>
                    <a:pt x="1100" y="4734"/>
                    <a:pt x="1100" y="4734"/>
                    <a:pt x="1100" y="4734"/>
                  </a:cubicBezTo>
                  <a:lnTo>
                    <a:pt x="1214" y="4799"/>
                  </a:lnTo>
                  <a:close/>
                  <a:moveTo>
                    <a:pt x="1157" y="4904"/>
                  </a:moveTo>
                  <a:cubicBezTo>
                    <a:pt x="1099" y="5012"/>
                    <a:pt x="1099" y="5012"/>
                    <a:pt x="1099" y="5012"/>
                  </a:cubicBezTo>
                  <a:cubicBezTo>
                    <a:pt x="985" y="4947"/>
                    <a:pt x="985" y="4947"/>
                    <a:pt x="985" y="4947"/>
                  </a:cubicBezTo>
                  <a:cubicBezTo>
                    <a:pt x="1043" y="4839"/>
                    <a:pt x="1043" y="4839"/>
                    <a:pt x="1043" y="4839"/>
                  </a:cubicBezTo>
                  <a:lnTo>
                    <a:pt x="1157" y="4904"/>
                  </a:lnTo>
                  <a:close/>
                  <a:moveTo>
                    <a:pt x="1092" y="5024"/>
                  </a:moveTo>
                  <a:cubicBezTo>
                    <a:pt x="1035" y="5128"/>
                    <a:pt x="1035" y="5128"/>
                    <a:pt x="1035" y="5128"/>
                  </a:cubicBezTo>
                  <a:cubicBezTo>
                    <a:pt x="921" y="5063"/>
                    <a:pt x="921" y="5063"/>
                    <a:pt x="921" y="5063"/>
                  </a:cubicBezTo>
                  <a:cubicBezTo>
                    <a:pt x="978" y="4959"/>
                    <a:pt x="978" y="4959"/>
                    <a:pt x="978" y="4959"/>
                  </a:cubicBezTo>
                  <a:lnTo>
                    <a:pt x="1092" y="5024"/>
                  </a:lnTo>
                  <a:close/>
                  <a:moveTo>
                    <a:pt x="1029" y="5140"/>
                  </a:moveTo>
                  <a:cubicBezTo>
                    <a:pt x="976" y="5236"/>
                    <a:pt x="976" y="5236"/>
                    <a:pt x="976" y="5236"/>
                  </a:cubicBezTo>
                  <a:cubicBezTo>
                    <a:pt x="862" y="5171"/>
                    <a:pt x="862" y="5171"/>
                    <a:pt x="862" y="5171"/>
                  </a:cubicBezTo>
                  <a:cubicBezTo>
                    <a:pt x="915" y="5075"/>
                    <a:pt x="915" y="5075"/>
                    <a:pt x="915" y="5075"/>
                  </a:cubicBezTo>
                  <a:lnTo>
                    <a:pt x="1029" y="5140"/>
                  </a:lnTo>
                  <a:close/>
                  <a:moveTo>
                    <a:pt x="970" y="5249"/>
                  </a:moveTo>
                  <a:cubicBezTo>
                    <a:pt x="906" y="5367"/>
                    <a:pt x="906" y="5367"/>
                    <a:pt x="906" y="5367"/>
                  </a:cubicBezTo>
                  <a:cubicBezTo>
                    <a:pt x="791" y="5302"/>
                    <a:pt x="791" y="5302"/>
                    <a:pt x="791" y="5302"/>
                  </a:cubicBezTo>
                  <a:cubicBezTo>
                    <a:pt x="856" y="5184"/>
                    <a:pt x="856" y="5184"/>
                    <a:pt x="856" y="5184"/>
                  </a:cubicBezTo>
                  <a:lnTo>
                    <a:pt x="970" y="5249"/>
                  </a:lnTo>
                  <a:close/>
                  <a:moveTo>
                    <a:pt x="899" y="5379"/>
                  </a:moveTo>
                  <a:cubicBezTo>
                    <a:pt x="847" y="5475"/>
                    <a:pt x="847" y="5475"/>
                    <a:pt x="847" y="5475"/>
                  </a:cubicBezTo>
                  <a:cubicBezTo>
                    <a:pt x="733" y="5409"/>
                    <a:pt x="733" y="5409"/>
                    <a:pt x="733" y="5409"/>
                  </a:cubicBezTo>
                  <a:cubicBezTo>
                    <a:pt x="785" y="5314"/>
                    <a:pt x="785" y="5314"/>
                    <a:pt x="785" y="5314"/>
                  </a:cubicBezTo>
                  <a:lnTo>
                    <a:pt x="899" y="5379"/>
                  </a:lnTo>
                  <a:close/>
                  <a:moveTo>
                    <a:pt x="840" y="5487"/>
                  </a:moveTo>
                  <a:cubicBezTo>
                    <a:pt x="782" y="5593"/>
                    <a:pt x="782" y="5593"/>
                    <a:pt x="782" y="5593"/>
                  </a:cubicBezTo>
                  <a:cubicBezTo>
                    <a:pt x="668" y="5528"/>
                    <a:pt x="668" y="5528"/>
                    <a:pt x="668" y="5528"/>
                  </a:cubicBezTo>
                  <a:cubicBezTo>
                    <a:pt x="726" y="5422"/>
                    <a:pt x="726" y="5422"/>
                    <a:pt x="726" y="5422"/>
                  </a:cubicBezTo>
                  <a:lnTo>
                    <a:pt x="840" y="5487"/>
                  </a:lnTo>
                  <a:close/>
                  <a:moveTo>
                    <a:pt x="776" y="5605"/>
                  </a:moveTo>
                  <a:cubicBezTo>
                    <a:pt x="725" y="5698"/>
                    <a:pt x="725" y="5698"/>
                    <a:pt x="725" y="5698"/>
                  </a:cubicBezTo>
                  <a:cubicBezTo>
                    <a:pt x="611" y="5633"/>
                    <a:pt x="611" y="5633"/>
                    <a:pt x="611" y="5633"/>
                  </a:cubicBezTo>
                  <a:cubicBezTo>
                    <a:pt x="662" y="5540"/>
                    <a:pt x="662" y="5540"/>
                    <a:pt x="662" y="5540"/>
                  </a:cubicBezTo>
                  <a:lnTo>
                    <a:pt x="776" y="5605"/>
                  </a:lnTo>
                  <a:close/>
                  <a:moveTo>
                    <a:pt x="718" y="5711"/>
                  </a:moveTo>
                  <a:cubicBezTo>
                    <a:pt x="660" y="5818"/>
                    <a:pt x="660" y="5818"/>
                    <a:pt x="660" y="5818"/>
                  </a:cubicBezTo>
                  <a:cubicBezTo>
                    <a:pt x="546" y="5753"/>
                    <a:pt x="546" y="5753"/>
                    <a:pt x="546" y="5753"/>
                  </a:cubicBezTo>
                  <a:cubicBezTo>
                    <a:pt x="604" y="5646"/>
                    <a:pt x="604" y="5646"/>
                    <a:pt x="604" y="5646"/>
                  </a:cubicBezTo>
                  <a:lnTo>
                    <a:pt x="718" y="5711"/>
                  </a:lnTo>
                  <a:close/>
                  <a:moveTo>
                    <a:pt x="653" y="5830"/>
                  </a:moveTo>
                  <a:cubicBezTo>
                    <a:pt x="597" y="5934"/>
                    <a:pt x="597" y="5934"/>
                    <a:pt x="597" y="5934"/>
                  </a:cubicBezTo>
                  <a:cubicBezTo>
                    <a:pt x="483" y="5869"/>
                    <a:pt x="483" y="5869"/>
                    <a:pt x="483" y="5869"/>
                  </a:cubicBezTo>
                  <a:cubicBezTo>
                    <a:pt x="539" y="5765"/>
                    <a:pt x="539" y="5765"/>
                    <a:pt x="539" y="5765"/>
                  </a:cubicBezTo>
                  <a:lnTo>
                    <a:pt x="653" y="5830"/>
                  </a:lnTo>
                  <a:close/>
                  <a:moveTo>
                    <a:pt x="601" y="5953"/>
                  </a:moveTo>
                  <a:cubicBezTo>
                    <a:pt x="937" y="6145"/>
                    <a:pt x="937" y="6145"/>
                    <a:pt x="937" y="6145"/>
                  </a:cubicBezTo>
                  <a:cubicBezTo>
                    <a:pt x="895" y="6247"/>
                    <a:pt x="895" y="6247"/>
                    <a:pt x="895" y="6247"/>
                  </a:cubicBezTo>
                  <a:cubicBezTo>
                    <a:pt x="549" y="6049"/>
                    <a:pt x="549" y="6049"/>
                    <a:pt x="549" y="6049"/>
                  </a:cubicBezTo>
                  <a:lnTo>
                    <a:pt x="601" y="5953"/>
                  </a:lnTo>
                  <a:close/>
                  <a:moveTo>
                    <a:pt x="902" y="6266"/>
                  </a:moveTo>
                  <a:cubicBezTo>
                    <a:pt x="1260" y="6471"/>
                    <a:pt x="1260" y="6471"/>
                    <a:pt x="1260" y="6471"/>
                  </a:cubicBezTo>
                  <a:cubicBezTo>
                    <a:pt x="1221" y="6539"/>
                    <a:pt x="1221" y="6539"/>
                    <a:pt x="1221" y="6539"/>
                  </a:cubicBezTo>
                  <a:cubicBezTo>
                    <a:pt x="1358" y="6617"/>
                    <a:pt x="1358" y="6617"/>
                    <a:pt x="1358" y="6617"/>
                  </a:cubicBezTo>
                  <a:cubicBezTo>
                    <a:pt x="1397" y="6549"/>
                    <a:pt x="1397" y="6549"/>
                    <a:pt x="1397" y="6549"/>
                  </a:cubicBezTo>
                  <a:cubicBezTo>
                    <a:pt x="1452" y="6581"/>
                    <a:pt x="1452" y="6581"/>
                    <a:pt x="1452" y="6581"/>
                  </a:cubicBezTo>
                  <a:cubicBezTo>
                    <a:pt x="1409" y="6658"/>
                    <a:pt x="1409" y="6658"/>
                    <a:pt x="1409" y="6658"/>
                  </a:cubicBezTo>
                  <a:cubicBezTo>
                    <a:pt x="1409" y="6659"/>
                    <a:pt x="1409" y="6659"/>
                    <a:pt x="1409" y="6659"/>
                  </a:cubicBezTo>
                  <a:cubicBezTo>
                    <a:pt x="1409" y="6659"/>
                    <a:pt x="1406" y="6665"/>
                    <a:pt x="1402" y="6675"/>
                  </a:cubicBezTo>
                  <a:cubicBezTo>
                    <a:pt x="860" y="6366"/>
                    <a:pt x="860" y="6366"/>
                    <a:pt x="860" y="6366"/>
                  </a:cubicBezTo>
                  <a:lnTo>
                    <a:pt x="902" y="6266"/>
                  </a:lnTo>
                  <a:close/>
                  <a:moveTo>
                    <a:pt x="1396" y="6688"/>
                  </a:moveTo>
                  <a:cubicBezTo>
                    <a:pt x="1389" y="6703"/>
                    <a:pt x="1379" y="6723"/>
                    <a:pt x="1368" y="6746"/>
                  </a:cubicBezTo>
                  <a:cubicBezTo>
                    <a:pt x="1344" y="6796"/>
                    <a:pt x="1311" y="6857"/>
                    <a:pt x="1280" y="6904"/>
                  </a:cubicBezTo>
                  <a:cubicBezTo>
                    <a:pt x="1260" y="6934"/>
                    <a:pt x="1239" y="6958"/>
                    <a:pt x="1228" y="6965"/>
                  </a:cubicBezTo>
                  <a:cubicBezTo>
                    <a:pt x="1182" y="6994"/>
                    <a:pt x="1136" y="7006"/>
                    <a:pt x="1112" y="7010"/>
                  </a:cubicBezTo>
                  <a:cubicBezTo>
                    <a:pt x="1067" y="6933"/>
                    <a:pt x="958" y="6763"/>
                    <a:pt x="790" y="6609"/>
                  </a:cubicBezTo>
                  <a:cubicBezTo>
                    <a:pt x="766" y="6586"/>
                    <a:pt x="740" y="6564"/>
                    <a:pt x="714" y="6542"/>
                  </a:cubicBezTo>
                  <a:cubicBezTo>
                    <a:pt x="791" y="6455"/>
                    <a:pt x="850" y="6388"/>
                    <a:pt x="850" y="6388"/>
                  </a:cubicBezTo>
                  <a:cubicBezTo>
                    <a:pt x="851" y="6388"/>
                    <a:pt x="851" y="6388"/>
                    <a:pt x="851" y="6388"/>
                  </a:cubicBezTo>
                  <a:cubicBezTo>
                    <a:pt x="855" y="6379"/>
                    <a:pt x="855" y="6379"/>
                    <a:pt x="855" y="6379"/>
                  </a:cubicBezTo>
                  <a:lnTo>
                    <a:pt x="1396" y="6688"/>
                  </a:lnTo>
                  <a:close/>
                  <a:moveTo>
                    <a:pt x="1080" y="7230"/>
                  </a:moveTo>
                  <a:cubicBezTo>
                    <a:pt x="1088" y="7228"/>
                    <a:pt x="1099" y="7226"/>
                    <a:pt x="1113" y="7223"/>
                  </a:cubicBezTo>
                  <a:cubicBezTo>
                    <a:pt x="1141" y="7216"/>
                    <a:pt x="1177" y="7208"/>
                    <a:pt x="1214" y="7199"/>
                  </a:cubicBezTo>
                  <a:cubicBezTo>
                    <a:pt x="1283" y="7184"/>
                    <a:pt x="1352" y="7168"/>
                    <a:pt x="1360" y="7166"/>
                  </a:cubicBezTo>
                  <a:cubicBezTo>
                    <a:pt x="1362" y="7166"/>
                    <a:pt x="1362" y="7166"/>
                    <a:pt x="1362" y="7166"/>
                  </a:cubicBezTo>
                  <a:cubicBezTo>
                    <a:pt x="1382" y="7197"/>
                    <a:pt x="1382" y="7197"/>
                    <a:pt x="1382" y="7197"/>
                  </a:cubicBezTo>
                  <a:cubicBezTo>
                    <a:pt x="1348" y="7358"/>
                    <a:pt x="1348" y="7358"/>
                    <a:pt x="1348" y="7358"/>
                  </a:cubicBezTo>
                  <a:cubicBezTo>
                    <a:pt x="1243" y="7485"/>
                    <a:pt x="1243" y="7485"/>
                    <a:pt x="1243" y="7485"/>
                  </a:cubicBezTo>
                  <a:cubicBezTo>
                    <a:pt x="1048" y="7310"/>
                    <a:pt x="1048" y="7310"/>
                    <a:pt x="1048" y="7310"/>
                  </a:cubicBezTo>
                  <a:cubicBezTo>
                    <a:pt x="1065" y="7266"/>
                    <a:pt x="1065" y="7266"/>
                    <a:pt x="1065" y="7266"/>
                  </a:cubicBezTo>
                  <a:cubicBezTo>
                    <a:pt x="1066" y="7267"/>
                    <a:pt x="1066" y="7267"/>
                    <a:pt x="1066" y="7267"/>
                  </a:cubicBezTo>
                  <a:cubicBezTo>
                    <a:pt x="1080" y="7230"/>
                    <a:pt x="1080" y="7230"/>
                    <a:pt x="1080" y="7230"/>
                  </a:cubicBezTo>
                  <a:cubicBezTo>
                    <a:pt x="1080" y="7230"/>
                    <a:pt x="1080" y="7230"/>
                    <a:pt x="1080" y="7230"/>
                  </a:cubicBezTo>
                  <a:close/>
                  <a:moveTo>
                    <a:pt x="1245" y="7508"/>
                  </a:moveTo>
                  <a:cubicBezTo>
                    <a:pt x="1360" y="7370"/>
                    <a:pt x="1360" y="7370"/>
                    <a:pt x="1360" y="7370"/>
                  </a:cubicBezTo>
                  <a:cubicBezTo>
                    <a:pt x="1360" y="7370"/>
                    <a:pt x="1360" y="7370"/>
                    <a:pt x="1360" y="7370"/>
                  </a:cubicBezTo>
                  <a:cubicBezTo>
                    <a:pt x="1360" y="7370"/>
                    <a:pt x="1399" y="7396"/>
                    <a:pt x="1442" y="7423"/>
                  </a:cubicBezTo>
                  <a:cubicBezTo>
                    <a:pt x="1479" y="7446"/>
                    <a:pt x="1517" y="7470"/>
                    <a:pt x="1538" y="7481"/>
                  </a:cubicBezTo>
                  <a:cubicBezTo>
                    <a:pt x="1289" y="7837"/>
                    <a:pt x="1289" y="7837"/>
                    <a:pt x="1289" y="7837"/>
                  </a:cubicBezTo>
                  <a:cubicBezTo>
                    <a:pt x="1182" y="7923"/>
                    <a:pt x="1182" y="7923"/>
                    <a:pt x="1182" y="7923"/>
                  </a:cubicBezTo>
                  <a:cubicBezTo>
                    <a:pt x="1091" y="7661"/>
                    <a:pt x="1091" y="7661"/>
                    <a:pt x="1091" y="7661"/>
                  </a:cubicBezTo>
                  <a:cubicBezTo>
                    <a:pt x="946" y="7570"/>
                    <a:pt x="946" y="7570"/>
                    <a:pt x="946" y="7570"/>
                  </a:cubicBezTo>
                  <a:cubicBezTo>
                    <a:pt x="1041" y="7326"/>
                    <a:pt x="1041" y="7326"/>
                    <a:pt x="1041" y="7326"/>
                  </a:cubicBezTo>
                  <a:lnTo>
                    <a:pt x="1245" y="7508"/>
                  </a:lnTo>
                  <a:close/>
                  <a:moveTo>
                    <a:pt x="1077" y="7672"/>
                  </a:moveTo>
                  <a:cubicBezTo>
                    <a:pt x="1169" y="7934"/>
                    <a:pt x="1169" y="7934"/>
                    <a:pt x="1169" y="7934"/>
                  </a:cubicBezTo>
                  <a:cubicBezTo>
                    <a:pt x="940" y="8120"/>
                    <a:pt x="940" y="8120"/>
                    <a:pt x="940" y="8120"/>
                  </a:cubicBezTo>
                  <a:cubicBezTo>
                    <a:pt x="917" y="8019"/>
                    <a:pt x="917" y="8019"/>
                    <a:pt x="917" y="8019"/>
                  </a:cubicBezTo>
                  <a:cubicBezTo>
                    <a:pt x="854" y="7964"/>
                    <a:pt x="854" y="7964"/>
                    <a:pt x="854" y="7964"/>
                  </a:cubicBezTo>
                  <a:cubicBezTo>
                    <a:pt x="872" y="7815"/>
                    <a:pt x="872" y="7815"/>
                    <a:pt x="872" y="7815"/>
                  </a:cubicBezTo>
                  <a:cubicBezTo>
                    <a:pt x="915" y="7792"/>
                    <a:pt x="915" y="7792"/>
                    <a:pt x="915" y="7792"/>
                  </a:cubicBezTo>
                  <a:cubicBezTo>
                    <a:pt x="881" y="7630"/>
                    <a:pt x="881" y="7630"/>
                    <a:pt x="881" y="7630"/>
                  </a:cubicBezTo>
                  <a:cubicBezTo>
                    <a:pt x="935" y="7583"/>
                    <a:pt x="935" y="7583"/>
                    <a:pt x="935" y="7583"/>
                  </a:cubicBezTo>
                  <a:lnTo>
                    <a:pt x="1077" y="7672"/>
                  </a:lnTo>
                  <a:close/>
                  <a:moveTo>
                    <a:pt x="867" y="7643"/>
                  </a:moveTo>
                  <a:cubicBezTo>
                    <a:pt x="896" y="7783"/>
                    <a:pt x="896" y="7783"/>
                    <a:pt x="896" y="7783"/>
                  </a:cubicBezTo>
                  <a:cubicBezTo>
                    <a:pt x="857" y="7805"/>
                    <a:pt x="857" y="7805"/>
                    <a:pt x="857" y="7805"/>
                  </a:cubicBezTo>
                  <a:cubicBezTo>
                    <a:pt x="836" y="7971"/>
                    <a:pt x="836" y="7971"/>
                    <a:pt x="836" y="7971"/>
                  </a:cubicBezTo>
                  <a:cubicBezTo>
                    <a:pt x="902" y="8028"/>
                    <a:pt x="902" y="8028"/>
                    <a:pt x="902" y="8028"/>
                  </a:cubicBezTo>
                  <a:cubicBezTo>
                    <a:pt x="925" y="8131"/>
                    <a:pt x="925" y="8131"/>
                    <a:pt x="925" y="8131"/>
                  </a:cubicBezTo>
                  <a:cubicBezTo>
                    <a:pt x="925" y="8132"/>
                    <a:pt x="925" y="8132"/>
                    <a:pt x="925" y="8132"/>
                  </a:cubicBezTo>
                  <a:cubicBezTo>
                    <a:pt x="925" y="8132"/>
                    <a:pt x="925" y="8132"/>
                    <a:pt x="925" y="8132"/>
                  </a:cubicBezTo>
                  <a:cubicBezTo>
                    <a:pt x="711" y="8310"/>
                    <a:pt x="711" y="8310"/>
                    <a:pt x="711" y="8310"/>
                  </a:cubicBezTo>
                  <a:cubicBezTo>
                    <a:pt x="489" y="8047"/>
                    <a:pt x="489" y="8047"/>
                    <a:pt x="489" y="8047"/>
                  </a:cubicBezTo>
                  <a:lnTo>
                    <a:pt x="867" y="7643"/>
                  </a:lnTo>
                  <a:close/>
                  <a:moveTo>
                    <a:pt x="952" y="8194"/>
                  </a:moveTo>
                  <a:cubicBezTo>
                    <a:pt x="1081" y="8091"/>
                    <a:pt x="1081" y="8091"/>
                    <a:pt x="1081" y="8091"/>
                  </a:cubicBezTo>
                  <a:cubicBezTo>
                    <a:pt x="1079" y="8145"/>
                    <a:pt x="1074" y="8298"/>
                    <a:pt x="1074" y="8326"/>
                  </a:cubicBezTo>
                  <a:cubicBezTo>
                    <a:pt x="1074" y="8328"/>
                    <a:pt x="1074" y="8329"/>
                    <a:pt x="1074" y="8329"/>
                  </a:cubicBezTo>
                  <a:cubicBezTo>
                    <a:pt x="1074" y="8330"/>
                    <a:pt x="1074" y="8330"/>
                    <a:pt x="1074" y="8330"/>
                  </a:cubicBezTo>
                  <a:cubicBezTo>
                    <a:pt x="1072" y="8332"/>
                    <a:pt x="1071" y="8335"/>
                    <a:pt x="1069" y="8338"/>
                  </a:cubicBezTo>
                  <a:cubicBezTo>
                    <a:pt x="1064" y="8345"/>
                    <a:pt x="1058" y="8355"/>
                    <a:pt x="1051" y="8366"/>
                  </a:cubicBezTo>
                  <a:cubicBezTo>
                    <a:pt x="1036" y="8389"/>
                    <a:pt x="1016" y="8420"/>
                    <a:pt x="997" y="8450"/>
                  </a:cubicBezTo>
                  <a:cubicBezTo>
                    <a:pt x="961" y="8505"/>
                    <a:pt x="926" y="8559"/>
                    <a:pt x="919" y="8569"/>
                  </a:cubicBezTo>
                  <a:cubicBezTo>
                    <a:pt x="911" y="8574"/>
                    <a:pt x="875" y="8594"/>
                    <a:pt x="828" y="8620"/>
                  </a:cubicBezTo>
                  <a:cubicBezTo>
                    <a:pt x="680" y="8421"/>
                    <a:pt x="680" y="8421"/>
                    <a:pt x="680" y="8421"/>
                  </a:cubicBezTo>
                  <a:lnTo>
                    <a:pt x="952" y="8194"/>
                  </a:lnTo>
                  <a:close/>
                  <a:moveTo>
                    <a:pt x="816" y="8627"/>
                  </a:moveTo>
                  <a:cubicBezTo>
                    <a:pt x="717" y="8682"/>
                    <a:pt x="579" y="8758"/>
                    <a:pt x="546" y="8778"/>
                  </a:cubicBezTo>
                  <a:cubicBezTo>
                    <a:pt x="541" y="8773"/>
                    <a:pt x="534" y="8767"/>
                    <a:pt x="527" y="8760"/>
                  </a:cubicBezTo>
                  <a:cubicBezTo>
                    <a:pt x="511" y="8744"/>
                    <a:pt x="489" y="8724"/>
                    <a:pt x="469" y="8703"/>
                  </a:cubicBezTo>
                  <a:cubicBezTo>
                    <a:pt x="447" y="8682"/>
                    <a:pt x="426" y="8661"/>
                    <a:pt x="410" y="8645"/>
                  </a:cubicBezTo>
                  <a:cubicBezTo>
                    <a:pt x="669" y="8430"/>
                    <a:pt x="669" y="8430"/>
                    <a:pt x="669" y="8430"/>
                  </a:cubicBezTo>
                  <a:lnTo>
                    <a:pt x="816" y="8627"/>
                  </a:lnTo>
                  <a:close/>
                  <a:moveTo>
                    <a:pt x="921" y="8645"/>
                  </a:moveTo>
                  <a:cubicBezTo>
                    <a:pt x="1146" y="8928"/>
                    <a:pt x="1146" y="8928"/>
                    <a:pt x="1146" y="8928"/>
                  </a:cubicBezTo>
                  <a:cubicBezTo>
                    <a:pt x="1079" y="8992"/>
                    <a:pt x="1079" y="8992"/>
                    <a:pt x="1079" y="8992"/>
                  </a:cubicBezTo>
                  <a:cubicBezTo>
                    <a:pt x="815" y="8656"/>
                    <a:pt x="815" y="8656"/>
                    <a:pt x="815" y="8656"/>
                  </a:cubicBezTo>
                  <a:lnTo>
                    <a:pt x="921" y="8645"/>
                  </a:lnTo>
                  <a:close/>
                  <a:moveTo>
                    <a:pt x="552" y="8793"/>
                  </a:moveTo>
                  <a:cubicBezTo>
                    <a:pt x="555" y="8791"/>
                    <a:pt x="559" y="8789"/>
                    <a:pt x="564" y="8786"/>
                  </a:cubicBezTo>
                  <a:cubicBezTo>
                    <a:pt x="574" y="8780"/>
                    <a:pt x="589" y="8772"/>
                    <a:pt x="607" y="8762"/>
                  </a:cubicBezTo>
                  <a:cubicBezTo>
                    <a:pt x="643" y="8742"/>
                    <a:pt x="691" y="8715"/>
                    <a:pt x="738" y="8688"/>
                  </a:cubicBezTo>
                  <a:cubicBezTo>
                    <a:pt x="758" y="8677"/>
                    <a:pt x="778" y="8666"/>
                    <a:pt x="797" y="8656"/>
                  </a:cubicBezTo>
                  <a:cubicBezTo>
                    <a:pt x="1078" y="9012"/>
                    <a:pt x="1078" y="9012"/>
                    <a:pt x="1078" y="9012"/>
                  </a:cubicBezTo>
                  <a:cubicBezTo>
                    <a:pt x="1165" y="8929"/>
                    <a:pt x="1165" y="8929"/>
                    <a:pt x="1165" y="8929"/>
                  </a:cubicBezTo>
                  <a:cubicBezTo>
                    <a:pt x="927" y="8631"/>
                    <a:pt x="927" y="8631"/>
                    <a:pt x="927" y="8631"/>
                  </a:cubicBezTo>
                  <a:cubicBezTo>
                    <a:pt x="823" y="8641"/>
                    <a:pt x="823" y="8641"/>
                    <a:pt x="823" y="8641"/>
                  </a:cubicBezTo>
                  <a:cubicBezTo>
                    <a:pt x="870" y="8615"/>
                    <a:pt x="909" y="8594"/>
                    <a:pt x="923" y="8586"/>
                  </a:cubicBezTo>
                  <a:cubicBezTo>
                    <a:pt x="925" y="8589"/>
                    <a:pt x="927" y="8592"/>
                    <a:pt x="931" y="8596"/>
                  </a:cubicBezTo>
                  <a:cubicBezTo>
                    <a:pt x="939" y="8606"/>
                    <a:pt x="950" y="8620"/>
                    <a:pt x="963" y="8636"/>
                  </a:cubicBezTo>
                  <a:cubicBezTo>
                    <a:pt x="990" y="8669"/>
                    <a:pt x="1025" y="8712"/>
                    <a:pt x="1061" y="8756"/>
                  </a:cubicBezTo>
                  <a:cubicBezTo>
                    <a:pt x="1122" y="8831"/>
                    <a:pt x="1183" y="8906"/>
                    <a:pt x="1199" y="8925"/>
                  </a:cubicBezTo>
                  <a:cubicBezTo>
                    <a:pt x="1165" y="8957"/>
                    <a:pt x="1129" y="8991"/>
                    <a:pt x="1092" y="9026"/>
                  </a:cubicBezTo>
                  <a:cubicBezTo>
                    <a:pt x="1013" y="9102"/>
                    <a:pt x="930" y="9180"/>
                    <a:pt x="879" y="9229"/>
                  </a:cubicBezTo>
                  <a:cubicBezTo>
                    <a:pt x="878" y="9228"/>
                    <a:pt x="878" y="9228"/>
                    <a:pt x="877" y="9227"/>
                  </a:cubicBezTo>
                  <a:cubicBezTo>
                    <a:pt x="868" y="9218"/>
                    <a:pt x="854" y="9205"/>
                    <a:pt x="838" y="9190"/>
                  </a:cubicBezTo>
                  <a:cubicBezTo>
                    <a:pt x="806" y="9159"/>
                    <a:pt x="764" y="9119"/>
                    <a:pt x="721" y="9078"/>
                  </a:cubicBezTo>
                  <a:cubicBezTo>
                    <a:pt x="643" y="9004"/>
                    <a:pt x="566" y="8930"/>
                    <a:pt x="554" y="8919"/>
                  </a:cubicBezTo>
                  <a:cubicBezTo>
                    <a:pt x="553" y="8903"/>
                    <a:pt x="551" y="8824"/>
                    <a:pt x="551" y="8798"/>
                  </a:cubicBezTo>
                  <a:lnTo>
                    <a:pt x="552" y="8793"/>
                  </a:lnTo>
                  <a:close/>
                  <a:moveTo>
                    <a:pt x="611" y="8996"/>
                  </a:moveTo>
                  <a:cubicBezTo>
                    <a:pt x="694" y="9075"/>
                    <a:pt x="827" y="9201"/>
                    <a:pt x="867" y="9240"/>
                  </a:cubicBezTo>
                  <a:cubicBezTo>
                    <a:pt x="847" y="9259"/>
                    <a:pt x="833" y="9273"/>
                    <a:pt x="828" y="9277"/>
                  </a:cubicBezTo>
                  <a:cubicBezTo>
                    <a:pt x="828" y="9277"/>
                    <a:pt x="827" y="9277"/>
                    <a:pt x="827" y="9277"/>
                  </a:cubicBezTo>
                  <a:cubicBezTo>
                    <a:pt x="819" y="9277"/>
                    <a:pt x="811" y="9276"/>
                    <a:pt x="804" y="9276"/>
                  </a:cubicBezTo>
                  <a:cubicBezTo>
                    <a:pt x="775" y="9276"/>
                    <a:pt x="752" y="9280"/>
                    <a:pt x="735" y="9283"/>
                  </a:cubicBezTo>
                  <a:cubicBezTo>
                    <a:pt x="689" y="9290"/>
                    <a:pt x="664" y="9303"/>
                    <a:pt x="641" y="9302"/>
                  </a:cubicBezTo>
                  <a:cubicBezTo>
                    <a:pt x="621" y="9303"/>
                    <a:pt x="576" y="9286"/>
                    <a:pt x="535" y="9272"/>
                  </a:cubicBezTo>
                  <a:cubicBezTo>
                    <a:pt x="556" y="9199"/>
                    <a:pt x="596" y="9051"/>
                    <a:pt x="609" y="9003"/>
                  </a:cubicBezTo>
                  <a:cubicBezTo>
                    <a:pt x="610" y="9000"/>
                    <a:pt x="610" y="8998"/>
                    <a:pt x="611" y="8996"/>
                  </a:cubicBezTo>
                  <a:close/>
                  <a:moveTo>
                    <a:pt x="641" y="9371"/>
                  </a:moveTo>
                  <a:cubicBezTo>
                    <a:pt x="686" y="9370"/>
                    <a:pt x="712" y="9354"/>
                    <a:pt x="744" y="9351"/>
                  </a:cubicBezTo>
                  <a:cubicBezTo>
                    <a:pt x="763" y="9348"/>
                    <a:pt x="781" y="9345"/>
                    <a:pt x="804" y="9345"/>
                  </a:cubicBezTo>
                  <a:cubicBezTo>
                    <a:pt x="810" y="9345"/>
                    <a:pt x="816" y="9345"/>
                    <a:pt x="822" y="9346"/>
                  </a:cubicBezTo>
                  <a:cubicBezTo>
                    <a:pt x="847" y="9348"/>
                    <a:pt x="873" y="9352"/>
                    <a:pt x="902" y="9369"/>
                  </a:cubicBezTo>
                  <a:cubicBezTo>
                    <a:pt x="921" y="9380"/>
                    <a:pt x="948" y="9417"/>
                    <a:pt x="968" y="9458"/>
                  </a:cubicBezTo>
                  <a:cubicBezTo>
                    <a:pt x="988" y="9499"/>
                    <a:pt x="1004" y="9544"/>
                    <a:pt x="1014" y="9574"/>
                  </a:cubicBezTo>
                  <a:cubicBezTo>
                    <a:pt x="1020" y="9591"/>
                    <a:pt x="1023" y="9602"/>
                    <a:pt x="1023" y="9604"/>
                  </a:cubicBezTo>
                  <a:cubicBezTo>
                    <a:pt x="575" y="9844"/>
                    <a:pt x="575" y="9844"/>
                    <a:pt x="575" y="9844"/>
                  </a:cubicBezTo>
                  <a:cubicBezTo>
                    <a:pt x="565" y="9814"/>
                    <a:pt x="544" y="9755"/>
                    <a:pt x="522" y="9694"/>
                  </a:cubicBezTo>
                  <a:cubicBezTo>
                    <a:pt x="493" y="9612"/>
                    <a:pt x="462" y="9525"/>
                    <a:pt x="459" y="9512"/>
                  </a:cubicBezTo>
                  <a:cubicBezTo>
                    <a:pt x="464" y="9495"/>
                    <a:pt x="500" y="9388"/>
                    <a:pt x="516" y="9339"/>
                  </a:cubicBezTo>
                  <a:cubicBezTo>
                    <a:pt x="554" y="9351"/>
                    <a:pt x="597" y="9370"/>
                    <a:pt x="641" y="9371"/>
                  </a:cubicBezTo>
                  <a:close/>
                  <a:moveTo>
                    <a:pt x="1345" y="9605"/>
                  </a:moveTo>
                  <a:cubicBezTo>
                    <a:pt x="2230" y="9127"/>
                    <a:pt x="2230" y="9127"/>
                    <a:pt x="2230" y="9127"/>
                  </a:cubicBezTo>
                  <a:cubicBezTo>
                    <a:pt x="2233" y="9125"/>
                    <a:pt x="2233" y="9125"/>
                    <a:pt x="2233" y="9125"/>
                  </a:cubicBezTo>
                  <a:cubicBezTo>
                    <a:pt x="2234" y="9125"/>
                    <a:pt x="2234" y="9125"/>
                    <a:pt x="2234" y="9125"/>
                  </a:cubicBezTo>
                  <a:cubicBezTo>
                    <a:pt x="2234" y="9125"/>
                    <a:pt x="2984" y="8734"/>
                    <a:pt x="3408" y="8507"/>
                  </a:cubicBezTo>
                  <a:cubicBezTo>
                    <a:pt x="3549" y="8431"/>
                    <a:pt x="3653" y="8375"/>
                    <a:pt x="3687" y="8355"/>
                  </a:cubicBezTo>
                  <a:cubicBezTo>
                    <a:pt x="3692" y="8352"/>
                    <a:pt x="3694" y="8351"/>
                    <a:pt x="3701" y="8346"/>
                  </a:cubicBezTo>
                  <a:cubicBezTo>
                    <a:pt x="3711" y="8339"/>
                    <a:pt x="3724" y="8328"/>
                    <a:pt x="3738" y="8317"/>
                  </a:cubicBezTo>
                  <a:cubicBezTo>
                    <a:pt x="3744" y="8331"/>
                    <a:pt x="3744" y="8331"/>
                    <a:pt x="3744" y="8331"/>
                  </a:cubicBezTo>
                  <a:cubicBezTo>
                    <a:pt x="3534" y="8439"/>
                    <a:pt x="2900" y="8790"/>
                    <a:pt x="2268" y="9131"/>
                  </a:cubicBezTo>
                  <a:cubicBezTo>
                    <a:pt x="1543" y="9522"/>
                    <a:pt x="811" y="9910"/>
                    <a:pt x="640" y="10001"/>
                  </a:cubicBezTo>
                  <a:cubicBezTo>
                    <a:pt x="615" y="10014"/>
                    <a:pt x="602" y="10021"/>
                    <a:pt x="602" y="10021"/>
                  </a:cubicBezTo>
                  <a:cubicBezTo>
                    <a:pt x="601" y="10022"/>
                    <a:pt x="601" y="10022"/>
                    <a:pt x="601" y="10022"/>
                  </a:cubicBezTo>
                  <a:cubicBezTo>
                    <a:pt x="599" y="10022"/>
                    <a:pt x="599" y="10022"/>
                    <a:pt x="599" y="10022"/>
                  </a:cubicBezTo>
                  <a:cubicBezTo>
                    <a:pt x="593" y="10026"/>
                    <a:pt x="592" y="10027"/>
                    <a:pt x="538" y="10057"/>
                  </a:cubicBezTo>
                  <a:cubicBezTo>
                    <a:pt x="532" y="10051"/>
                    <a:pt x="529" y="10047"/>
                    <a:pt x="526" y="10044"/>
                  </a:cubicBezTo>
                  <a:lnTo>
                    <a:pt x="1345" y="9605"/>
                  </a:lnTo>
                  <a:close/>
                  <a:moveTo>
                    <a:pt x="3726" y="8136"/>
                  </a:moveTo>
                  <a:cubicBezTo>
                    <a:pt x="3672" y="8173"/>
                    <a:pt x="3629" y="8210"/>
                    <a:pt x="3613" y="8222"/>
                  </a:cubicBezTo>
                  <a:cubicBezTo>
                    <a:pt x="3612" y="8222"/>
                    <a:pt x="3612" y="8222"/>
                    <a:pt x="3612" y="8222"/>
                  </a:cubicBezTo>
                  <a:cubicBezTo>
                    <a:pt x="3610" y="8223"/>
                    <a:pt x="3607" y="8225"/>
                    <a:pt x="3604" y="8227"/>
                  </a:cubicBezTo>
                  <a:cubicBezTo>
                    <a:pt x="3597" y="8231"/>
                    <a:pt x="3586" y="8237"/>
                    <a:pt x="3574" y="8244"/>
                  </a:cubicBezTo>
                  <a:cubicBezTo>
                    <a:pt x="3548" y="8258"/>
                    <a:pt x="3513" y="8277"/>
                    <a:pt x="3470" y="8300"/>
                  </a:cubicBezTo>
                  <a:cubicBezTo>
                    <a:pt x="3410" y="8333"/>
                    <a:pt x="3334" y="8373"/>
                    <a:pt x="3250" y="8418"/>
                  </a:cubicBezTo>
                  <a:cubicBezTo>
                    <a:pt x="3358" y="8158"/>
                    <a:pt x="3358" y="8158"/>
                    <a:pt x="3358" y="8158"/>
                  </a:cubicBezTo>
                  <a:cubicBezTo>
                    <a:pt x="3361" y="8159"/>
                    <a:pt x="3366" y="8160"/>
                    <a:pt x="3372" y="8162"/>
                  </a:cubicBezTo>
                  <a:cubicBezTo>
                    <a:pt x="3384" y="8165"/>
                    <a:pt x="3399" y="8170"/>
                    <a:pt x="3414" y="8174"/>
                  </a:cubicBezTo>
                  <a:cubicBezTo>
                    <a:pt x="3444" y="8184"/>
                    <a:pt x="3474" y="8193"/>
                    <a:pt x="3474" y="8193"/>
                  </a:cubicBezTo>
                  <a:cubicBezTo>
                    <a:pt x="3479" y="8194"/>
                    <a:pt x="3479" y="8194"/>
                    <a:pt x="3479" y="8194"/>
                  </a:cubicBezTo>
                  <a:cubicBezTo>
                    <a:pt x="3663" y="7974"/>
                    <a:pt x="3663" y="7974"/>
                    <a:pt x="3663" y="7974"/>
                  </a:cubicBezTo>
                  <a:cubicBezTo>
                    <a:pt x="3728" y="7997"/>
                    <a:pt x="3728" y="7997"/>
                    <a:pt x="3728" y="7997"/>
                  </a:cubicBezTo>
                  <a:cubicBezTo>
                    <a:pt x="3885" y="7926"/>
                    <a:pt x="3885" y="7926"/>
                    <a:pt x="3885" y="7926"/>
                  </a:cubicBezTo>
                  <a:cubicBezTo>
                    <a:pt x="3891" y="7953"/>
                    <a:pt x="3900" y="7977"/>
                    <a:pt x="3908" y="7998"/>
                  </a:cubicBezTo>
                  <a:cubicBezTo>
                    <a:pt x="3915" y="8015"/>
                    <a:pt x="3921" y="8029"/>
                    <a:pt x="3925" y="8038"/>
                  </a:cubicBezTo>
                  <a:cubicBezTo>
                    <a:pt x="3848" y="8060"/>
                    <a:pt x="3780" y="8099"/>
                    <a:pt x="3726" y="8136"/>
                  </a:cubicBezTo>
                  <a:close/>
                  <a:moveTo>
                    <a:pt x="3812" y="8262"/>
                  </a:moveTo>
                  <a:cubicBezTo>
                    <a:pt x="3860" y="8229"/>
                    <a:pt x="3917" y="8197"/>
                    <a:pt x="3972" y="8183"/>
                  </a:cubicBezTo>
                  <a:cubicBezTo>
                    <a:pt x="4001" y="8175"/>
                    <a:pt x="4031" y="8172"/>
                    <a:pt x="4066" y="8172"/>
                  </a:cubicBezTo>
                  <a:cubicBezTo>
                    <a:pt x="4107" y="8172"/>
                    <a:pt x="4154" y="8176"/>
                    <a:pt x="4208" y="8180"/>
                  </a:cubicBezTo>
                  <a:cubicBezTo>
                    <a:pt x="4065" y="8207"/>
                    <a:pt x="3927" y="8246"/>
                    <a:pt x="3803" y="8302"/>
                  </a:cubicBezTo>
                  <a:cubicBezTo>
                    <a:pt x="3792" y="8276"/>
                    <a:pt x="3792" y="8276"/>
                    <a:pt x="3792" y="8276"/>
                  </a:cubicBezTo>
                  <a:cubicBezTo>
                    <a:pt x="3799" y="8272"/>
                    <a:pt x="3805" y="8267"/>
                    <a:pt x="3812" y="8262"/>
                  </a:cubicBezTo>
                  <a:close/>
                  <a:moveTo>
                    <a:pt x="3804" y="8475"/>
                  </a:moveTo>
                  <a:cubicBezTo>
                    <a:pt x="4008" y="8965"/>
                    <a:pt x="4008" y="8965"/>
                    <a:pt x="4008" y="8965"/>
                  </a:cubicBezTo>
                  <a:cubicBezTo>
                    <a:pt x="3957" y="8979"/>
                    <a:pt x="3844" y="9009"/>
                    <a:pt x="3735" y="9043"/>
                  </a:cubicBezTo>
                  <a:cubicBezTo>
                    <a:pt x="3590" y="9088"/>
                    <a:pt x="3511" y="9143"/>
                    <a:pt x="3466" y="9203"/>
                  </a:cubicBezTo>
                  <a:cubicBezTo>
                    <a:pt x="3420" y="9263"/>
                    <a:pt x="3410" y="9324"/>
                    <a:pt x="3396" y="9376"/>
                  </a:cubicBezTo>
                  <a:cubicBezTo>
                    <a:pt x="3391" y="9394"/>
                    <a:pt x="3387" y="9415"/>
                    <a:pt x="3383" y="9437"/>
                  </a:cubicBezTo>
                  <a:cubicBezTo>
                    <a:pt x="3092" y="8849"/>
                    <a:pt x="3092" y="8849"/>
                    <a:pt x="3092" y="8849"/>
                  </a:cubicBezTo>
                  <a:cubicBezTo>
                    <a:pt x="3414" y="8678"/>
                    <a:pt x="3677" y="8540"/>
                    <a:pt x="3804" y="8475"/>
                  </a:cubicBezTo>
                  <a:close/>
                  <a:moveTo>
                    <a:pt x="3378" y="9461"/>
                  </a:moveTo>
                  <a:cubicBezTo>
                    <a:pt x="3371" y="9503"/>
                    <a:pt x="3364" y="9549"/>
                    <a:pt x="3355" y="9597"/>
                  </a:cubicBezTo>
                  <a:cubicBezTo>
                    <a:pt x="3338" y="9679"/>
                    <a:pt x="3314" y="9763"/>
                    <a:pt x="3274" y="9818"/>
                  </a:cubicBezTo>
                  <a:cubicBezTo>
                    <a:pt x="3253" y="9847"/>
                    <a:pt x="3239" y="9865"/>
                    <a:pt x="3224" y="9879"/>
                  </a:cubicBezTo>
                  <a:cubicBezTo>
                    <a:pt x="2655" y="9081"/>
                    <a:pt x="2655" y="9081"/>
                    <a:pt x="2655" y="9081"/>
                  </a:cubicBezTo>
                  <a:cubicBezTo>
                    <a:pt x="2803" y="9002"/>
                    <a:pt x="2946" y="8926"/>
                    <a:pt x="3080" y="8855"/>
                  </a:cubicBezTo>
                  <a:lnTo>
                    <a:pt x="3378" y="9461"/>
                  </a:lnTo>
                  <a:close/>
                  <a:moveTo>
                    <a:pt x="3214" y="9888"/>
                  </a:moveTo>
                  <a:cubicBezTo>
                    <a:pt x="3202" y="9899"/>
                    <a:pt x="3188" y="9908"/>
                    <a:pt x="3170" y="9918"/>
                  </a:cubicBezTo>
                  <a:cubicBezTo>
                    <a:pt x="3124" y="9942"/>
                    <a:pt x="3049" y="9974"/>
                    <a:pt x="2899" y="10058"/>
                  </a:cubicBezTo>
                  <a:cubicBezTo>
                    <a:pt x="2861" y="10079"/>
                    <a:pt x="2823" y="10095"/>
                    <a:pt x="2785" y="10109"/>
                  </a:cubicBezTo>
                  <a:cubicBezTo>
                    <a:pt x="2428" y="9203"/>
                    <a:pt x="2428" y="9203"/>
                    <a:pt x="2428" y="9203"/>
                  </a:cubicBezTo>
                  <a:cubicBezTo>
                    <a:pt x="2500" y="9164"/>
                    <a:pt x="2572" y="9125"/>
                    <a:pt x="2643" y="9088"/>
                  </a:cubicBezTo>
                  <a:lnTo>
                    <a:pt x="3214" y="9888"/>
                  </a:lnTo>
                  <a:close/>
                  <a:moveTo>
                    <a:pt x="2772" y="10114"/>
                  </a:moveTo>
                  <a:cubicBezTo>
                    <a:pt x="2657" y="10153"/>
                    <a:pt x="2545" y="10164"/>
                    <a:pt x="2462" y="10164"/>
                  </a:cubicBezTo>
                  <a:cubicBezTo>
                    <a:pt x="2418" y="10164"/>
                    <a:pt x="2387" y="10159"/>
                    <a:pt x="2362" y="10157"/>
                  </a:cubicBezTo>
                  <a:cubicBezTo>
                    <a:pt x="2354" y="10156"/>
                    <a:pt x="2347" y="10155"/>
                    <a:pt x="2342" y="10154"/>
                  </a:cubicBezTo>
                  <a:cubicBezTo>
                    <a:pt x="2341" y="10154"/>
                    <a:pt x="2312" y="10149"/>
                    <a:pt x="2274" y="10140"/>
                  </a:cubicBezTo>
                  <a:cubicBezTo>
                    <a:pt x="2236" y="10132"/>
                    <a:pt x="2189" y="10119"/>
                    <a:pt x="2156" y="10106"/>
                  </a:cubicBezTo>
                  <a:cubicBezTo>
                    <a:pt x="2150" y="10103"/>
                    <a:pt x="2144" y="10100"/>
                    <a:pt x="2139" y="10097"/>
                  </a:cubicBezTo>
                  <a:cubicBezTo>
                    <a:pt x="2139" y="10096"/>
                    <a:pt x="2139" y="10096"/>
                    <a:pt x="2139" y="10095"/>
                  </a:cubicBezTo>
                  <a:cubicBezTo>
                    <a:pt x="2140" y="10089"/>
                    <a:pt x="2141" y="10080"/>
                    <a:pt x="2143" y="10069"/>
                  </a:cubicBezTo>
                  <a:cubicBezTo>
                    <a:pt x="2145" y="10047"/>
                    <a:pt x="2149" y="10016"/>
                    <a:pt x="2153" y="9978"/>
                  </a:cubicBezTo>
                  <a:cubicBezTo>
                    <a:pt x="2162" y="9903"/>
                    <a:pt x="2172" y="9803"/>
                    <a:pt x="2183" y="9702"/>
                  </a:cubicBezTo>
                  <a:cubicBezTo>
                    <a:pt x="2201" y="9530"/>
                    <a:pt x="2219" y="9357"/>
                    <a:pt x="2223" y="9313"/>
                  </a:cubicBezTo>
                  <a:cubicBezTo>
                    <a:pt x="2287" y="9278"/>
                    <a:pt x="2352" y="9244"/>
                    <a:pt x="2416" y="9209"/>
                  </a:cubicBezTo>
                  <a:lnTo>
                    <a:pt x="2772" y="10114"/>
                  </a:lnTo>
                  <a:close/>
                  <a:moveTo>
                    <a:pt x="2168" y="9687"/>
                  </a:moveTo>
                  <a:cubicBezTo>
                    <a:pt x="2150" y="9862"/>
                    <a:pt x="2130" y="10043"/>
                    <a:pt x="2123" y="10089"/>
                  </a:cubicBezTo>
                  <a:cubicBezTo>
                    <a:pt x="2082" y="10064"/>
                    <a:pt x="2045" y="10029"/>
                    <a:pt x="2028" y="10011"/>
                  </a:cubicBezTo>
                  <a:cubicBezTo>
                    <a:pt x="2021" y="10004"/>
                    <a:pt x="2017" y="9999"/>
                    <a:pt x="2017" y="9999"/>
                  </a:cubicBezTo>
                  <a:cubicBezTo>
                    <a:pt x="2006" y="9987"/>
                    <a:pt x="2006" y="9987"/>
                    <a:pt x="2006" y="9987"/>
                  </a:cubicBezTo>
                  <a:cubicBezTo>
                    <a:pt x="1623" y="10148"/>
                    <a:pt x="1623" y="10148"/>
                    <a:pt x="1623" y="10148"/>
                  </a:cubicBezTo>
                  <a:cubicBezTo>
                    <a:pt x="1366" y="9930"/>
                    <a:pt x="1366" y="9930"/>
                    <a:pt x="1366" y="9930"/>
                  </a:cubicBezTo>
                  <a:cubicBezTo>
                    <a:pt x="1358" y="9940"/>
                    <a:pt x="1358" y="9940"/>
                    <a:pt x="1358" y="9940"/>
                  </a:cubicBezTo>
                  <a:cubicBezTo>
                    <a:pt x="1349" y="9933"/>
                    <a:pt x="1324" y="9912"/>
                    <a:pt x="1299" y="9890"/>
                  </a:cubicBezTo>
                  <a:cubicBezTo>
                    <a:pt x="1281" y="9875"/>
                    <a:pt x="1262" y="9859"/>
                    <a:pt x="1249" y="9848"/>
                  </a:cubicBezTo>
                  <a:cubicBezTo>
                    <a:pt x="1491" y="9716"/>
                    <a:pt x="1781" y="9560"/>
                    <a:pt x="2093" y="9392"/>
                  </a:cubicBezTo>
                  <a:cubicBezTo>
                    <a:pt x="2094" y="9391"/>
                    <a:pt x="2094" y="9391"/>
                    <a:pt x="2094" y="9391"/>
                  </a:cubicBezTo>
                  <a:cubicBezTo>
                    <a:pt x="2116" y="9371"/>
                    <a:pt x="2116" y="9371"/>
                    <a:pt x="2116" y="9371"/>
                  </a:cubicBezTo>
                  <a:cubicBezTo>
                    <a:pt x="2146" y="9355"/>
                    <a:pt x="2176" y="9338"/>
                    <a:pt x="2206" y="9322"/>
                  </a:cubicBezTo>
                  <a:cubicBezTo>
                    <a:pt x="2200" y="9378"/>
                    <a:pt x="2184" y="9531"/>
                    <a:pt x="2168" y="9687"/>
                  </a:cubicBezTo>
                  <a:close/>
                  <a:moveTo>
                    <a:pt x="1285" y="9900"/>
                  </a:moveTo>
                  <a:cubicBezTo>
                    <a:pt x="1311" y="9923"/>
                    <a:pt x="1338" y="9945"/>
                    <a:pt x="1347" y="9953"/>
                  </a:cubicBezTo>
                  <a:cubicBezTo>
                    <a:pt x="1337" y="9965"/>
                    <a:pt x="1337" y="9965"/>
                    <a:pt x="1337" y="9965"/>
                  </a:cubicBezTo>
                  <a:cubicBezTo>
                    <a:pt x="1596" y="10185"/>
                    <a:pt x="1596" y="10185"/>
                    <a:pt x="1596" y="10185"/>
                  </a:cubicBezTo>
                  <a:cubicBezTo>
                    <a:pt x="1595" y="10202"/>
                    <a:pt x="1591" y="10243"/>
                    <a:pt x="1588" y="10282"/>
                  </a:cubicBezTo>
                  <a:cubicBezTo>
                    <a:pt x="1583" y="10332"/>
                    <a:pt x="1578" y="10380"/>
                    <a:pt x="1578" y="10380"/>
                  </a:cubicBezTo>
                  <a:cubicBezTo>
                    <a:pt x="1578" y="10383"/>
                    <a:pt x="1578" y="10383"/>
                    <a:pt x="1578" y="10383"/>
                  </a:cubicBezTo>
                  <a:cubicBezTo>
                    <a:pt x="1589" y="10384"/>
                    <a:pt x="1589" y="10384"/>
                    <a:pt x="1589" y="10384"/>
                  </a:cubicBezTo>
                  <a:cubicBezTo>
                    <a:pt x="1583" y="10456"/>
                    <a:pt x="1583" y="10456"/>
                    <a:pt x="1583" y="10456"/>
                  </a:cubicBezTo>
                  <a:cubicBezTo>
                    <a:pt x="1251" y="10638"/>
                    <a:pt x="1251" y="10638"/>
                    <a:pt x="1251" y="10638"/>
                  </a:cubicBezTo>
                  <a:cubicBezTo>
                    <a:pt x="1235" y="10614"/>
                    <a:pt x="1223" y="10593"/>
                    <a:pt x="1209" y="10568"/>
                  </a:cubicBezTo>
                  <a:cubicBezTo>
                    <a:pt x="1195" y="10544"/>
                    <a:pt x="1121" y="10415"/>
                    <a:pt x="1051" y="10291"/>
                  </a:cubicBezTo>
                  <a:cubicBezTo>
                    <a:pt x="982" y="10168"/>
                    <a:pt x="916" y="10051"/>
                    <a:pt x="915" y="10051"/>
                  </a:cubicBezTo>
                  <a:cubicBezTo>
                    <a:pt x="912" y="10047"/>
                    <a:pt x="912" y="10047"/>
                    <a:pt x="912" y="10047"/>
                  </a:cubicBezTo>
                  <a:cubicBezTo>
                    <a:pt x="852" y="10081"/>
                    <a:pt x="852" y="10081"/>
                    <a:pt x="852" y="10081"/>
                  </a:cubicBezTo>
                  <a:cubicBezTo>
                    <a:pt x="856" y="10085"/>
                    <a:pt x="1120" y="10553"/>
                    <a:pt x="1149" y="10603"/>
                  </a:cubicBezTo>
                  <a:cubicBezTo>
                    <a:pt x="1177" y="10650"/>
                    <a:pt x="1200" y="10693"/>
                    <a:pt x="1257" y="10760"/>
                  </a:cubicBezTo>
                  <a:cubicBezTo>
                    <a:pt x="1273" y="10778"/>
                    <a:pt x="1296" y="10804"/>
                    <a:pt x="1320" y="10831"/>
                  </a:cubicBezTo>
                  <a:cubicBezTo>
                    <a:pt x="1313" y="10835"/>
                    <a:pt x="1306" y="10838"/>
                    <a:pt x="1299" y="10841"/>
                  </a:cubicBezTo>
                  <a:cubicBezTo>
                    <a:pt x="1297" y="10842"/>
                    <a:pt x="1295" y="10843"/>
                    <a:pt x="1293" y="10844"/>
                  </a:cubicBezTo>
                  <a:cubicBezTo>
                    <a:pt x="1279" y="10829"/>
                    <a:pt x="1232" y="10779"/>
                    <a:pt x="1182" y="10721"/>
                  </a:cubicBezTo>
                  <a:cubicBezTo>
                    <a:pt x="1122" y="10652"/>
                    <a:pt x="1057" y="10571"/>
                    <a:pt x="1040" y="10532"/>
                  </a:cubicBezTo>
                  <a:cubicBezTo>
                    <a:pt x="1011" y="10468"/>
                    <a:pt x="933" y="10316"/>
                    <a:pt x="870" y="10241"/>
                  </a:cubicBezTo>
                  <a:cubicBezTo>
                    <a:pt x="849" y="10218"/>
                    <a:pt x="832" y="10200"/>
                    <a:pt x="810" y="10198"/>
                  </a:cubicBezTo>
                  <a:cubicBezTo>
                    <a:pt x="808" y="10198"/>
                    <a:pt x="808" y="10198"/>
                    <a:pt x="808" y="10198"/>
                  </a:cubicBezTo>
                  <a:cubicBezTo>
                    <a:pt x="807" y="10198"/>
                    <a:pt x="807" y="10198"/>
                    <a:pt x="807" y="10198"/>
                  </a:cubicBezTo>
                  <a:cubicBezTo>
                    <a:pt x="782" y="10198"/>
                    <a:pt x="739" y="10212"/>
                    <a:pt x="688" y="10232"/>
                  </a:cubicBezTo>
                  <a:cubicBezTo>
                    <a:pt x="672" y="10213"/>
                    <a:pt x="656" y="10195"/>
                    <a:pt x="642" y="10178"/>
                  </a:cubicBezTo>
                  <a:cubicBezTo>
                    <a:pt x="661" y="10167"/>
                    <a:pt x="674" y="10159"/>
                    <a:pt x="677" y="10157"/>
                  </a:cubicBezTo>
                  <a:cubicBezTo>
                    <a:pt x="691" y="10150"/>
                    <a:pt x="860" y="10058"/>
                    <a:pt x="1115" y="9920"/>
                  </a:cubicBezTo>
                  <a:cubicBezTo>
                    <a:pt x="1153" y="9899"/>
                    <a:pt x="1193" y="9878"/>
                    <a:pt x="1233" y="9856"/>
                  </a:cubicBezTo>
                  <a:cubicBezTo>
                    <a:pt x="1236" y="9858"/>
                    <a:pt x="1237" y="9859"/>
                    <a:pt x="1239" y="9861"/>
                  </a:cubicBezTo>
                  <a:cubicBezTo>
                    <a:pt x="1252" y="9872"/>
                    <a:pt x="1268" y="9886"/>
                    <a:pt x="1285" y="9900"/>
                  </a:cubicBezTo>
                  <a:close/>
                  <a:moveTo>
                    <a:pt x="806" y="10222"/>
                  </a:moveTo>
                  <a:cubicBezTo>
                    <a:pt x="807" y="10222"/>
                    <a:pt x="807" y="10222"/>
                    <a:pt x="807" y="10222"/>
                  </a:cubicBezTo>
                  <a:cubicBezTo>
                    <a:pt x="808" y="10222"/>
                    <a:pt x="808" y="10222"/>
                    <a:pt x="808" y="10222"/>
                  </a:cubicBezTo>
                  <a:cubicBezTo>
                    <a:pt x="808" y="10222"/>
                    <a:pt x="808" y="10222"/>
                    <a:pt x="808" y="10222"/>
                  </a:cubicBezTo>
                  <a:cubicBezTo>
                    <a:pt x="813" y="10221"/>
                    <a:pt x="832" y="10234"/>
                    <a:pt x="851" y="10257"/>
                  </a:cubicBezTo>
                  <a:cubicBezTo>
                    <a:pt x="871" y="10281"/>
                    <a:pt x="893" y="10313"/>
                    <a:pt x="915" y="10348"/>
                  </a:cubicBezTo>
                  <a:cubicBezTo>
                    <a:pt x="958" y="10419"/>
                    <a:pt x="999" y="10500"/>
                    <a:pt x="1017" y="10542"/>
                  </a:cubicBezTo>
                  <a:cubicBezTo>
                    <a:pt x="1053" y="10620"/>
                    <a:pt x="1226" y="10808"/>
                    <a:pt x="1269" y="10855"/>
                  </a:cubicBezTo>
                  <a:cubicBezTo>
                    <a:pt x="1259" y="10860"/>
                    <a:pt x="1249" y="10865"/>
                    <a:pt x="1239" y="10869"/>
                  </a:cubicBezTo>
                  <a:cubicBezTo>
                    <a:pt x="1162" y="10781"/>
                    <a:pt x="1060" y="10662"/>
                    <a:pt x="956" y="10542"/>
                  </a:cubicBezTo>
                  <a:cubicBezTo>
                    <a:pt x="868" y="10441"/>
                    <a:pt x="779" y="10338"/>
                    <a:pt x="705" y="10252"/>
                  </a:cubicBezTo>
                  <a:cubicBezTo>
                    <a:pt x="751" y="10234"/>
                    <a:pt x="789" y="10223"/>
                    <a:pt x="806" y="10222"/>
                  </a:cubicBezTo>
                  <a:close/>
                  <a:moveTo>
                    <a:pt x="1297" y="11041"/>
                  </a:moveTo>
                  <a:cubicBezTo>
                    <a:pt x="1287" y="11047"/>
                    <a:pt x="1271" y="11058"/>
                    <a:pt x="1253" y="11073"/>
                  </a:cubicBezTo>
                  <a:cubicBezTo>
                    <a:pt x="1231" y="11043"/>
                    <a:pt x="1199" y="11017"/>
                    <a:pt x="1155" y="11016"/>
                  </a:cubicBezTo>
                  <a:cubicBezTo>
                    <a:pt x="1154" y="11016"/>
                    <a:pt x="1153" y="11017"/>
                    <a:pt x="1153" y="11017"/>
                  </a:cubicBezTo>
                  <a:cubicBezTo>
                    <a:pt x="1150" y="11009"/>
                    <a:pt x="1148" y="10996"/>
                    <a:pt x="1148" y="10983"/>
                  </a:cubicBezTo>
                  <a:cubicBezTo>
                    <a:pt x="1148" y="10967"/>
                    <a:pt x="1151" y="10952"/>
                    <a:pt x="1161" y="10942"/>
                  </a:cubicBezTo>
                  <a:cubicBezTo>
                    <a:pt x="1165" y="10937"/>
                    <a:pt x="1177" y="10930"/>
                    <a:pt x="1193" y="10921"/>
                  </a:cubicBezTo>
                  <a:cubicBezTo>
                    <a:pt x="1239" y="10974"/>
                    <a:pt x="1276" y="11017"/>
                    <a:pt x="1297" y="11041"/>
                  </a:cubicBezTo>
                  <a:close/>
                  <a:moveTo>
                    <a:pt x="1155" y="11041"/>
                  </a:moveTo>
                  <a:cubicBezTo>
                    <a:pt x="1187" y="11041"/>
                    <a:pt x="1214" y="11062"/>
                    <a:pt x="1234" y="11088"/>
                  </a:cubicBezTo>
                  <a:cubicBezTo>
                    <a:pt x="1223" y="11096"/>
                    <a:pt x="1212" y="11105"/>
                    <a:pt x="1202" y="11115"/>
                  </a:cubicBezTo>
                  <a:cubicBezTo>
                    <a:pt x="1176" y="11138"/>
                    <a:pt x="1152" y="11164"/>
                    <a:pt x="1133" y="11187"/>
                  </a:cubicBezTo>
                  <a:cubicBezTo>
                    <a:pt x="1106" y="11219"/>
                    <a:pt x="1075" y="11262"/>
                    <a:pt x="1052" y="11305"/>
                  </a:cubicBezTo>
                  <a:cubicBezTo>
                    <a:pt x="1037" y="11333"/>
                    <a:pt x="1026" y="11360"/>
                    <a:pt x="1019" y="11381"/>
                  </a:cubicBezTo>
                  <a:cubicBezTo>
                    <a:pt x="1011" y="11357"/>
                    <a:pt x="1001" y="11333"/>
                    <a:pt x="992" y="11311"/>
                  </a:cubicBezTo>
                  <a:cubicBezTo>
                    <a:pt x="970" y="11263"/>
                    <a:pt x="950" y="11220"/>
                    <a:pt x="950" y="11206"/>
                  </a:cubicBezTo>
                  <a:cubicBezTo>
                    <a:pt x="950" y="11205"/>
                    <a:pt x="950" y="11205"/>
                    <a:pt x="950" y="11205"/>
                  </a:cubicBezTo>
                  <a:cubicBezTo>
                    <a:pt x="950" y="11161"/>
                    <a:pt x="988" y="11109"/>
                    <a:pt x="1112" y="11051"/>
                  </a:cubicBezTo>
                  <a:cubicBezTo>
                    <a:pt x="1128" y="11044"/>
                    <a:pt x="1142" y="11041"/>
                    <a:pt x="1155" y="11041"/>
                  </a:cubicBezTo>
                  <a:close/>
                  <a:moveTo>
                    <a:pt x="1007" y="11433"/>
                  </a:moveTo>
                  <a:cubicBezTo>
                    <a:pt x="1009" y="11445"/>
                    <a:pt x="1010" y="11457"/>
                    <a:pt x="1010" y="11468"/>
                  </a:cubicBezTo>
                  <a:cubicBezTo>
                    <a:pt x="1010" y="11489"/>
                    <a:pt x="1006" y="11509"/>
                    <a:pt x="996" y="11525"/>
                  </a:cubicBezTo>
                  <a:cubicBezTo>
                    <a:pt x="963" y="11579"/>
                    <a:pt x="928" y="11593"/>
                    <a:pt x="895" y="11594"/>
                  </a:cubicBezTo>
                  <a:cubicBezTo>
                    <a:pt x="877" y="11594"/>
                    <a:pt x="860" y="11589"/>
                    <a:pt x="844" y="11582"/>
                  </a:cubicBezTo>
                  <a:cubicBezTo>
                    <a:pt x="885" y="11509"/>
                    <a:pt x="905" y="11419"/>
                    <a:pt x="913" y="11373"/>
                  </a:cubicBezTo>
                  <a:cubicBezTo>
                    <a:pt x="933" y="11384"/>
                    <a:pt x="949" y="11394"/>
                    <a:pt x="962" y="11401"/>
                  </a:cubicBezTo>
                  <a:cubicBezTo>
                    <a:pt x="973" y="11408"/>
                    <a:pt x="989" y="11419"/>
                    <a:pt x="1007" y="11433"/>
                  </a:cubicBezTo>
                  <a:close/>
                  <a:moveTo>
                    <a:pt x="895" y="11618"/>
                  </a:moveTo>
                  <a:cubicBezTo>
                    <a:pt x="912" y="11618"/>
                    <a:pt x="929" y="11615"/>
                    <a:pt x="946" y="11607"/>
                  </a:cubicBezTo>
                  <a:cubicBezTo>
                    <a:pt x="1068" y="11719"/>
                    <a:pt x="1068" y="11719"/>
                    <a:pt x="1068" y="11719"/>
                  </a:cubicBezTo>
                  <a:cubicBezTo>
                    <a:pt x="1123" y="11949"/>
                    <a:pt x="1123" y="11949"/>
                    <a:pt x="1123" y="11949"/>
                  </a:cubicBezTo>
                  <a:cubicBezTo>
                    <a:pt x="859" y="12013"/>
                    <a:pt x="859" y="12013"/>
                    <a:pt x="859" y="12013"/>
                  </a:cubicBezTo>
                  <a:cubicBezTo>
                    <a:pt x="860" y="12014"/>
                    <a:pt x="860" y="12014"/>
                    <a:pt x="860" y="12014"/>
                  </a:cubicBezTo>
                  <a:cubicBezTo>
                    <a:pt x="854" y="12006"/>
                    <a:pt x="847" y="11997"/>
                    <a:pt x="840" y="11986"/>
                  </a:cubicBezTo>
                  <a:cubicBezTo>
                    <a:pt x="813" y="11949"/>
                    <a:pt x="776" y="11897"/>
                    <a:pt x="731" y="11835"/>
                  </a:cubicBezTo>
                  <a:cubicBezTo>
                    <a:pt x="711" y="11807"/>
                    <a:pt x="690" y="11776"/>
                    <a:pt x="667" y="11745"/>
                  </a:cubicBezTo>
                  <a:cubicBezTo>
                    <a:pt x="668" y="11746"/>
                    <a:pt x="668" y="11746"/>
                    <a:pt x="668" y="11746"/>
                  </a:cubicBezTo>
                  <a:cubicBezTo>
                    <a:pt x="672" y="11745"/>
                    <a:pt x="674" y="11744"/>
                    <a:pt x="678" y="11742"/>
                  </a:cubicBezTo>
                  <a:cubicBezTo>
                    <a:pt x="687" y="11738"/>
                    <a:pt x="699" y="11732"/>
                    <a:pt x="714" y="11722"/>
                  </a:cubicBezTo>
                  <a:cubicBezTo>
                    <a:pt x="742" y="11703"/>
                    <a:pt x="779" y="11672"/>
                    <a:pt x="818" y="11622"/>
                  </a:cubicBezTo>
                  <a:cubicBezTo>
                    <a:pt x="822" y="11616"/>
                    <a:pt x="827" y="11610"/>
                    <a:pt x="831" y="11603"/>
                  </a:cubicBezTo>
                  <a:cubicBezTo>
                    <a:pt x="850" y="11612"/>
                    <a:pt x="872" y="11618"/>
                    <a:pt x="895" y="11618"/>
                  </a:cubicBezTo>
                  <a:close/>
                  <a:moveTo>
                    <a:pt x="735" y="11952"/>
                  </a:moveTo>
                  <a:cubicBezTo>
                    <a:pt x="753" y="11977"/>
                    <a:pt x="768" y="11999"/>
                    <a:pt x="782" y="12018"/>
                  </a:cubicBezTo>
                  <a:cubicBezTo>
                    <a:pt x="796" y="12038"/>
                    <a:pt x="808" y="12054"/>
                    <a:pt x="816" y="12065"/>
                  </a:cubicBezTo>
                  <a:cubicBezTo>
                    <a:pt x="444" y="12211"/>
                    <a:pt x="444" y="12211"/>
                    <a:pt x="444" y="12211"/>
                  </a:cubicBezTo>
                  <a:cubicBezTo>
                    <a:pt x="399" y="12151"/>
                    <a:pt x="399" y="12151"/>
                    <a:pt x="399" y="12151"/>
                  </a:cubicBezTo>
                  <a:cubicBezTo>
                    <a:pt x="365" y="12177"/>
                    <a:pt x="365" y="12177"/>
                    <a:pt x="365" y="12177"/>
                  </a:cubicBezTo>
                  <a:cubicBezTo>
                    <a:pt x="347" y="12153"/>
                    <a:pt x="347" y="12153"/>
                    <a:pt x="347" y="12153"/>
                  </a:cubicBezTo>
                  <a:lnTo>
                    <a:pt x="735" y="11952"/>
                  </a:lnTo>
                  <a:close/>
                  <a:moveTo>
                    <a:pt x="362" y="12195"/>
                  </a:moveTo>
                  <a:cubicBezTo>
                    <a:pt x="396" y="12169"/>
                    <a:pt x="396" y="12169"/>
                    <a:pt x="396" y="12169"/>
                  </a:cubicBezTo>
                  <a:cubicBezTo>
                    <a:pt x="431" y="12216"/>
                    <a:pt x="431" y="12216"/>
                    <a:pt x="431" y="12216"/>
                  </a:cubicBezTo>
                  <a:cubicBezTo>
                    <a:pt x="332" y="12255"/>
                    <a:pt x="332" y="12255"/>
                    <a:pt x="332" y="12255"/>
                  </a:cubicBezTo>
                  <a:cubicBezTo>
                    <a:pt x="286" y="12193"/>
                    <a:pt x="286" y="12193"/>
                    <a:pt x="286" y="12193"/>
                  </a:cubicBezTo>
                  <a:cubicBezTo>
                    <a:pt x="322" y="12166"/>
                    <a:pt x="322" y="12166"/>
                    <a:pt x="322" y="12166"/>
                  </a:cubicBezTo>
                  <a:cubicBezTo>
                    <a:pt x="335" y="12159"/>
                    <a:pt x="335" y="12159"/>
                    <a:pt x="335" y="12159"/>
                  </a:cubicBezTo>
                  <a:lnTo>
                    <a:pt x="362" y="12195"/>
                  </a:lnTo>
                  <a:close/>
                  <a:moveTo>
                    <a:pt x="440" y="12228"/>
                  </a:moveTo>
                  <a:cubicBezTo>
                    <a:pt x="450" y="12242"/>
                    <a:pt x="450" y="12242"/>
                    <a:pt x="450" y="12242"/>
                  </a:cubicBezTo>
                  <a:cubicBezTo>
                    <a:pt x="416" y="12268"/>
                    <a:pt x="416" y="12268"/>
                    <a:pt x="416" y="12268"/>
                  </a:cubicBezTo>
                  <a:cubicBezTo>
                    <a:pt x="444" y="12306"/>
                    <a:pt x="444" y="12306"/>
                    <a:pt x="444" y="12306"/>
                  </a:cubicBezTo>
                  <a:cubicBezTo>
                    <a:pt x="395" y="12341"/>
                    <a:pt x="395" y="12341"/>
                    <a:pt x="395" y="12341"/>
                  </a:cubicBezTo>
                  <a:cubicBezTo>
                    <a:pt x="340" y="12267"/>
                    <a:pt x="340" y="12267"/>
                    <a:pt x="340" y="12267"/>
                  </a:cubicBezTo>
                  <a:lnTo>
                    <a:pt x="440" y="12228"/>
                  </a:lnTo>
                  <a:close/>
                  <a:moveTo>
                    <a:pt x="905" y="12194"/>
                  </a:moveTo>
                  <a:cubicBezTo>
                    <a:pt x="994" y="12322"/>
                    <a:pt x="994" y="12322"/>
                    <a:pt x="994" y="12322"/>
                  </a:cubicBezTo>
                  <a:cubicBezTo>
                    <a:pt x="947" y="12339"/>
                    <a:pt x="769" y="12403"/>
                    <a:pt x="623" y="12454"/>
                  </a:cubicBezTo>
                  <a:cubicBezTo>
                    <a:pt x="578" y="12392"/>
                    <a:pt x="578" y="12392"/>
                    <a:pt x="578" y="12392"/>
                  </a:cubicBezTo>
                  <a:cubicBezTo>
                    <a:pt x="543" y="12418"/>
                    <a:pt x="543" y="12418"/>
                    <a:pt x="543" y="12418"/>
                  </a:cubicBezTo>
                  <a:cubicBezTo>
                    <a:pt x="515" y="12380"/>
                    <a:pt x="515" y="12380"/>
                    <a:pt x="515" y="12380"/>
                  </a:cubicBezTo>
                  <a:cubicBezTo>
                    <a:pt x="451" y="12427"/>
                    <a:pt x="451" y="12427"/>
                    <a:pt x="451" y="12427"/>
                  </a:cubicBezTo>
                  <a:cubicBezTo>
                    <a:pt x="446" y="12431"/>
                    <a:pt x="446" y="12431"/>
                    <a:pt x="446" y="12431"/>
                  </a:cubicBezTo>
                  <a:cubicBezTo>
                    <a:pt x="495" y="12498"/>
                    <a:pt x="495" y="12498"/>
                    <a:pt x="495" y="12498"/>
                  </a:cubicBezTo>
                  <a:cubicBezTo>
                    <a:pt x="485" y="12501"/>
                    <a:pt x="475" y="12504"/>
                    <a:pt x="467" y="12507"/>
                  </a:cubicBezTo>
                  <a:cubicBezTo>
                    <a:pt x="442" y="12470"/>
                    <a:pt x="421" y="12439"/>
                    <a:pt x="407" y="12420"/>
                  </a:cubicBezTo>
                  <a:cubicBezTo>
                    <a:pt x="399" y="12408"/>
                    <a:pt x="388" y="12393"/>
                    <a:pt x="375" y="12376"/>
                  </a:cubicBezTo>
                  <a:lnTo>
                    <a:pt x="905" y="12194"/>
                  </a:lnTo>
                  <a:close/>
                  <a:moveTo>
                    <a:pt x="528" y="12501"/>
                  </a:moveTo>
                  <a:cubicBezTo>
                    <a:pt x="555" y="12492"/>
                    <a:pt x="586" y="12481"/>
                    <a:pt x="619" y="12470"/>
                  </a:cubicBezTo>
                  <a:cubicBezTo>
                    <a:pt x="629" y="12483"/>
                    <a:pt x="629" y="12483"/>
                    <a:pt x="629" y="12483"/>
                  </a:cubicBezTo>
                  <a:cubicBezTo>
                    <a:pt x="594" y="12509"/>
                    <a:pt x="594" y="12509"/>
                    <a:pt x="594" y="12509"/>
                  </a:cubicBezTo>
                  <a:cubicBezTo>
                    <a:pt x="622" y="12546"/>
                    <a:pt x="622" y="12546"/>
                    <a:pt x="622" y="12546"/>
                  </a:cubicBezTo>
                  <a:cubicBezTo>
                    <a:pt x="574" y="12582"/>
                    <a:pt x="574" y="12582"/>
                    <a:pt x="574" y="12582"/>
                  </a:cubicBezTo>
                  <a:cubicBezTo>
                    <a:pt x="517" y="12505"/>
                    <a:pt x="517" y="12505"/>
                    <a:pt x="517" y="12505"/>
                  </a:cubicBezTo>
                  <a:cubicBezTo>
                    <a:pt x="520" y="12504"/>
                    <a:pt x="524" y="12503"/>
                    <a:pt x="528" y="12501"/>
                  </a:cubicBezTo>
                  <a:close/>
                  <a:moveTo>
                    <a:pt x="508" y="12493"/>
                  </a:moveTo>
                  <a:cubicBezTo>
                    <a:pt x="464" y="12434"/>
                    <a:pt x="464" y="12434"/>
                    <a:pt x="464" y="12434"/>
                  </a:cubicBezTo>
                  <a:cubicBezTo>
                    <a:pt x="512" y="12398"/>
                    <a:pt x="512" y="12398"/>
                    <a:pt x="512" y="12398"/>
                  </a:cubicBezTo>
                  <a:cubicBezTo>
                    <a:pt x="540" y="12436"/>
                    <a:pt x="540" y="12436"/>
                    <a:pt x="540" y="12436"/>
                  </a:cubicBezTo>
                  <a:cubicBezTo>
                    <a:pt x="575" y="12410"/>
                    <a:pt x="575" y="12410"/>
                    <a:pt x="575" y="12410"/>
                  </a:cubicBezTo>
                  <a:cubicBezTo>
                    <a:pt x="610" y="12458"/>
                    <a:pt x="610" y="12458"/>
                    <a:pt x="610" y="12458"/>
                  </a:cubicBezTo>
                  <a:cubicBezTo>
                    <a:pt x="579" y="12469"/>
                    <a:pt x="549" y="12479"/>
                    <a:pt x="523" y="12488"/>
                  </a:cubicBezTo>
                  <a:cubicBezTo>
                    <a:pt x="518" y="12490"/>
                    <a:pt x="513" y="12492"/>
                    <a:pt x="508" y="12493"/>
                  </a:cubicBezTo>
                  <a:close/>
                  <a:moveTo>
                    <a:pt x="504" y="12509"/>
                  </a:moveTo>
                  <a:cubicBezTo>
                    <a:pt x="571" y="12600"/>
                    <a:pt x="571" y="12600"/>
                    <a:pt x="571" y="12600"/>
                  </a:cubicBezTo>
                  <a:cubicBezTo>
                    <a:pt x="640" y="12549"/>
                    <a:pt x="640" y="12549"/>
                    <a:pt x="640" y="12549"/>
                  </a:cubicBezTo>
                  <a:cubicBezTo>
                    <a:pt x="612" y="12511"/>
                    <a:pt x="612" y="12511"/>
                    <a:pt x="612" y="12511"/>
                  </a:cubicBezTo>
                  <a:cubicBezTo>
                    <a:pt x="647" y="12486"/>
                    <a:pt x="647" y="12486"/>
                    <a:pt x="647" y="12486"/>
                  </a:cubicBezTo>
                  <a:cubicBezTo>
                    <a:pt x="632" y="12465"/>
                    <a:pt x="632" y="12465"/>
                    <a:pt x="632" y="12465"/>
                  </a:cubicBezTo>
                  <a:cubicBezTo>
                    <a:pt x="663" y="12454"/>
                    <a:pt x="695" y="12443"/>
                    <a:pt x="727" y="12432"/>
                  </a:cubicBezTo>
                  <a:cubicBezTo>
                    <a:pt x="850" y="12388"/>
                    <a:pt x="970" y="12345"/>
                    <a:pt x="1003" y="12334"/>
                  </a:cubicBezTo>
                  <a:cubicBezTo>
                    <a:pt x="1089" y="12457"/>
                    <a:pt x="1089" y="12457"/>
                    <a:pt x="1089" y="12457"/>
                  </a:cubicBezTo>
                  <a:cubicBezTo>
                    <a:pt x="1011" y="12483"/>
                    <a:pt x="764" y="12565"/>
                    <a:pt x="622" y="12610"/>
                  </a:cubicBezTo>
                  <a:cubicBezTo>
                    <a:pt x="593" y="12620"/>
                    <a:pt x="567" y="12627"/>
                    <a:pt x="550" y="12633"/>
                  </a:cubicBezTo>
                  <a:cubicBezTo>
                    <a:pt x="525" y="12594"/>
                    <a:pt x="499" y="12555"/>
                    <a:pt x="475" y="12519"/>
                  </a:cubicBezTo>
                  <a:cubicBezTo>
                    <a:pt x="484" y="12516"/>
                    <a:pt x="493" y="12513"/>
                    <a:pt x="504" y="12509"/>
                  </a:cubicBezTo>
                  <a:close/>
                  <a:moveTo>
                    <a:pt x="614" y="13612"/>
                  </a:moveTo>
                  <a:cubicBezTo>
                    <a:pt x="619" y="13583"/>
                    <a:pt x="642" y="13451"/>
                    <a:pt x="659" y="13378"/>
                  </a:cubicBezTo>
                  <a:cubicBezTo>
                    <a:pt x="666" y="13348"/>
                    <a:pt x="670" y="13300"/>
                    <a:pt x="674" y="13244"/>
                  </a:cubicBezTo>
                  <a:cubicBezTo>
                    <a:pt x="1007" y="13240"/>
                    <a:pt x="1007" y="13240"/>
                    <a:pt x="1007" y="13240"/>
                  </a:cubicBezTo>
                  <a:cubicBezTo>
                    <a:pt x="1112" y="13337"/>
                    <a:pt x="1112" y="13337"/>
                    <a:pt x="1112" y="13337"/>
                  </a:cubicBezTo>
                  <a:cubicBezTo>
                    <a:pt x="1112" y="13337"/>
                    <a:pt x="1112" y="13337"/>
                    <a:pt x="1112" y="13337"/>
                  </a:cubicBezTo>
                  <a:cubicBezTo>
                    <a:pt x="1126" y="13349"/>
                    <a:pt x="1126" y="13349"/>
                    <a:pt x="1126" y="13349"/>
                  </a:cubicBezTo>
                  <a:cubicBezTo>
                    <a:pt x="1128" y="13351"/>
                    <a:pt x="1128" y="13351"/>
                    <a:pt x="1128" y="13351"/>
                  </a:cubicBezTo>
                  <a:cubicBezTo>
                    <a:pt x="840" y="13837"/>
                    <a:pt x="840" y="13837"/>
                    <a:pt x="840" y="13837"/>
                  </a:cubicBezTo>
                  <a:cubicBezTo>
                    <a:pt x="839" y="13837"/>
                    <a:pt x="839" y="13837"/>
                    <a:pt x="839" y="13837"/>
                  </a:cubicBezTo>
                  <a:cubicBezTo>
                    <a:pt x="838" y="13837"/>
                    <a:pt x="838" y="13837"/>
                    <a:pt x="838" y="13837"/>
                  </a:cubicBezTo>
                  <a:cubicBezTo>
                    <a:pt x="836" y="13836"/>
                    <a:pt x="835" y="13835"/>
                    <a:pt x="833" y="13834"/>
                  </a:cubicBezTo>
                  <a:cubicBezTo>
                    <a:pt x="819" y="13825"/>
                    <a:pt x="800" y="13814"/>
                    <a:pt x="780" y="13801"/>
                  </a:cubicBezTo>
                  <a:cubicBezTo>
                    <a:pt x="741" y="13777"/>
                    <a:pt x="665" y="13724"/>
                    <a:pt x="652" y="13714"/>
                  </a:cubicBezTo>
                  <a:cubicBezTo>
                    <a:pt x="652" y="13713"/>
                    <a:pt x="651" y="13713"/>
                    <a:pt x="651" y="13713"/>
                  </a:cubicBezTo>
                  <a:cubicBezTo>
                    <a:pt x="631" y="13688"/>
                    <a:pt x="613" y="13636"/>
                    <a:pt x="614" y="13616"/>
                  </a:cubicBezTo>
                  <a:cubicBezTo>
                    <a:pt x="614" y="13614"/>
                    <a:pt x="614" y="13613"/>
                    <a:pt x="614" y="13612"/>
                  </a:cubicBezTo>
                  <a:close/>
                  <a:moveTo>
                    <a:pt x="1140" y="13362"/>
                  </a:moveTo>
                  <a:cubicBezTo>
                    <a:pt x="1144" y="13365"/>
                    <a:pt x="1144" y="13365"/>
                    <a:pt x="1144" y="13365"/>
                  </a:cubicBezTo>
                  <a:cubicBezTo>
                    <a:pt x="1144" y="13365"/>
                    <a:pt x="1144" y="13365"/>
                    <a:pt x="1144" y="13365"/>
                  </a:cubicBezTo>
                  <a:cubicBezTo>
                    <a:pt x="1420" y="13605"/>
                    <a:pt x="1420" y="13605"/>
                    <a:pt x="1420" y="13605"/>
                  </a:cubicBezTo>
                  <a:cubicBezTo>
                    <a:pt x="1240" y="13853"/>
                    <a:pt x="1240" y="13853"/>
                    <a:pt x="1240" y="13853"/>
                  </a:cubicBezTo>
                  <a:cubicBezTo>
                    <a:pt x="1240" y="13853"/>
                    <a:pt x="1151" y="13967"/>
                    <a:pt x="1125" y="14001"/>
                  </a:cubicBezTo>
                  <a:cubicBezTo>
                    <a:pt x="1122" y="14005"/>
                    <a:pt x="1121" y="14007"/>
                    <a:pt x="1119" y="14010"/>
                  </a:cubicBezTo>
                  <a:cubicBezTo>
                    <a:pt x="1119" y="14010"/>
                    <a:pt x="1118" y="14011"/>
                    <a:pt x="1118" y="14011"/>
                  </a:cubicBezTo>
                  <a:cubicBezTo>
                    <a:pt x="854" y="13846"/>
                    <a:pt x="854" y="13846"/>
                    <a:pt x="854" y="13846"/>
                  </a:cubicBezTo>
                  <a:lnTo>
                    <a:pt x="1140" y="13362"/>
                  </a:lnTo>
                  <a:close/>
                  <a:moveTo>
                    <a:pt x="1167" y="14060"/>
                  </a:moveTo>
                  <a:cubicBezTo>
                    <a:pt x="1170" y="14056"/>
                    <a:pt x="1170" y="14056"/>
                    <a:pt x="1174" y="14052"/>
                  </a:cubicBezTo>
                  <a:cubicBezTo>
                    <a:pt x="1174" y="14051"/>
                    <a:pt x="1175" y="14051"/>
                    <a:pt x="1176" y="14049"/>
                  </a:cubicBezTo>
                  <a:cubicBezTo>
                    <a:pt x="1177" y="14048"/>
                    <a:pt x="1178" y="14046"/>
                    <a:pt x="1179" y="14044"/>
                  </a:cubicBezTo>
                  <a:cubicBezTo>
                    <a:pt x="1183" y="14040"/>
                    <a:pt x="1187" y="14033"/>
                    <a:pt x="1193" y="14026"/>
                  </a:cubicBezTo>
                  <a:cubicBezTo>
                    <a:pt x="1204" y="14011"/>
                    <a:pt x="1219" y="13992"/>
                    <a:pt x="1234" y="13972"/>
                  </a:cubicBezTo>
                  <a:cubicBezTo>
                    <a:pt x="1264" y="13933"/>
                    <a:pt x="1294" y="13895"/>
                    <a:pt x="1295" y="13894"/>
                  </a:cubicBezTo>
                  <a:cubicBezTo>
                    <a:pt x="1298" y="13890"/>
                    <a:pt x="1298" y="13890"/>
                    <a:pt x="1298" y="13890"/>
                  </a:cubicBezTo>
                  <a:cubicBezTo>
                    <a:pt x="1403" y="13990"/>
                    <a:pt x="1403" y="13990"/>
                    <a:pt x="1403" y="13990"/>
                  </a:cubicBezTo>
                  <a:cubicBezTo>
                    <a:pt x="1221" y="14372"/>
                    <a:pt x="1221" y="14372"/>
                    <a:pt x="1221" y="14372"/>
                  </a:cubicBezTo>
                  <a:cubicBezTo>
                    <a:pt x="988" y="14245"/>
                    <a:pt x="988" y="14245"/>
                    <a:pt x="988" y="14245"/>
                  </a:cubicBezTo>
                  <a:cubicBezTo>
                    <a:pt x="988" y="14245"/>
                    <a:pt x="988" y="14245"/>
                    <a:pt x="988" y="14245"/>
                  </a:cubicBezTo>
                  <a:cubicBezTo>
                    <a:pt x="1065" y="14166"/>
                    <a:pt x="1146" y="14082"/>
                    <a:pt x="1167" y="14060"/>
                  </a:cubicBezTo>
                  <a:close/>
                  <a:moveTo>
                    <a:pt x="1214" y="14387"/>
                  </a:moveTo>
                  <a:cubicBezTo>
                    <a:pt x="1044" y="14744"/>
                    <a:pt x="1044" y="14744"/>
                    <a:pt x="1044" y="14744"/>
                  </a:cubicBezTo>
                  <a:cubicBezTo>
                    <a:pt x="741" y="14514"/>
                    <a:pt x="741" y="14514"/>
                    <a:pt x="741" y="14514"/>
                  </a:cubicBezTo>
                  <a:cubicBezTo>
                    <a:pt x="743" y="14510"/>
                    <a:pt x="747" y="14505"/>
                    <a:pt x="752" y="14499"/>
                  </a:cubicBezTo>
                  <a:cubicBezTo>
                    <a:pt x="761" y="14486"/>
                    <a:pt x="773" y="14472"/>
                    <a:pt x="785" y="14458"/>
                  </a:cubicBezTo>
                  <a:cubicBezTo>
                    <a:pt x="807" y="14432"/>
                    <a:pt x="831" y="14406"/>
                    <a:pt x="836" y="14401"/>
                  </a:cubicBezTo>
                  <a:cubicBezTo>
                    <a:pt x="837" y="14400"/>
                    <a:pt x="836" y="14401"/>
                    <a:pt x="837" y="14400"/>
                  </a:cubicBezTo>
                  <a:cubicBezTo>
                    <a:pt x="838" y="14400"/>
                    <a:pt x="838" y="14399"/>
                    <a:pt x="838" y="14399"/>
                  </a:cubicBezTo>
                  <a:cubicBezTo>
                    <a:pt x="839" y="14398"/>
                    <a:pt x="840" y="14397"/>
                    <a:pt x="841" y="14396"/>
                  </a:cubicBezTo>
                  <a:cubicBezTo>
                    <a:pt x="843" y="14394"/>
                    <a:pt x="847" y="14391"/>
                    <a:pt x="851" y="14386"/>
                  </a:cubicBezTo>
                  <a:cubicBezTo>
                    <a:pt x="859" y="14378"/>
                    <a:pt x="871" y="14366"/>
                    <a:pt x="884" y="14352"/>
                  </a:cubicBezTo>
                  <a:cubicBezTo>
                    <a:pt x="909" y="14326"/>
                    <a:pt x="942" y="14293"/>
                    <a:pt x="976" y="14258"/>
                  </a:cubicBezTo>
                  <a:lnTo>
                    <a:pt x="1214" y="14387"/>
                  </a:lnTo>
                  <a:close/>
                  <a:moveTo>
                    <a:pt x="1028" y="14817"/>
                  </a:moveTo>
                  <a:cubicBezTo>
                    <a:pt x="927" y="14941"/>
                    <a:pt x="927" y="14941"/>
                    <a:pt x="927" y="14941"/>
                  </a:cubicBezTo>
                  <a:cubicBezTo>
                    <a:pt x="974" y="15066"/>
                    <a:pt x="974" y="15066"/>
                    <a:pt x="974" y="15066"/>
                  </a:cubicBezTo>
                  <a:cubicBezTo>
                    <a:pt x="894" y="15367"/>
                    <a:pt x="894" y="15367"/>
                    <a:pt x="894" y="15367"/>
                  </a:cubicBezTo>
                  <a:cubicBezTo>
                    <a:pt x="711" y="15294"/>
                    <a:pt x="711" y="15294"/>
                    <a:pt x="711" y="15294"/>
                  </a:cubicBezTo>
                  <a:cubicBezTo>
                    <a:pt x="778" y="15027"/>
                    <a:pt x="778" y="15027"/>
                    <a:pt x="778" y="15027"/>
                  </a:cubicBezTo>
                  <a:cubicBezTo>
                    <a:pt x="611" y="14914"/>
                    <a:pt x="611" y="14914"/>
                    <a:pt x="611" y="14914"/>
                  </a:cubicBezTo>
                  <a:cubicBezTo>
                    <a:pt x="648" y="14840"/>
                    <a:pt x="678" y="14747"/>
                    <a:pt x="692" y="14705"/>
                  </a:cubicBezTo>
                  <a:cubicBezTo>
                    <a:pt x="706" y="14663"/>
                    <a:pt x="719" y="14616"/>
                    <a:pt x="726" y="14589"/>
                  </a:cubicBezTo>
                  <a:lnTo>
                    <a:pt x="1028" y="14817"/>
                  </a:lnTo>
                  <a:close/>
                  <a:moveTo>
                    <a:pt x="526" y="14924"/>
                  </a:moveTo>
                  <a:cubicBezTo>
                    <a:pt x="513" y="14943"/>
                    <a:pt x="463" y="15010"/>
                    <a:pt x="400" y="15094"/>
                  </a:cubicBezTo>
                  <a:cubicBezTo>
                    <a:pt x="419" y="15032"/>
                    <a:pt x="444" y="14976"/>
                    <a:pt x="462" y="14954"/>
                  </a:cubicBezTo>
                  <a:cubicBezTo>
                    <a:pt x="492" y="14916"/>
                    <a:pt x="514" y="14845"/>
                    <a:pt x="533" y="14772"/>
                  </a:cubicBezTo>
                  <a:cubicBezTo>
                    <a:pt x="542" y="14733"/>
                    <a:pt x="550" y="14694"/>
                    <a:pt x="556" y="14660"/>
                  </a:cubicBezTo>
                  <a:cubicBezTo>
                    <a:pt x="571" y="14671"/>
                    <a:pt x="585" y="14683"/>
                    <a:pt x="599" y="14693"/>
                  </a:cubicBezTo>
                  <a:cubicBezTo>
                    <a:pt x="606" y="14699"/>
                    <a:pt x="613" y="14704"/>
                    <a:pt x="618" y="14709"/>
                  </a:cubicBezTo>
                  <a:cubicBezTo>
                    <a:pt x="598" y="14770"/>
                    <a:pt x="561" y="14875"/>
                    <a:pt x="526" y="14924"/>
                  </a:cubicBezTo>
                  <a:close/>
                  <a:moveTo>
                    <a:pt x="1397" y="15718"/>
                  </a:moveTo>
                  <a:cubicBezTo>
                    <a:pt x="1208" y="15551"/>
                    <a:pt x="1208" y="15551"/>
                    <a:pt x="1208" y="15551"/>
                  </a:cubicBezTo>
                  <a:cubicBezTo>
                    <a:pt x="1515" y="15180"/>
                    <a:pt x="1515" y="15180"/>
                    <a:pt x="1515" y="15180"/>
                  </a:cubicBezTo>
                  <a:cubicBezTo>
                    <a:pt x="1690" y="15311"/>
                    <a:pt x="1876" y="15450"/>
                    <a:pt x="2001" y="15543"/>
                  </a:cubicBezTo>
                  <a:cubicBezTo>
                    <a:pt x="2001" y="15543"/>
                    <a:pt x="1999" y="15544"/>
                    <a:pt x="1999" y="15544"/>
                  </a:cubicBezTo>
                  <a:cubicBezTo>
                    <a:pt x="1997" y="15544"/>
                    <a:pt x="1997" y="15544"/>
                    <a:pt x="1997" y="15544"/>
                  </a:cubicBezTo>
                  <a:cubicBezTo>
                    <a:pt x="1884" y="15737"/>
                    <a:pt x="1884" y="15737"/>
                    <a:pt x="1884" y="15737"/>
                  </a:cubicBezTo>
                  <a:cubicBezTo>
                    <a:pt x="1788" y="15680"/>
                    <a:pt x="1788" y="15680"/>
                    <a:pt x="1788" y="15680"/>
                  </a:cubicBezTo>
                  <a:cubicBezTo>
                    <a:pt x="1559" y="16019"/>
                    <a:pt x="1559" y="16019"/>
                    <a:pt x="1559" y="16019"/>
                  </a:cubicBezTo>
                  <a:cubicBezTo>
                    <a:pt x="1504" y="15966"/>
                    <a:pt x="1393" y="15870"/>
                    <a:pt x="1322" y="15808"/>
                  </a:cubicBezTo>
                  <a:lnTo>
                    <a:pt x="1397" y="15718"/>
                  </a:lnTo>
                  <a:close/>
                  <a:moveTo>
                    <a:pt x="1922" y="16142"/>
                  </a:moveTo>
                  <a:cubicBezTo>
                    <a:pt x="1929" y="16146"/>
                    <a:pt x="1940" y="16151"/>
                    <a:pt x="1952" y="16156"/>
                  </a:cubicBezTo>
                  <a:cubicBezTo>
                    <a:pt x="1978" y="16168"/>
                    <a:pt x="2011" y="16183"/>
                    <a:pt x="2045" y="16198"/>
                  </a:cubicBezTo>
                  <a:cubicBezTo>
                    <a:pt x="2068" y="16208"/>
                    <a:pt x="2092" y="16219"/>
                    <a:pt x="2113" y="16228"/>
                  </a:cubicBezTo>
                  <a:cubicBezTo>
                    <a:pt x="1965" y="16402"/>
                    <a:pt x="1965" y="16402"/>
                    <a:pt x="1965" y="16402"/>
                  </a:cubicBezTo>
                  <a:cubicBezTo>
                    <a:pt x="1941" y="16380"/>
                    <a:pt x="1874" y="16317"/>
                    <a:pt x="1800" y="16247"/>
                  </a:cubicBezTo>
                  <a:cubicBezTo>
                    <a:pt x="1799" y="16246"/>
                    <a:pt x="1799" y="16246"/>
                    <a:pt x="1798" y="16246"/>
                  </a:cubicBezTo>
                  <a:cubicBezTo>
                    <a:pt x="1914" y="16139"/>
                    <a:pt x="1914" y="16139"/>
                    <a:pt x="1914" y="16139"/>
                  </a:cubicBezTo>
                  <a:cubicBezTo>
                    <a:pt x="1916" y="16140"/>
                    <a:pt x="1919" y="16141"/>
                    <a:pt x="1922" y="16142"/>
                  </a:cubicBezTo>
                  <a:close/>
                  <a:moveTo>
                    <a:pt x="1916" y="16137"/>
                  </a:moveTo>
                  <a:cubicBezTo>
                    <a:pt x="1916" y="16137"/>
                    <a:pt x="1916" y="16137"/>
                    <a:pt x="1916" y="16137"/>
                  </a:cubicBezTo>
                  <a:cubicBezTo>
                    <a:pt x="1916" y="16137"/>
                    <a:pt x="1916" y="16137"/>
                    <a:pt x="1916" y="16137"/>
                  </a:cubicBezTo>
                  <a:cubicBezTo>
                    <a:pt x="1916" y="16137"/>
                    <a:pt x="1916" y="16137"/>
                    <a:pt x="1916" y="16137"/>
                  </a:cubicBezTo>
                  <a:close/>
                  <a:moveTo>
                    <a:pt x="2015" y="16042"/>
                  </a:moveTo>
                  <a:cubicBezTo>
                    <a:pt x="2187" y="16100"/>
                    <a:pt x="2187" y="16100"/>
                    <a:pt x="2187" y="16100"/>
                  </a:cubicBezTo>
                  <a:cubicBezTo>
                    <a:pt x="2575" y="16120"/>
                    <a:pt x="2575" y="16120"/>
                    <a:pt x="2575" y="16120"/>
                  </a:cubicBezTo>
                  <a:cubicBezTo>
                    <a:pt x="2574" y="16173"/>
                    <a:pt x="2574" y="16237"/>
                    <a:pt x="2573" y="16308"/>
                  </a:cubicBezTo>
                  <a:cubicBezTo>
                    <a:pt x="2184" y="16245"/>
                    <a:pt x="2184" y="16245"/>
                    <a:pt x="2184" y="16245"/>
                  </a:cubicBezTo>
                  <a:cubicBezTo>
                    <a:pt x="2177" y="16241"/>
                    <a:pt x="2117" y="16215"/>
                    <a:pt x="2055" y="16187"/>
                  </a:cubicBezTo>
                  <a:cubicBezTo>
                    <a:pt x="2001" y="16163"/>
                    <a:pt x="1945" y="16138"/>
                    <a:pt x="1925" y="16128"/>
                  </a:cubicBezTo>
                  <a:cubicBezTo>
                    <a:pt x="2015" y="16045"/>
                    <a:pt x="2015" y="16045"/>
                    <a:pt x="2015" y="16045"/>
                  </a:cubicBezTo>
                  <a:lnTo>
                    <a:pt x="2015" y="16042"/>
                  </a:lnTo>
                  <a:close/>
                  <a:moveTo>
                    <a:pt x="2572" y="16676"/>
                  </a:moveTo>
                  <a:cubicBezTo>
                    <a:pt x="2545" y="16675"/>
                    <a:pt x="2505" y="16674"/>
                    <a:pt x="2461" y="16671"/>
                  </a:cubicBezTo>
                  <a:cubicBezTo>
                    <a:pt x="2429" y="16669"/>
                    <a:pt x="2394" y="16666"/>
                    <a:pt x="2362" y="16662"/>
                  </a:cubicBezTo>
                  <a:cubicBezTo>
                    <a:pt x="2227" y="16457"/>
                    <a:pt x="2227" y="16457"/>
                    <a:pt x="2227" y="16457"/>
                  </a:cubicBezTo>
                  <a:cubicBezTo>
                    <a:pt x="2293" y="16277"/>
                    <a:pt x="2293" y="16277"/>
                    <a:pt x="2293" y="16277"/>
                  </a:cubicBezTo>
                  <a:cubicBezTo>
                    <a:pt x="2573" y="16322"/>
                    <a:pt x="2573" y="16322"/>
                    <a:pt x="2573" y="16322"/>
                  </a:cubicBezTo>
                  <a:cubicBezTo>
                    <a:pt x="2573" y="16415"/>
                    <a:pt x="2572" y="16519"/>
                    <a:pt x="2572" y="16629"/>
                  </a:cubicBezTo>
                  <a:cubicBezTo>
                    <a:pt x="2572" y="16644"/>
                    <a:pt x="2572" y="16660"/>
                    <a:pt x="2572" y="16676"/>
                  </a:cubicBezTo>
                  <a:close/>
                  <a:moveTo>
                    <a:pt x="2343" y="16660"/>
                  </a:moveTo>
                  <a:cubicBezTo>
                    <a:pt x="2306" y="16654"/>
                    <a:pt x="2275" y="16647"/>
                    <a:pt x="2257" y="16639"/>
                  </a:cubicBezTo>
                  <a:cubicBezTo>
                    <a:pt x="2219" y="16622"/>
                    <a:pt x="2158" y="16575"/>
                    <a:pt x="2103" y="16527"/>
                  </a:cubicBezTo>
                  <a:cubicBezTo>
                    <a:pt x="2049" y="16480"/>
                    <a:pt x="2001" y="16434"/>
                    <a:pt x="1975" y="16411"/>
                  </a:cubicBezTo>
                  <a:cubicBezTo>
                    <a:pt x="2126" y="16234"/>
                    <a:pt x="2126" y="16234"/>
                    <a:pt x="2126" y="16234"/>
                  </a:cubicBezTo>
                  <a:cubicBezTo>
                    <a:pt x="2157" y="16248"/>
                    <a:pt x="2179" y="16258"/>
                    <a:pt x="2179" y="16258"/>
                  </a:cubicBezTo>
                  <a:cubicBezTo>
                    <a:pt x="2180" y="16258"/>
                    <a:pt x="2180" y="16258"/>
                    <a:pt x="2180" y="16258"/>
                  </a:cubicBezTo>
                  <a:cubicBezTo>
                    <a:pt x="2279" y="16274"/>
                    <a:pt x="2279" y="16274"/>
                    <a:pt x="2279" y="16274"/>
                  </a:cubicBezTo>
                  <a:cubicBezTo>
                    <a:pt x="2211" y="16459"/>
                    <a:pt x="2211" y="16459"/>
                    <a:pt x="2211" y="16459"/>
                  </a:cubicBezTo>
                  <a:lnTo>
                    <a:pt x="2343" y="16660"/>
                  </a:lnTo>
                  <a:close/>
                  <a:moveTo>
                    <a:pt x="1929" y="16459"/>
                  </a:moveTo>
                  <a:cubicBezTo>
                    <a:pt x="1930" y="16459"/>
                    <a:pt x="1930" y="16459"/>
                    <a:pt x="1930" y="16459"/>
                  </a:cubicBezTo>
                  <a:cubicBezTo>
                    <a:pt x="1930" y="16460"/>
                    <a:pt x="1930" y="16460"/>
                    <a:pt x="1930" y="16460"/>
                  </a:cubicBezTo>
                  <a:cubicBezTo>
                    <a:pt x="1953" y="16478"/>
                    <a:pt x="2004" y="16527"/>
                    <a:pt x="2060" y="16576"/>
                  </a:cubicBezTo>
                  <a:cubicBezTo>
                    <a:pt x="2063" y="16579"/>
                    <a:pt x="2067" y="16582"/>
                    <a:pt x="2070" y="16585"/>
                  </a:cubicBezTo>
                  <a:cubicBezTo>
                    <a:pt x="2067" y="16596"/>
                    <a:pt x="2062" y="16612"/>
                    <a:pt x="2056" y="16630"/>
                  </a:cubicBezTo>
                  <a:cubicBezTo>
                    <a:pt x="2046" y="16662"/>
                    <a:pt x="2034" y="16702"/>
                    <a:pt x="2021" y="16744"/>
                  </a:cubicBezTo>
                  <a:cubicBezTo>
                    <a:pt x="1752" y="16519"/>
                    <a:pt x="1752" y="16519"/>
                    <a:pt x="1752" y="16519"/>
                  </a:cubicBezTo>
                  <a:cubicBezTo>
                    <a:pt x="1821" y="16432"/>
                    <a:pt x="1821" y="16432"/>
                    <a:pt x="1821" y="16432"/>
                  </a:cubicBezTo>
                  <a:cubicBezTo>
                    <a:pt x="1826" y="16426"/>
                    <a:pt x="1826" y="16426"/>
                    <a:pt x="1826" y="16426"/>
                  </a:cubicBezTo>
                  <a:cubicBezTo>
                    <a:pt x="1721" y="16344"/>
                    <a:pt x="1721" y="16344"/>
                    <a:pt x="1721" y="16344"/>
                  </a:cubicBezTo>
                  <a:cubicBezTo>
                    <a:pt x="1650" y="16433"/>
                    <a:pt x="1650" y="16433"/>
                    <a:pt x="1650" y="16433"/>
                  </a:cubicBezTo>
                  <a:cubicBezTo>
                    <a:pt x="1623" y="16411"/>
                    <a:pt x="1623" y="16411"/>
                    <a:pt x="1623" y="16411"/>
                  </a:cubicBezTo>
                  <a:cubicBezTo>
                    <a:pt x="1734" y="16275"/>
                    <a:pt x="1734" y="16275"/>
                    <a:pt x="1734" y="16275"/>
                  </a:cubicBezTo>
                  <a:cubicBezTo>
                    <a:pt x="1834" y="16369"/>
                    <a:pt x="1929" y="16458"/>
                    <a:pt x="1929" y="16459"/>
                  </a:cubicBezTo>
                  <a:close/>
                  <a:moveTo>
                    <a:pt x="1363" y="16730"/>
                  </a:moveTo>
                  <a:cubicBezTo>
                    <a:pt x="1365" y="16727"/>
                    <a:pt x="1365" y="16727"/>
                    <a:pt x="1365" y="16727"/>
                  </a:cubicBezTo>
                  <a:cubicBezTo>
                    <a:pt x="1476" y="16591"/>
                    <a:pt x="1476" y="16591"/>
                    <a:pt x="1476" y="16591"/>
                  </a:cubicBezTo>
                  <a:cubicBezTo>
                    <a:pt x="1477" y="16592"/>
                    <a:pt x="1477" y="16593"/>
                    <a:pt x="1478" y="16593"/>
                  </a:cubicBezTo>
                  <a:cubicBezTo>
                    <a:pt x="1485" y="16600"/>
                    <a:pt x="1494" y="16607"/>
                    <a:pt x="1504" y="16616"/>
                  </a:cubicBezTo>
                  <a:cubicBezTo>
                    <a:pt x="1437" y="16699"/>
                    <a:pt x="1437" y="16699"/>
                    <a:pt x="1437" y="16699"/>
                  </a:cubicBezTo>
                  <a:cubicBezTo>
                    <a:pt x="1542" y="16783"/>
                    <a:pt x="1542" y="16783"/>
                    <a:pt x="1542" y="16783"/>
                  </a:cubicBezTo>
                  <a:cubicBezTo>
                    <a:pt x="1605" y="16704"/>
                    <a:pt x="1605" y="16704"/>
                    <a:pt x="1605" y="16704"/>
                  </a:cubicBezTo>
                  <a:cubicBezTo>
                    <a:pt x="1635" y="16729"/>
                    <a:pt x="1667" y="16757"/>
                    <a:pt x="1700" y="16784"/>
                  </a:cubicBezTo>
                  <a:cubicBezTo>
                    <a:pt x="1805" y="16875"/>
                    <a:pt x="1911" y="16964"/>
                    <a:pt x="1936" y="16986"/>
                  </a:cubicBezTo>
                  <a:cubicBezTo>
                    <a:pt x="1828" y="17096"/>
                    <a:pt x="1828" y="17096"/>
                    <a:pt x="1828" y="17096"/>
                  </a:cubicBezTo>
                  <a:cubicBezTo>
                    <a:pt x="1795" y="17063"/>
                    <a:pt x="1754" y="17038"/>
                    <a:pt x="1712" y="17011"/>
                  </a:cubicBezTo>
                  <a:cubicBezTo>
                    <a:pt x="1646" y="16969"/>
                    <a:pt x="1473" y="16886"/>
                    <a:pt x="1383" y="16814"/>
                  </a:cubicBezTo>
                  <a:cubicBezTo>
                    <a:pt x="1351" y="16788"/>
                    <a:pt x="1347" y="16772"/>
                    <a:pt x="1347" y="16762"/>
                  </a:cubicBezTo>
                  <a:cubicBezTo>
                    <a:pt x="1346" y="16748"/>
                    <a:pt x="1360" y="16732"/>
                    <a:pt x="1363" y="16730"/>
                  </a:cubicBezTo>
                  <a:close/>
                  <a:moveTo>
                    <a:pt x="1734" y="16521"/>
                  </a:moveTo>
                  <a:cubicBezTo>
                    <a:pt x="1604" y="16684"/>
                    <a:pt x="1604" y="16684"/>
                    <a:pt x="1604" y="16684"/>
                  </a:cubicBezTo>
                  <a:cubicBezTo>
                    <a:pt x="1573" y="16658"/>
                    <a:pt x="1545" y="16633"/>
                    <a:pt x="1523" y="16614"/>
                  </a:cubicBezTo>
                  <a:cubicBezTo>
                    <a:pt x="1651" y="16452"/>
                    <a:pt x="1651" y="16452"/>
                    <a:pt x="1651" y="16452"/>
                  </a:cubicBezTo>
                  <a:lnTo>
                    <a:pt x="1734" y="16521"/>
                  </a:lnTo>
                  <a:close/>
                  <a:moveTo>
                    <a:pt x="1660" y="16441"/>
                  </a:moveTo>
                  <a:cubicBezTo>
                    <a:pt x="1723" y="16362"/>
                    <a:pt x="1723" y="16362"/>
                    <a:pt x="1723" y="16362"/>
                  </a:cubicBezTo>
                  <a:cubicBezTo>
                    <a:pt x="1807" y="16429"/>
                    <a:pt x="1807" y="16429"/>
                    <a:pt x="1807" y="16429"/>
                  </a:cubicBezTo>
                  <a:cubicBezTo>
                    <a:pt x="1742" y="16510"/>
                    <a:pt x="1742" y="16510"/>
                    <a:pt x="1742" y="16510"/>
                  </a:cubicBezTo>
                  <a:lnTo>
                    <a:pt x="1660" y="16441"/>
                  </a:lnTo>
                  <a:close/>
                  <a:moveTo>
                    <a:pt x="1595" y="16695"/>
                  </a:moveTo>
                  <a:cubicBezTo>
                    <a:pt x="1540" y="16765"/>
                    <a:pt x="1540" y="16765"/>
                    <a:pt x="1540" y="16765"/>
                  </a:cubicBezTo>
                  <a:cubicBezTo>
                    <a:pt x="1456" y="16697"/>
                    <a:pt x="1456" y="16697"/>
                    <a:pt x="1456" y="16697"/>
                  </a:cubicBezTo>
                  <a:cubicBezTo>
                    <a:pt x="1514" y="16625"/>
                    <a:pt x="1514" y="16625"/>
                    <a:pt x="1514" y="16625"/>
                  </a:cubicBezTo>
                  <a:cubicBezTo>
                    <a:pt x="1520" y="16630"/>
                    <a:pt x="1526" y="16635"/>
                    <a:pt x="1533" y="16642"/>
                  </a:cubicBezTo>
                  <a:cubicBezTo>
                    <a:pt x="1552" y="16658"/>
                    <a:pt x="1573" y="16676"/>
                    <a:pt x="1595" y="16695"/>
                  </a:cubicBezTo>
                  <a:close/>
                  <a:moveTo>
                    <a:pt x="1513" y="16605"/>
                  </a:moveTo>
                  <a:cubicBezTo>
                    <a:pt x="1502" y="16595"/>
                    <a:pt x="1492" y="16587"/>
                    <a:pt x="1485" y="16581"/>
                  </a:cubicBezTo>
                  <a:cubicBezTo>
                    <a:pt x="1614" y="16421"/>
                    <a:pt x="1614" y="16421"/>
                    <a:pt x="1614" y="16421"/>
                  </a:cubicBezTo>
                  <a:cubicBezTo>
                    <a:pt x="1641" y="16444"/>
                    <a:pt x="1641" y="16444"/>
                    <a:pt x="1641" y="16444"/>
                  </a:cubicBezTo>
                  <a:lnTo>
                    <a:pt x="1513" y="16605"/>
                  </a:lnTo>
                  <a:close/>
                  <a:moveTo>
                    <a:pt x="1714" y="16779"/>
                  </a:moveTo>
                  <a:cubicBezTo>
                    <a:pt x="1680" y="16750"/>
                    <a:pt x="1646" y="16720"/>
                    <a:pt x="1614" y="16693"/>
                  </a:cubicBezTo>
                  <a:cubicBezTo>
                    <a:pt x="1744" y="16530"/>
                    <a:pt x="1744" y="16530"/>
                    <a:pt x="1744" y="16530"/>
                  </a:cubicBezTo>
                  <a:cubicBezTo>
                    <a:pt x="2017" y="16758"/>
                    <a:pt x="2017" y="16758"/>
                    <a:pt x="2017" y="16758"/>
                  </a:cubicBezTo>
                  <a:cubicBezTo>
                    <a:pt x="2017" y="16758"/>
                    <a:pt x="2017" y="16758"/>
                    <a:pt x="2017" y="16758"/>
                  </a:cubicBezTo>
                  <a:cubicBezTo>
                    <a:pt x="2016" y="16761"/>
                    <a:pt x="2015" y="16765"/>
                    <a:pt x="2014" y="16768"/>
                  </a:cubicBezTo>
                  <a:cubicBezTo>
                    <a:pt x="1986" y="16859"/>
                    <a:pt x="1958" y="16953"/>
                    <a:pt x="1948" y="16978"/>
                  </a:cubicBezTo>
                  <a:cubicBezTo>
                    <a:pt x="1931" y="16963"/>
                    <a:pt x="1823" y="16872"/>
                    <a:pt x="1714" y="16779"/>
                  </a:cubicBezTo>
                  <a:close/>
                  <a:moveTo>
                    <a:pt x="1285" y="16737"/>
                  </a:moveTo>
                  <a:cubicBezTo>
                    <a:pt x="1283" y="16745"/>
                    <a:pt x="1281" y="16753"/>
                    <a:pt x="1281" y="16762"/>
                  </a:cubicBezTo>
                  <a:cubicBezTo>
                    <a:pt x="1281" y="16782"/>
                    <a:pt x="1289" y="16803"/>
                    <a:pt x="1303" y="16824"/>
                  </a:cubicBezTo>
                  <a:cubicBezTo>
                    <a:pt x="1302" y="16825"/>
                    <a:pt x="1301" y="16826"/>
                    <a:pt x="1299" y="16827"/>
                  </a:cubicBezTo>
                  <a:cubicBezTo>
                    <a:pt x="1292" y="16833"/>
                    <a:pt x="1281" y="16841"/>
                    <a:pt x="1268" y="16850"/>
                  </a:cubicBezTo>
                  <a:cubicBezTo>
                    <a:pt x="1242" y="16869"/>
                    <a:pt x="1207" y="16893"/>
                    <a:pt x="1173" y="16918"/>
                  </a:cubicBezTo>
                  <a:cubicBezTo>
                    <a:pt x="1113" y="16960"/>
                    <a:pt x="1054" y="17001"/>
                    <a:pt x="1038" y="17011"/>
                  </a:cubicBezTo>
                  <a:cubicBezTo>
                    <a:pt x="906" y="16906"/>
                    <a:pt x="906" y="16906"/>
                    <a:pt x="906" y="16906"/>
                  </a:cubicBezTo>
                  <a:cubicBezTo>
                    <a:pt x="911" y="16893"/>
                    <a:pt x="925" y="16854"/>
                    <a:pt x="939" y="16812"/>
                  </a:cubicBezTo>
                  <a:cubicBezTo>
                    <a:pt x="953" y="16768"/>
                    <a:pt x="968" y="16724"/>
                    <a:pt x="972" y="16706"/>
                  </a:cubicBezTo>
                  <a:lnTo>
                    <a:pt x="1285" y="16737"/>
                  </a:lnTo>
                  <a:close/>
                  <a:moveTo>
                    <a:pt x="1270" y="16866"/>
                  </a:moveTo>
                  <a:cubicBezTo>
                    <a:pt x="1207" y="16974"/>
                    <a:pt x="1207" y="16974"/>
                    <a:pt x="1207" y="16974"/>
                  </a:cubicBezTo>
                  <a:cubicBezTo>
                    <a:pt x="1326" y="17044"/>
                    <a:pt x="1326" y="17044"/>
                    <a:pt x="1326" y="17044"/>
                  </a:cubicBezTo>
                  <a:cubicBezTo>
                    <a:pt x="1396" y="16925"/>
                    <a:pt x="1396" y="16925"/>
                    <a:pt x="1396" y="16925"/>
                  </a:cubicBezTo>
                  <a:cubicBezTo>
                    <a:pt x="1282" y="16858"/>
                    <a:pt x="1282" y="16858"/>
                    <a:pt x="1282" y="16858"/>
                  </a:cubicBezTo>
                  <a:cubicBezTo>
                    <a:pt x="1281" y="16858"/>
                    <a:pt x="1281" y="16858"/>
                    <a:pt x="1281" y="16858"/>
                  </a:cubicBezTo>
                  <a:cubicBezTo>
                    <a:pt x="1294" y="16849"/>
                    <a:pt x="1304" y="16841"/>
                    <a:pt x="1311" y="16836"/>
                  </a:cubicBezTo>
                  <a:cubicBezTo>
                    <a:pt x="1320" y="16846"/>
                    <a:pt x="1329" y="16856"/>
                    <a:pt x="1342" y="16866"/>
                  </a:cubicBezTo>
                  <a:cubicBezTo>
                    <a:pt x="1365" y="16884"/>
                    <a:pt x="1393" y="16903"/>
                    <a:pt x="1422" y="16921"/>
                  </a:cubicBezTo>
                  <a:cubicBezTo>
                    <a:pt x="1204" y="17223"/>
                    <a:pt x="1204" y="17223"/>
                    <a:pt x="1204" y="17223"/>
                  </a:cubicBezTo>
                  <a:cubicBezTo>
                    <a:pt x="1216" y="17231"/>
                    <a:pt x="1216" y="17231"/>
                    <a:pt x="1216" y="17231"/>
                  </a:cubicBezTo>
                  <a:cubicBezTo>
                    <a:pt x="1434" y="16929"/>
                    <a:pt x="1434" y="16929"/>
                    <a:pt x="1434" y="16929"/>
                  </a:cubicBezTo>
                  <a:cubicBezTo>
                    <a:pt x="1505" y="16972"/>
                    <a:pt x="1583" y="17013"/>
                    <a:pt x="1636" y="17042"/>
                  </a:cubicBezTo>
                  <a:cubicBezTo>
                    <a:pt x="1514" y="17323"/>
                    <a:pt x="1514" y="17323"/>
                    <a:pt x="1514" y="17323"/>
                  </a:cubicBezTo>
                  <a:cubicBezTo>
                    <a:pt x="1212" y="17236"/>
                    <a:pt x="1212" y="17236"/>
                    <a:pt x="1212" y="17236"/>
                  </a:cubicBezTo>
                  <a:cubicBezTo>
                    <a:pt x="1048" y="17022"/>
                    <a:pt x="1048" y="17022"/>
                    <a:pt x="1048" y="17022"/>
                  </a:cubicBezTo>
                  <a:cubicBezTo>
                    <a:pt x="1075" y="17003"/>
                    <a:pt x="1199" y="16917"/>
                    <a:pt x="1270" y="16866"/>
                  </a:cubicBezTo>
                  <a:close/>
                  <a:moveTo>
                    <a:pt x="1281" y="16873"/>
                  </a:moveTo>
                  <a:cubicBezTo>
                    <a:pt x="1378" y="16929"/>
                    <a:pt x="1378" y="16929"/>
                    <a:pt x="1378" y="16929"/>
                  </a:cubicBezTo>
                  <a:cubicBezTo>
                    <a:pt x="1321" y="17026"/>
                    <a:pt x="1321" y="17026"/>
                    <a:pt x="1321" y="17026"/>
                  </a:cubicBezTo>
                  <a:cubicBezTo>
                    <a:pt x="1225" y="16969"/>
                    <a:pt x="1225" y="16969"/>
                    <a:pt x="1225" y="16969"/>
                  </a:cubicBezTo>
                  <a:lnTo>
                    <a:pt x="1281" y="16873"/>
                  </a:lnTo>
                  <a:close/>
                  <a:moveTo>
                    <a:pt x="1648" y="17049"/>
                  </a:moveTo>
                  <a:cubicBezTo>
                    <a:pt x="1659" y="17056"/>
                    <a:pt x="1669" y="17062"/>
                    <a:pt x="1677" y="17067"/>
                  </a:cubicBezTo>
                  <a:cubicBezTo>
                    <a:pt x="1741" y="17107"/>
                    <a:pt x="1790" y="17138"/>
                    <a:pt x="1811" y="17182"/>
                  </a:cubicBezTo>
                  <a:cubicBezTo>
                    <a:pt x="1822" y="17204"/>
                    <a:pt x="1831" y="17228"/>
                    <a:pt x="1837" y="17249"/>
                  </a:cubicBezTo>
                  <a:cubicBezTo>
                    <a:pt x="1844" y="17269"/>
                    <a:pt x="1848" y="17284"/>
                    <a:pt x="1855" y="17299"/>
                  </a:cubicBezTo>
                  <a:cubicBezTo>
                    <a:pt x="1810" y="17408"/>
                    <a:pt x="1810" y="17408"/>
                    <a:pt x="1810" y="17408"/>
                  </a:cubicBezTo>
                  <a:cubicBezTo>
                    <a:pt x="1527" y="17327"/>
                    <a:pt x="1527" y="17327"/>
                    <a:pt x="1527" y="17327"/>
                  </a:cubicBezTo>
                  <a:lnTo>
                    <a:pt x="1648" y="17049"/>
                  </a:lnTo>
                  <a:close/>
                  <a:moveTo>
                    <a:pt x="2231" y="16793"/>
                  </a:moveTo>
                  <a:cubicBezTo>
                    <a:pt x="2245" y="16793"/>
                    <a:pt x="2346" y="16801"/>
                    <a:pt x="2438" y="16808"/>
                  </a:cubicBezTo>
                  <a:cubicBezTo>
                    <a:pt x="2439" y="16908"/>
                    <a:pt x="2439" y="16908"/>
                    <a:pt x="2439" y="16908"/>
                  </a:cubicBezTo>
                  <a:cubicBezTo>
                    <a:pt x="2224" y="16886"/>
                    <a:pt x="2224" y="16886"/>
                    <a:pt x="2224" y="16886"/>
                  </a:cubicBezTo>
                  <a:cubicBezTo>
                    <a:pt x="2223" y="16900"/>
                    <a:pt x="2223" y="16900"/>
                    <a:pt x="2223" y="16900"/>
                  </a:cubicBezTo>
                  <a:cubicBezTo>
                    <a:pt x="2439" y="16922"/>
                    <a:pt x="2439" y="16922"/>
                    <a:pt x="2439" y="16922"/>
                  </a:cubicBezTo>
                  <a:cubicBezTo>
                    <a:pt x="2439" y="17030"/>
                    <a:pt x="2439" y="17030"/>
                    <a:pt x="2439" y="17030"/>
                  </a:cubicBezTo>
                  <a:cubicBezTo>
                    <a:pt x="2216" y="17016"/>
                    <a:pt x="2216" y="17016"/>
                    <a:pt x="2216" y="17016"/>
                  </a:cubicBezTo>
                  <a:cubicBezTo>
                    <a:pt x="2215" y="17030"/>
                    <a:pt x="2215" y="17030"/>
                    <a:pt x="2215" y="17030"/>
                  </a:cubicBezTo>
                  <a:cubicBezTo>
                    <a:pt x="2439" y="17044"/>
                    <a:pt x="2439" y="17044"/>
                    <a:pt x="2439" y="17044"/>
                  </a:cubicBezTo>
                  <a:cubicBezTo>
                    <a:pt x="2440" y="17202"/>
                    <a:pt x="2440" y="17202"/>
                    <a:pt x="2440" y="17202"/>
                  </a:cubicBezTo>
                  <a:cubicBezTo>
                    <a:pt x="2201" y="17163"/>
                    <a:pt x="2201" y="17163"/>
                    <a:pt x="2201" y="17163"/>
                  </a:cubicBezTo>
                  <a:lnTo>
                    <a:pt x="2231" y="16793"/>
                  </a:lnTo>
                  <a:close/>
                  <a:moveTo>
                    <a:pt x="2573" y="16819"/>
                  </a:moveTo>
                  <a:cubicBezTo>
                    <a:pt x="2573" y="16852"/>
                    <a:pt x="2573" y="16886"/>
                    <a:pt x="2573" y="16920"/>
                  </a:cubicBezTo>
                  <a:cubicBezTo>
                    <a:pt x="2573" y="16921"/>
                    <a:pt x="2574" y="16922"/>
                    <a:pt x="2574" y="16922"/>
                  </a:cubicBezTo>
                  <a:cubicBezTo>
                    <a:pt x="2570" y="16922"/>
                    <a:pt x="2570" y="16922"/>
                    <a:pt x="2570" y="16922"/>
                  </a:cubicBezTo>
                  <a:cubicBezTo>
                    <a:pt x="2569" y="16818"/>
                    <a:pt x="2569" y="16818"/>
                    <a:pt x="2569" y="16818"/>
                  </a:cubicBezTo>
                  <a:cubicBezTo>
                    <a:pt x="2570" y="16818"/>
                    <a:pt x="2572" y="16819"/>
                    <a:pt x="2573" y="16819"/>
                  </a:cubicBezTo>
                  <a:close/>
                  <a:moveTo>
                    <a:pt x="2574" y="16936"/>
                  </a:moveTo>
                  <a:cubicBezTo>
                    <a:pt x="2574" y="16971"/>
                    <a:pt x="2574" y="17005"/>
                    <a:pt x="2575" y="17039"/>
                  </a:cubicBezTo>
                  <a:cubicBezTo>
                    <a:pt x="2572" y="17039"/>
                    <a:pt x="2572" y="17039"/>
                    <a:pt x="2572" y="17039"/>
                  </a:cubicBezTo>
                  <a:cubicBezTo>
                    <a:pt x="2570" y="16936"/>
                    <a:pt x="2570" y="16936"/>
                    <a:pt x="2570" y="16936"/>
                  </a:cubicBezTo>
                  <a:lnTo>
                    <a:pt x="2574" y="16936"/>
                  </a:lnTo>
                  <a:close/>
                  <a:moveTo>
                    <a:pt x="2575" y="17053"/>
                  </a:moveTo>
                  <a:cubicBezTo>
                    <a:pt x="2576" y="17112"/>
                    <a:pt x="2577" y="17170"/>
                    <a:pt x="2578" y="17225"/>
                  </a:cubicBezTo>
                  <a:cubicBezTo>
                    <a:pt x="2574" y="17225"/>
                    <a:pt x="2574" y="17225"/>
                    <a:pt x="2574" y="17225"/>
                  </a:cubicBezTo>
                  <a:cubicBezTo>
                    <a:pt x="2572" y="17053"/>
                    <a:pt x="2572" y="17053"/>
                    <a:pt x="2572" y="17053"/>
                  </a:cubicBezTo>
                  <a:lnTo>
                    <a:pt x="2575" y="17053"/>
                  </a:lnTo>
                  <a:close/>
                  <a:moveTo>
                    <a:pt x="2575" y="16006"/>
                  </a:moveTo>
                  <a:cubicBezTo>
                    <a:pt x="2575" y="16031"/>
                    <a:pt x="2575" y="16065"/>
                    <a:pt x="2575" y="16107"/>
                  </a:cubicBezTo>
                  <a:cubicBezTo>
                    <a:pt x="2189" y="16087"/>
                    <a:pt x="2189" y="16087"/>
                    <a:pt x="2189" y="16087"/>
                  </a:cubicBezTo>
                  <a:cubicBezTo>
                    <a:pt x="2014" y="16027"/>
                    <a:pt x="2014" y="16027"/>
                    <a:pt x="2014" y="16027"/>
                  </a:cubicBezTo>
                  <a:cubicBezTo>
                    <a:pt x="2007" y="15925"/>
                    <a:pt x="2007" y="15925"/>
                    <a:pt x="2007" y="15925"/>
                  </a:cubicBezTo>
                  <a:cubicBezTo>
                    <a:pt x="2050" y="15920"/>
                    <a:pt x="2293" y="15891"/>
                    <a:pt x="2328" y="15886"/>
                  </a:cubicBezTo>
                  <a:cubicBezTo>
                    <a:pt x="2331" y="15885"/>
                    <a:pt x="2331" y="15885"/>
                    <a:pt x="2332" y="15885"/>
                  </a:cubicBezTo>
                  <a:cubicBezTo>
                    <a:pt x="2333" y="15886"/>
                    <a:pt x="2334" y="15888"/>
                    <a:pt x="2334" y="15889"/>
                  </a:cubicBezTo>
                  <a:cubicBezTo>
                    <a:pt x="2336" y="15893"/>
                    <a:pt x="2336" y="15894"/>
                    <a:pt x="2336" y="15894"/>
                  </a:cubicBezTo>
                  <a:cubicBezTo>
                    <a:pt x="2343" y="15913"/>
                    <a:pt x="2343" y="15913"/>
                    <a:pt x="2343" y="15913"/>
                  </a:cubicBezTo>
                  <a:cubicBezTo>
                    <a:pt x="2580" y="15946"/>
                    <a:pt x="2580" y="15946"/>
                    <a:pt x="2580" y="15946"/>
                  </a:cubicBezTo>
                  <a:cubicBezTo>
                    <a:pt x="2577" y="15965"/>
                    <a:pt x="2575" y="15985"/>
                    <a:pt x="2575" y="16006"/>
                  </a:cubicBezTo>
                  <a:close/>
                  <a:moveTo>
                    <a:pt x="2316" y="15873"/>
                  </a:moveTo>
                  <a:cubicBezTo>
                    <a:pt x="2307" y="15874"/>
                    <a:pt x="2294" y="15876"/>
                    <a:pt x="2279" y="15878"/>
                  </a:cubicBezTo>
                  <a:cubicBezTo>
                    <a:pt x="2248" y="15882"/>
                    <a:pt x="2206" y="15887"/>
                    <a:pt x="2165" y="15892"/>
                  </a:cubicBezTo>
                  <a:cubicBezTo>
                    <a:pt x="2082" y="15902"/>
                    <a:pt x="1999" y="15912"/>
                    <a:pt x="1999" y="15912"/>
                  </a:cubicBezTo>
                  <a:cubicBezTo>
                    <a:pt x="1992" y="15913"/>
                    <a:pt x="1992" y="15913"/>
                    <a:pt x="1992" y="15913"/>
                  </a:cubicBezTo>
                  <a:cubicBezTo>
                    <a:pt x="2001" y="16039"/>
                    <a:pt x="2001" y="16039"/>
                    <a:pt x="2001" y="16039"/>
                  </a:cubicBezTo>
                  <a:cubicBezTo>
                    <a:pt x="1788" y="16236"/>
                    <a:pt x="1788" y="16236"/>
                    <a:pt x="1788" y="16236"/>
                  </a:cubicBezTo>
                  <a:cubicBezTo>
                    <a:pt x="1700" y="16153"/>
                    <a:pt x="1606" y="16064"/>
                    <a:pt x="1569" y="16029"/>
                  </a:cubicBezTo>
                  <a:cubicBezTo>
                    <a:pt x="1792" y="15699"/>
                    <a:pt x="1792" y="15699"/>
                    <a:pt x="1792" y="15699"/>
                  </a:cubicBezTo>
                  <a:cubicBezTo>
                    <a:pt x="1889" y="15757"/>
                    <a:pt x="1889" y="15757"/>
                    <a:pt x="1889" y="15757"/>
                  </a:cubicBezTo>
                  <a:cubicBezTo>
                    <a:pt x="2006" y="15556"/>
                    <a:pt x="2006" y="15556"/>
                    <a:pt x="2006" y="15556"/>
                  </a:cubicBezTo>
                  <a:cubicBezTo>
                    <a:pt x="2008" y="15555"/>
                    <a:pt x="2011" y="15554"/>
                    <a:pt x="2014" y="15552"/>
                  </a:cubicBezTo>
                  <a:cubicBezTo>
                    <a:pt x="2059" y="15586"/>
                    <a:pt x="2095" y="15613"/>
                    <a:pt x="2118" y="15630"/>
                  </a:cubicBezTo>
                  <a:cubicBezTo>
                    <a:pt x="2245" y="15724"/>
                    <a:pt x="2305" y="15828"/>
                    <a:pt x="2326" y="15872"/>
                  </a:cubicBezTo>
                  <a:cubicBezTo>
                    <a:pt x="2324" y="15872"/>
                    <a:pt x="2321" y="15873"/>
                    <a:pt x="2316" y="15873"/>
                  </a:cubicBezTo>
                  <a:close/>
                  <a:moveTo>
                    <a:pt x="2144" y="15567"/>
                  </a:moveTo>
                  <a:cubicBezTo>
                    <a:pt x="2122" y="15551"/>
                    <a:pt x="2093" y="15529"/>
                    <a:pt x="2059" y="15503"/>
                  </a:cubicBezTo>
                  <a:cubicBezTo>
                    <a:pt x="2146" y="15344"/>
                    <a:pt x="2363" y="14933"/>
                    <a:pt x="2388" y="14884"/>
                  </a:cubicBezTo>
                  <a:cubicBezTo>
                    <a:pt x="2587" y="15088"/>
                    <a:pt x="2587" y="15088"/>
                    <a:pt x="2587" y="15088"/>
                  </a:cubicBezTo>
                  <a:cubicBezTo>
                    <a:pt x="2639" y="15344"/>
                    <a:pt x="2639" y="15344"/>
                    <a:pt x="2639" y="15344"/>
                  </a:cubicBezTo>
                  <a:cubicBezTo>
                    <a:pt x="2597" y="15384"/>
                    <a:pt x="2566" y="15415"/>
                    <a:pt x="2554" y="15426"/>
                  </a:cubicBezTo>
                  <a:cubicBezTo>
                    <a:pt x="2550" y="15428"/>
                    <a:pt x="2543" y="15432"/>
                    <a:pt x="2534" y="15437"/>
                  </a:cubicBezTo>
                  <a:cubicBezTo>
                    <a:pt x="2519" y="15445"/>
                    <a:pt x="2497" y="15456"/>
                    <a:pt x="2472" y="15468"/>
                  </a:cubicBezTo>
                  <a:cubicBezTo>
                    <a:pt x="2421" y="15491"/>
                    <a:pt x="2354" y="15518"/>
                    <a:pt x="2292" y="15531"/>
                  </a:cubicBezTo>
                  <a:cubicBezTo>
                    <a:pt x="2208" y="15549"/>
                    <a:pt x="2165" y="15561"/>
                    <a:pt x="2144" y="15567"/>
                  </a:cubicBezTo>
                  <a:close/>
                  <a:moveTo>
                    <a:pt x="2590" y="15481"/>
                  </a:moveTo>
                  <a:cubicBezTo>
                    <a:pt x="2593" y="15479"/>
                    <a:pt x="2593" y="15479"/>
                    <a:pt x="2593" y="15479"/>
                  </a:cubicBezTo>
                  <a:cubicBezTo>
                    <a:pt x="2596" y="15477"/>
                    <a:pt x="2596" y="15477"/>
                    <a:pt x="2596" y="15477"/>
                  </a:cubicBezTo>
                  <a:cubicBezTo>
                    <a:pt x="2615" y="15459"/>
                    <a:pt x="2721" y="15354"/>
                    <a:pt x="2840" y="15246"/>
                  </a:cubicBezTo>
                  <a:cubicBezTo>
                    <a:pt x="2845" y="15251"/>
                    <a:pt x="2850" y="15258"/>
                    <a:pt x="2855" y="15265"/>
                  </a:cubicBezTo>
                  <a:cubicBezTo>
                    <a:pt x="2876" y="15292"/>
                    <a:pt x="2905" y="15328"/>
                    <a:pt x="2933" y="15365"/>
                  </a:cubicBezTo>
                  <a:cubicBezTo>
                    <a:pt x="2979" y="15423"/>
                    <a:pt x="3025" y="15484"/>
                    <a:pt x="3043" y="15508"/>
                  </a:cubicBezTo>
                  <a:cubicBezTo>
                    <a:pt x="2892" y="15592"/>
                    <a:pt x="2892" y="15592"/>
                    <a:pt x="2892" y="15592"/>
                  </a:cubicBezTo>
                  <a:cubicBezTo>
                    <a:pt x="2876" y="15598"/>
                    <a:pt x="2807" y="15625"/>
                    <a:pt x="2736" y="15683"/>
                  </a:cubicBezTo>
                  <a:cubicBezTo>
                    <a:pt x="2714" y="15701"/>
                    <a:pt x="2691" y="15723"/>
                    <a:pt x="2670" y="15748"/>
                  </a:cubicBezTo>
                  <a:cubicBezTo>
                    <a:pt x="2670" y="15748"/>
                    <a:pt x="2670" y="15748"/>
                    <a:pt x="2670" y="15747"/>
                  </a:cubicBezTo>
                  <a:cubicBezTo>
                    <a:pt x="2667" y="15743"/>
                    <a:pt x="2663" y="15737"/>
                    <a:pt x="2659" y="15729"/>
                  </a:cubicBezTo>
                  <a:cubicBezTo>
                    <a:pt x="2649" y="15715"/>
                    <a:pt x="2636" y="15695"/>
                    <a:pt x="2622" y="15673"/>
                  </a:cubicBezTo>
                  <a:cubicBezTo>
                    <a:pt x="2593" y="15629"/>
                    <a:pt x="2558" y="15577"/>
                    <a:pt x="2534" y="15540"/>
                  </a:cubicBezTo>
                  <a:cubicBezTo>
                    <a:pt x="2529" y="15531"/>
                    <a:pt x="2524" y="15524"/>
                    <a:pt x="2520" y="15518"/>
                  </a:cubicBezTo>
                  <a:cubicBezTo>
                    <a:pt x="2562" y="15497"/>
                    <a:pt x="2589" y="15481"/>
                    <a:pt x="2590" y="15481"/>
                  </a:cubicBezTo>
                  <a:close/>
                  <a:moveTo>
                    <a:pt x="2752" y="15757"/>
                  </a:moveTo>
                  <a:cubicBezTo>
                    <a:pt x="2811" y="15700"/>
                    <a:pt x="2879" y="15668"/>
                    <a:pt x="2906" y="15657"/>
                  </a:cubicBezTo>
                  <a:cubicBezTo>
                    <a:pt x="2913" y="15654"/>
                    <a:pt x="2917" y="15653"/>
                    <a:pt x="2917" y="15653"/>
                  </a:cubicBezTo>
                  <a:cubicBezTo>
                    <a:pt x="2919" y="15652"/>
                    <a:pt x="2919" y="15652"/>
                    <a:pt x="2919" y="15652"/>
                  </a:cubicBezTo>
                  <a:cubicBezTo>
                    <a:pt x="2920" y="15653"/>
                    <a:pt x="2921" y="15654"/>
                    <a:pt x="2922" y="15655"/>
                  </a:cubicBezTo>
                  <a:cubicBezTo>
                    <a:pt x="2929" y="15662"/>
                    <a:pt x="2939" y="15672"/>
                    <a:pt x="2951" y="15684"/>
                  </a:cubicBezTo>
                  <a:cubicBezTo>
                    <a:pt x="2975" y="15708"/>
                    <a:pt x="3008" y="15740"/>
                    <a:pt x="3040" y="15772"/>
                  </a:cubicBezTo>
                  <a:cubicBezTo>
                    <a:pt x="3089" y="15821"/>
                    <a:pt x="3138" y="15869"/>
                    <a:pt x="3159" y="15890"/>
                  </a:cubicBezTo>
                  <a:cubicBezTo>
                    <a:pt x="3159" y="15890"/>
                    <a:pt x="3159" y="15890"/>
                    <a:pt x="3159" y="15890"/>
                  </a:cubicBezTo>
                  <a:cubicBezTo>
                    <a:pt x="3159" y="15890"/>
                    <a:pt x="3159" y="15890"/>
                    <a:pt x="3159" y="15890"/>
                  </a:cubicBezTo>
                  <a:cubicBezTo>
                    <a:pt x="3159" y="15890"/>
                    <a:pt x="3159" y="15890"/>
                    <a:pt x="3159" y="15890"/>
                  </a:cubicBezTo>
                  <a:cubicBezTo>
                    <a:pt x="3159" y="15896"/>
                    <a:pt x="3156" y="15927"/>
                    <a:pt x="3152" y="15966"/>
                  </a:cubicBezTo>
                  <a:cubicBezTo>
                    <a:pt x="2654" y="15914"/>
                    <a:pt x="2654" y="15914"/>
                    <a:pt x="2654" y="15914"/>
                  </a:cubicBezTo>
                  <a:cubicBezTo>
                    <a:pt x="2672" y="15848"/>
                    <a:pt x="2710" y="15797"/>
                    <a:pt x="2752" y="15757"/>
                  </a:cubicBezTo>
                  <a:close/>
                  <a:moveTo>
                    <a:pt x="3172" y="15901"/>
                  </a:moveTo>
                  <a:cubicBezTo>
                    <a:pt x="3446" y="16017"/>
                    <a:pt x="3446" y="16017"/>
                    <a:pt x="3446" y="16017"/>
                  </a:cubicBezTo>
                  <a:cubicBezTo>
                    <a:pt x="3570" y="16261"/>
                    <a:pt x="3570" y="16261"/>
                    <a:pt x="3570" y="16261"/>
                  </a:cubicBezTo>
                  <a:cubicBezTo>
                    <a:pt x="3374" y="16587"/>
                    <a:pt x="3374" y="16587"/>
                    <a:pt x="3374" y="16587"/>
                  </a:cubicBezTo>
                  <a:cubicBezTo>
                    <a:pt x="3371" y="16586"/>
                    <a:pt x="3369" y="16585"/>
                    <a:pt x="3364" y="16585"/>
                  </a:cubicBezTo>
                  <a:cubicBezTo>
                    <a:pt x="3359" y="16585"/>
                    <a:pt x="3355" y="16587"/>
                    <a:pt x="3352" y="16589"/>
                  </a:cubicBezTo>
                  <a:cubicBezTo>
                    <a:pt x="3351" y="16589"/>
                    <a:pt x="3351" y="16589"/>
                    <a:pt x="3351" y="16589"/>
                  </a:cubicBezTo>
                  <a:cubicBezTo>
                    <a:pt x="3346" y="16590"/>
                    <a:pt x="3338" y="16592"/>
                    <a:pt x="3328" y="16593"/>
                  </a:cubicBezTo>
                  <a:cubicBezTo>
                    <a:pt x="3308" y="16597"/>
                    <a:pt x="3278" y="16601"/>
                    <a:pt x="3243" y="16606"/>
                  </a:cubicBezTo>
                  <a:cubicBezTo>
                    <a:pt x="3199" y="16611"/>
                    <a:pt x="3146" y="16618"/>
                    <a:pt x="3089" y="16625"/>
                  </a:cubicBezTo>
                  <a:cubicBezTo>
                    <a:pt x="3198" y="16266"/>
                    <a:pt x="3198" y="16266"/>
                    <a:pt x="3198" y="16266"/>
                  </a:cubicBezTo>
                  <a:cubicBezTo>
                    <a:pt x="3138" y="16210"/>
                    <a:pt x="3138" y="16210"/>
                    <a:pt x="3138" y="16210"/>
                  </a:cubicBezTo>
                  <a:cubicBezTo>
                    <a:pt x="3142" y="16179"/>
                    <a:pt x="3168" y="15957"/>
                    <a:pt x="3172" y="15901"/>
                  </a:cubicBezTo>
                  <a:close/>
                  <a:moveTo>
                    <a:pt x="4486" y="16099"/>
                  </a:moveTo>
                  <a:cubicBezTo>
                    <a:pt x="4479" y="16059"/>
                    <a:pt x="4466" y="15990"/>
                    <a:pt x="4451" y="15914"/>
                  </a:cubicBezTo>
                  <a:cubicBezTo>
                    <a:pt x="4450" y="15909"/>
                    <a:pt x="4449" y="15903"/>
                    <a:pt x="4448" y="15898"/>
                  </a:cubicBezTo>
                  <a:cubicBezTo>
                    <a:pt x="4472" y="15892"/>
                    <a:pt x="4524" y="15879"/>
                    <a:pt x="4577" y="15866"/>
                  </a:cubicBezTo>
                  <a:cubicBezTo>
                    <a:pt x="4647" y="15848"/>
                    <a:pt x="4720" y="15830"/>
                    <a:pt x="4723" y="15830"/>
                  </a:cubicBezTo>
                  <a:cubicBezTo>
                    <a:pt x="4815" y="15849"/>
                    <a:pt x="4815" y="15849"/>
                    <a:pt x="4815" y="15849"/>
                  </a:cubicBezTo>
                  <a:cubicBezTo>
                    <a:pt x="4806" y="16097"/>
                    <a:pt x="4806" y="16097"/>
                    <a:pt x="4806" y="16097"/>
                  </a:cubicBezTo>
                  <a:lnTo>
                    <a:pt x="4486" y="16099"/>
                  </a:lnTo>
                  <a:close/>
                  <a:moveTo>
                    <a:pt x="5131" y="15873"/>
                  </a:moveTo>
                  <a:cubicBezTo>
                    <a:pt x="5136" y="15885"/>
                    <a:pt x="5136" y="15885"/>
                    <a:pt x="5136" y="15885"/>
                  </a:cubicBezTo>
                  <a:cubicBezTo>
                    <a:pt x="5136" y="15885"/>
                    <a:pt x="5136" y="15885"/>
                    <a:pt x="5136" y="15885"/>
                  </a:cubicBezTo>
                  <a:cubicBezTo>
                    <a:pt x="5137" y="15885"/>
                    <a:pt x="5139" y="15885"/>
                    <a:pt x="5140" y="15884"/>
                  </a:cubicBezTo>
                  <a:cubicBezTo>
                    <a:pt x="5144" y="15884"/>
                    <a:pt x="5149" y="15884"/>
                    <a:pt x="5155" y="15884"/>
                  </a:cubicBezTo>
                  <a:cubicBezTo>
                    <a:pt x="5167" y="15883"/>
                    <a:pt x="5184" y="15883"/>
                    <a:pt x="5205" y="15883"/>
                  </a:cubicBezTo>
                  <a:cubicBezTo>
                    <a:pt x="5245" y="15882"/>
                    <a:pt x="5298" y="15881"/>
                    <a:pt x="5351" y="15881"/>
                  </a:cubicBezTo>
                  <a:cubicBezTo>
                    <a:pt x="5440" y="15880"/>
                    <a:pt x="5529" y="15879"/>
                    <a:pt x="5553" y="15879"/>
                  </a:cubicBezTo>
                  <a:cubicBezTo>
                    <a:pt x="5568" y="16090"/>
                    <a:pt x="5568" y="16090"/>
                    <a:pt x="5568" y="16090"/>
                  </a:cubicBezTo>
                  <a:cubicBezTo>
                    <a:pt x="5120" y="16094"/>
                    <a:pt x="5120" y="16094"/>
                    <a:pt x="5120" y="16094"/>
                  </a:cubicBezTo>
                  <a:lnTo>
                    <a:pt x="5131" y="15873"/>
                  </a:lnTo>
                  <a:close/>
                  <a:moveTo>
                    <a:pt x="5566" y="15865"/>
                  </a:moveTo>
                  <a:cubicBezTo>
                    <a:pt x="5560" y="15865"/>
                    <a:pt x="5560" y="15865"/>
                    <a:pt x="5560" y="15865"/>
                  </a:cubicBezTo>
                  <a:cubicBezTo>
                    <a:pt x="5560" y="15865"/>
                    <a:pt x="5241" y="15867"/>
                    <a:pt x="5155" y="15870"/>
                  </a:cubicBezTo>
                  <a:cubicBezTo>
                    <a:pt x="5142" y="15870"/>
                    <a:pt x="5136" y="15870"/>
                    <a:pt x="5131" y="15872"/>
                  </a:cubicBezTo>
                  <a:cubicBezTo>
                    <a:pt x="5142" y="15668"/>
                    <a:pt x="5142" y="15668"/>
                    <a:pt x="5142" y="15668"/>
                  </a:cubicBezTo>
                  <a:cubicBezTo>
                    <a:pt x="5170" y="15660"/>
                    <a:pt x="5316" y="15616"/>
                    <a:pt x="5464" y="15572"/>
                  </a:cubicBezTo>
                  <a:cubicBezTo>
                    <a:pt x="5613" y="15527"/>
                    <a:pt x="5765" y="15482"/>
                    <a:pt x="5793" y="15474"/>
                  </a:cubicBezTo>
                  <a:cubicBezTo>
                    <a:pt x="5793" y="15475"/>
                    <a:pt x="5793" y="15476"/>
                    <a:pt x="5794" y="15478"/>
                  </a:cubicBezTo>
                  <a:cubicBezTo>
                    <a:pt x="5795" y="15483"/>
                    <a:pt x="5797" y="15492"/>
                    <a:pt x="5799" y="15502"/>
                  </a:cubicBezTo>
                  <a:cubicBezTo>
                    <a:pt x="5803" y="15523"/>
                    <a:pt x="5807" y="15551"/>
                    <a:pt x="5811" y="15579"/>
                  </a:cubicBezTo>
                  <a:cubicBezTo>
                    <a:pt x="5819" y="15635"/>
                    <a:pt x="5826" y="15690"/>
                    <a:pt x="5826" y="15691"/>
                  </a:cubicBezTo>
                  <a:cubicBezTo>
                    <a:pt x="5826" y="15695"/>
                    <a:pt x="5826" y="15695"/>
                    <a:pt x="5826" y="15695"/>
                  </a:cubicBezTo>
                  <a:cubicBezTo>
                    <a:pt x="6128" y="15767"/>
                    <a:pt x="6128" y="15767"/>
                    <a:pt x="6128" y="15767"/>
                  </a:cubicBezTo>
                  <a:cubicBezTo>
                    <a:pt x="6140" y="15921"/>
                    <a:pt x="6140" y="15921"/>
                    <a:pt x="6140" y="15921"/>
                  </a:cubicBezTo>
                  <a:cubicBezTo>
                    <a:pt x="5915" y="16087"/>
                    <a:pt x="5915" y="16087"/>
                    <a:pt x="5915" y="16087"/>
                  </a:cubicBezTo>
                  <a:cubicBezTo>
                    <a:pt x="5582" y="16090"/>
                    <a:pt x="5582" y="16090"/>
                    <a:pt x="5582" y="16090"/>
                  </a:cubicBezTo>
                  <a:lnTo>
                    <a:pt x="5566" y="15865"/>
                  </a:lnTo>
                  <a:close/>
                  <a:moveTo>
                    <a:pt x="6185" y="15969"/>
                  </a:moveTo>
                  <a:cubicBezTo>
                    <a:pt x="6256" y="15972"/>
                    <a:pt x="6256" y="15972"/>
                    <a:pt x="6256" y="15972"/>
                  </a:cubicBezTo>
                  <a:cubicBezTo>
                    <a:pt x="6256" y="16048"/>
                    <a:pt x="6255" y="16304"/>
                    <a:pt x="6248" y="16486"/>
                  </a:cubicBezTo>
                  <a:cubicBezTo>
                    <a:pt x="6246" y="16547"/>
                    <a:pt x="6229" y="16591"/>
                    <a:pt x="6206" y="16613"/>
                  </a:cubicBezTo>
                  <a:cubicBezTo>
                    <a:pt x="6166" y="16652"/>
                    <a:pt x="6099" y="16663"/>
                    <a:pt x="6058" y="16663"/>
                  </a:cubicBezTo>
                  <a:cubicBezTo>
                    <a:pt x="6055" y="16663"/>
                    <a:pt x="6052" y="16663"/>
                    <a:pt x="6049" y="16662"/>
                  </a:cubicBezTo>
                  <a:cubicBezTo>
                    <a:pt x="6035" y="16492"/>
                    <a:pt x="5978" y="16212"/>
                    <a:pt x="5962" y="16134"/>
                  </a:cubicBezTo>
                  <a:lnTo>
                    <a:pt x="6185" y="15969"/>
                  </a:lnTo>
                  <a:close/>
                  <a:moveTo>
                    <a:pt x="6526" y="17014"/>
                  </a:moveTo>
                  <a:cubicBezTo>
                    <a:pt x="6531" y="16985"/>
                    <a:pt x="6536" y="16963"/>
                    <a:pt x="6537" y="16957"/>
                  </a:cubicBezTo>
                  <a:cubicBezTo>
                    <a:pt x="6559" y="16943"/>
                    <a:pt x="6716" y="16839"/>
                    <a:pt x="6741" y="16823"/>
                  </a:cubicBezTo>
                  <a:cubicBezTo>
                    <a:pt x="6740" y="16832"/>
                    <a:pt x="6740" y="16832"/>
                    <a:pt x="6740" y="16832"/>
                  </a:cubicBezTo>
                  <a:cubicBezTo>
                    <a:pt x="7135" y="16877"/>
                    <a:pt x="7135" y="16877"/>
                    <a:pt x="7135" y="16877"/>
                  </a:cubicBezTo>
                  <a:cubicBezTo>
                    <a:pt x="7058" y="17052"/>
                    <a:pt x="6983" y="17223"/>
                    <a:pt x="6922" y="17361"/>
                  </a:cubicBezTo>
                  <a:cubicBezTo>
                    <a:pt x="6825" y="17182"/>
                    <a:pt x="6825" y="17182"/>
                    <a:pt x="6825" y="17182"/>
                  </a:cubicBezTo>
                  <a:cubicBezTo>
                    <a:pt x="6508" y="17112"/>
                    <a:pt x="6508" y="17112"/>
                    <a:pt x="6508" y="17112"/>
                  </a:cubicBezTo>
                  <a:cubicBezTo>
                    <a:pt x="6514" y="17077"/>
                    <a:pt x="6521" y="17042"/>
                    <a:pt x="6526" y="17014"/>
                  </a:cubicBezTo>
                  <a:close/>
                  <a:moveTo>
                    <a:pt x="6747" y="16819"/>
                  </a:moveTo>
                  <a:cubicBezTo>
                    <a:pt x="6748" y="16818"/>
                    <a:pt x="6748" y="16818"/>
                    <a:pt x="6748" y="16818"/>
                  </a:cubicBezTo>
                  <a:cubicBezTo>
                    <a:pt x="6715" y="16579"/>
                    <a:pt x="6715" y="16579"/>
                    <a:pt x="6715" y="16579"/>
                  </a:cubicBezTo>
                  <a:cubicBezTo>
                    <a:pt x="6829" y="16520"/>
                    <a:pt x="6829" y="16520"/>
                    <a:pt x="6829" y="16520"/>
                  </a:cubicBezTo>
                  <a:cubicBezTo>
                    <a:pt x="6829" y="16517"/>
                    <a:pt x="6829" y="16517"/>
                    <a:pt x="6829" y="16517"/>
                  </a:cubicBezTo>
                  <a:cubicBezTo>
                    <a:pt x="6829" y="16517"/>
                    <a:pt x="6834" y="16488"/>
                    <a:pt x="6841" y="16445"/>
                  </a:cubicBezTo>
                  <a:cubicBezTo>
                    <a:pt x="6871" y="16444"/>
                    <a:pt x="6994" y="16441"/>
                    <a:pt x="7033" y="16438"/>
                  </a:cubicBezTo>
                  <a:cubicBezTo>
                    <a:pt x="7040" y="16437"/>
                    <a:pt x="7043" y="16438"/>
                    <a:pt x="7047" y="16436"/>
                  </a:cubicBezTo>
                  <a:cubicBezTo>
                    <a:pt x="7055" y="16432"/>
                    <a:pt x="7157" y="16381"/>
                    <a:pt x="7172" y="16373"/>
                  </a:cubicBezTo>
                  <a:cubicBezTo>
                    <a:pt x="7344" y="16401"/>
                    <a:pt x="7344" y="16401"/>
                    <a:pt x="7344" y="16401"/>
                  </a:cubicBezTo>
                  <a:cubicBezTo>
                    <a:pt x="7296" y="16512"/>
                    <a:pt x="7243" y="16632"/>
                    <a:pt x="7190" y="16753"/>
                  </a:cubicBezTo>
                  <a:cubicBezTo>
                    <a:pt x="7174" y="16790"/>
                    <a:pt x="7157" y="16827"/>
                    <a:pt x="7141" y="16863"/>
                  </a:cubicBezTo>
                  <a:lnTo>
                    <a:pt x="6747" y="16819"/>
                  </a:lnTo>
                  <a:close/>
                  <a:moveTo>
                    <a:pt x="7170" y="16359"/>
                  </a:moveTo>
                  <a:cubicBezTo>
                    <a:pt x="7168" y="16360"/>
                    <a:pt x="7168" y="16360"/>
                    <a:pt x="7168" y="16360"/>
                  </a:cubicBezTo>
                  <a:cubicBezTo>
                    <a:pt x="7168" y="16360"/>
                    <a:pt x="7052" y="16418"/>
                    <a:pt x="7041" y="16423"/>
                  </a:cubicBezTo>
                  <a:cubicBezTo>
                    <a:pt x="7041" y="16423"/>
                    <a:pt x="7041" y="16423"/>
                    <a:pt x="7041" y="16423"/>
                  </a:cubicBezTo>
                  <a:cubicBezTo>
                    <a:pt x="7041" y="16423"/>
                    <a:pt x="7041" y="16423"/>
                    <a:pt x="7041" y="16423"/>
                  </a:cubicBezTo>
                  <a:cubicBezTo>
                    <a:pt x="7041" y="16423"/>
                    <a:pt x="7040" y="16423"/>
                    <a:pt x="7039" y="16423"/>
                  </a:cubicBezTo>
                  <a:cubicBezTo>
                    <a:pt x="7038" y="16424"/>
                    <a:pt x="7035" y="16424"/>
                    <a:pt x="7032" y="16424"/>
                  </a:cubicBezTo>
                  <a:cubicBezTo>
                    <a:pt x="7026" y="16425"/>
                    <a:pt x="7017" y="16425"/>
                    <a:pt x="7007" y="16426"/>
                  </a:cubicBezTo>
                  <a:cubicBezTo>
                    <a:pt x="6987" y="16427"/>
                    <a:pt x="6962" y="16428"/>
                    <a:pt x="6936" y="16428"/>
                  </a:cubicBezTo>
                  <a:cubicBezTo>
                    <a:pt x="6898" y="16429"/>
                    <a:pt x="6861" y="16430"/>
                    <a:pt x="6844" y="16431"/>
                  </a:cubicBezTo>
                  <a:cubicBezTo>
                    <a:pt x="6866" y="16299"/>
                    <a:pt x="6906" y="16058"/>
                    <a:pt x="6918" y="15991"/>
                  </a:cubicBezTo>
                  <a:cubicBezTo>
                    <a:pt x="7516" y="16009"/>
                    <a:pt x="7516" y="16009"/>
                    <a:pt x="7516" y="16009"/>
                  </a:cubicBezTo>
                  <a:cubicBezTo>
                    <a:pt x="7498" y="16050"/>
                    <a:pt x="7476" y="16101"/>
                    <a:pt x="7451" y="16158"/>
                  </a:cubicBezTo>
                  <a:cubicBezTo>
                    <a:pt x="7421" y="16226"/>
                    <a:pt x="7387" y="16304"/>
                    <a:pt x="7350" y="16388"/>
                  </a:cubicBezTo>
                  <a:lnTo>
                    <a:pt x="7170" y="16359"/>
                  </a:lnTo>
                  <a:close/>
                  <a:moveTo>
                    <a:pt x="7421" y="15621"/>
                  </a:moveTo>
                  <a:cubicBezTo>
                    <a:pt x="7525" y="15620"/>
                    <a:pt x="7525" y="15620"/>
                    <a:pt x="7525" y="15620"/>
                  </a:cubicBezTo>
                  <a:cubicBezTo>
                    <a:pt x="7524" y="15764"/>
                    <a:pt x="7524" y="15764"/>
                    <a:pt x="7524" y="15764"/>
                  </a:cubicBezTo>
                  <a:cubicBezTo>
                    <a:pt x="7455" y="15765"/>
                    <a:pt x="7455" y="15765"/>
                    <a:pt x="7455" y="15765"/>
                  </a:cubicBezTo>
                  <a:cubicBezTo>
                    <a:pt x="7447" y="15754"/>
                    <a:pt x="7440" y="15742"/>
                    <a:pt x="7432" y="15730"/>
                  </a:cubicBezTo>
                  <a:cubicBezTo>
                    <a:pt x="7427" y="15722"/>
                    <a:pt x="7421" y="15714"/>
                    <a:pt x="7416" y="15705"/>
                  </a:cubicBezTo>
                  <a:cubicBezTo>
                    <a:pt x="7424" y="15705"/>
                    <a:pt x="7424" y="15705"/>
                    <a:pt x="7424" y="15705"/>
                  </a:cubicBezTo>
                  <a:lnTo>
                    <a:pt x="7421" y="15621"/>
                  </a:lnTo>
                  <a:close/>
                  <a:moveTo>
                    <a:pt x="7439" y="15766"/>
                  </a:moveTo>
                  <a:cubicBezTo>
                    <a:pt x="7438" y="15863"/>
                    <a:pt x="7438" y="15863"/>
                    <a:pt x="7438" y="15863"/>
                  </a:cubicBezTo>
                  <a:cubicBezTo>
                    <a:pt x="7342" y="15862"/>
                    <a:pt x="7342" y="15862"/>
                    <a:pt x="7342" y="15862"/>
                  </a:cubicBezTo>
                  <a:cubicBezTo>
                    <a:pt x="7340" y="15707"/>
                    <a:pt x="7340" y="15707"/>
                    <a:pt x="7340" y="15707"/>
                  </a:cubicBezTo>
                  <a:cubicBezTo>
                    <a:pt x="7399" y="15706"/>
                    <a:pt x="7399" y="15706"/>
                    <a:pt x="7399" y="15706"/>
                  </a:cubicBezTo>
                  <a:cubicBezTo>
                    <a:pt x="7412" y="15726"/>
                    <a:pt x="7426" y="15746"/>
                    <a:pt x="7439" y="15766"/>
                  </a:cubicBezTo>
                  <a:close/>
                  <a:moveTo>
                    <a:pt x="7551" y="15908"/>
                  </a:moveTo>
                  <a:cubicBezTo>
                    <a:pt x="7543" y="15897"/>
                    <a:pt x="7533" y="15882"/>
                    <a:pt x="7520" y="15864"/>
                  </a:cubicBezTo>
                  <a:cubicBezTo>
                    <a:pt x="7504" y="15840"/>
                    <a:pt x="7484" y="15810"/>
                    <a:pt x="7463" y="15778"/>
                  </a:cubicBezTo>
                  <a:cubicBezTo>
                    <a:pt x="7537" y="15777"/>
                    <a:pt x="7537" y="15777"/>
                    <a:pt x="7537" y="15777"/>
                  </a:cubicBezTo>
                  <a:cubicBezTo>
                    <a:pt x="7538" y="15607"/>
                    <a:pt x="7538" y="15607"/>
                    <a:pt x="7538" y="15607"/>
                  </a:cubicBezTo>
                  <a:cubicBezTo>
                    <a:pt x="7407" y="15608"/>
                    <a:pt x="7407" y="15608"/>
                    <a:pt x="7407" y="15608"/>
                  </a:cubicBezTo>
                  <a:cubicBezTo>
                    <a:pt x="7410" y="15692"/>
                    <a:pt x="7410" y="15692"/>
                    <a:pt x="7410" y="15692"/>
                  </a:cubicBezTo>
                  <a:cubicBezTo>
                    <a:pt x="7407" y="15692"/>
                    <a:pt x="7407" y="15692"/>
                    <a:pt x="7407" y="15692"/>
                  </a:cubicBezTo>
                  <a:cubicBezTo>
                    <a:pt x="7361" y="15622"/>
                    <a:pt x="7320" y="15559"/>
                    <a:pt x="7309" y="15541"/>
                  </a:cubicBezTo>
                  <a:cubicBezTo>
                    <a:pt x="7311" y="15539"/>
                    <a:pt x="7313" y="15536"/>
                    <a:pt x="7315" y="15533"/>
                  </a:cubicBezTo>
                  <a:cubicBezTo>
                    <a:pt x="7320" y="15526"/>
                    <a:pt x="7326" y="15518"/>
                    <a:pt x="7331" y="15509"/>
                  </a:cubicBezTo>
                  <a:cubicBezTo>
                    <a:pt x="7338" y="15498"/>
                    <a:pt x="7345" y="15486"/>
                    <a:pt x="7349" y="15480"/>
                  </a:cubicBezTo>
                  <a:cubicBezTo>
                    <a:pt x="7366" y="15484"/>
                    <a:pt x="7427" y="15496"/>
                    <a:pt x="7489" y="15509"/>
                  </a:cubicBezTo>
                  <a:cubicBezTo>
                    <a:pt x="7543" y="15521"/>
                    <a:pt x="7598" y="15533"/>
                    <a:pt x="7625" y="15538"/>
                  </a:cubicBezTo>
                  <a:cubicBezTo>
                    <a:pt x="7567" y="15894"/>
                    <a:pt x="7567" y="15894"/>
                    <a:pt x="7567" y="15894"/>
                  </a:cubicBezTo>
                  <a:cubicBezTo>
                    <a:pt x="7565" y="15898"/>
                    <a:pt x="7562" y="15907"/>
                    <a:pt x="7557" y="15917"/>
                  </a:cubicBezTo>
                  <a:cubicBezTo>
                    <a:pt x="7555" y="15914"/>
                    <a:pt x="7553" y="15912"/>
                    <a:pt x="7551" y="15908"/>
                  </a:cubicBezTo>
                  <a:close/>
                  <a:moveTo>
                    <a:pt x="7598" y="15518"/>
                  </a:moveTo>
                  <a:cubicBezTo>
                    <a:pt x="7570" y="15512"/>
                    <a:pt x="7533" y="15504"/>
                    <a:pt x="7495" y="15497"/>
                  </a:cubicBezTo>
                  <a:cubicBezTo>
                    <a:pt x="7421" y="15481"/>
                    <a:pt x="7347" y="15466"/>
                    <a:pt x="7347" y="15466"/>
                  </a:cubicBezTo>
                  <a:cubicBezTo>
                    <a:pt x="7342" y="15465"/>
                    <a:pt x="7342" y="15465"/>
                    <a:pt x="7342" y="15465"/>
                  </a:cubicBezTo>
                  <a:cubicBezTo>
                    <a:pt x="7339" y="15469"/>
                    <a:pt x="7339" y="15469"/>
                    <a:pt x="7339" y="15469"/>
                  </a:cubicBezTo>
                  <a:cubicBezTo>
                    <a:pt x="7339" y="15469"/>
                    <a:pt x="7330" y="15484"/>
                    <a:pt x="7320" y="15500"/>
                  </a:cubicBezTo>
                  <a:cubicBezTo>
                    <a:pt x="7311" y="15515"/>
                    <a:pt x="7300" y="15531"/>
                    <a:pt x="7297" y="15534"/>
                  </a:cubicBezTo>
                  <a:cubicBezTo>
                    <a:pt x="7287" y="15537"/>
                    <a:pt x="7193" y="15558"/>
                    <a:pt x="7179" y="15562"/>
                  </a:cubicBezTo>
                  <a:cubicBezTo>
                    <a:pt x="7175" y="15529"/>
                    <a:pt x="7175" y="15529"/>
                    <a:pt x="7175" y="15529"/>
                  </a:cubicBezTo>
                  <a:cubicBezTo>
                    <a:pt x="7112" y="15499"/>
                    <a:pt x="7112" y="15499"/>
                    <a:pt x="7112" y="15499"/>
                  </a:cubicBezTo>
                  <a:cubicBezTo>
                    <a:pt x="7108" y="15224"/>
                    <a:pt x="7108" y="15224"/>
                    <a:pt x="7108" y="15224"/>
                  </a:cubicBezTo>
                  <a:cubicBezTo>
                    <a:pt x="7183" y="15209"/>
                    <a:pt x="7183" y="15209"/>
                    <a:pt x="7183" y="15209"/>
                  </a:cubicBezTo>
                  <a:cubicBezTo>
                    <a:pt x="7517" y="15265"/>
                    <a:pt x="7517" y="15265"/>
                    <a:pt x="7517" y="15265"/>
                  </a:cubicBezTo>
                  <a:cubicBezTo>
                    <a:pt x="7501" y="15370"/>
                    <a:pt x="7501" y="15370"/>
                    <a:pt x="7501" y="15370"/>
                  </a:cubicBezTo>
                  <a:cubicBezTo>
                    <a:pt x="7586" y="15382"/>
                    <a:pt x="7586" y="15382"/>
                    <a:pt x="7586" y="15382"/>
                  </a:cubicBezTo>
                  <a:cubicBezTo>
                    <a:pt x="7593" y="15336"/>
                    <a:pt x="7593" y="15336"/>
                    <a:pt x="7593" y="15336"/>
                  </a:cubicBezTo>
                  <a:cubicBezTo>
                    <a:pt x="7636" y="15342"/>
                    <a:pt x="7636" y="15342"/>
                    <a:pt x="7636" y="15342"/>
                  </a:cubicBezTo>
                  <a:cubicBezTo>
                    <a:pt x="7644" y="15287"/>
                    <a:pt x="7644" y="15287"/>
                    <a:pt x="7644" y="15287"/>
                  </a:cubicBezTo>
                  <a:cubicBezTo>
                    <a:pt x="7666" y="15290"/>
                    <a:pt x="7666" y="15290"/>
                    <a:pt x="7666" y="15290"/>
                  </a:cubicBezTo>
                  <a:cubicBezTo>
                    <a:pt x="7627" y="15525"/>
                    <a:pt x="7627" y="15525"/>
                    <a:pt x="7627" y="15525"/>
                  </a:cubicBezTo>
                  <a:cubicBezTo>
                    <a:pt x="7620" y="15523"/>
                    <a:pt x="7610" y="15521"/>
                    <a:pt x="7598" y="15518"/>
                  </a:cubicBezTo>
                  <a:close/>
                  <a:moveTo>
                    <a:pt x="7639" y="15238"/>
                  </a:moveTo>
                  <a:cubicBezTo>
                    <a:pt x="7634" y="15271"/>
                    <a:pt x="7634" y="15271"/>
                    <a:pt x="7634" y="15271"/>
                  </a:cubicBezTo>
                  <a:cubicBezTo>
                    <a:pt x="7532" y="15254"/>
                    <a:pt x="7532" y="15254"/>
                    <a:pt x="7532" y="15254"/>
                  </a:cubicBezTo>
                  <a:cubicBezTo>
                    <a:pt x="7544" y="15176"/>
                    <a:pt x="7544" y="15176"/>
                    <a:pt x="7544" y="15176"/>
                  </a:cubicBezTo>
                  <a:cubicBezTo>
                    <a:pt x="7603" y="15185"/>
                    <a:pt x="7603" y="15185"/>
                    <a:pt x="7603" y="15185"/>
                  </a:cubicBezTo>
                  <a:cubicBezTo>
                    <a:pt x="7596" y="15232"/>
                    <a:pt x="7596" y="15232"/>
                    <a:pt x="7596" y="15232"/>
                  </a:cubicBezTo>
                  <a:lnTo>
                    <a:pt x="7639" y="15238"/>
                  </a:lnTo>
                  <a:close/>
                  <a:moveTo>
                    <a:pt x="7632" y="15285"/>
                  </a:moveTo>
                  <a:cubicBezTo>
                    <a:pt x="7625" y="15327"/>
                    <a:pt x="7625" y="15327"/>
                    <a:pt x="7625" y="15327"/>
                  </a:cubicBezTo>
                  <a:cubicBezTo>
                    <a:pt x="7582" y="15321"/>
                    <a:pt x="7582" y="15321"/>
                    <a:pt x="7582" y="15321"/>
                  </a:cubicBezTo>
                  <a:cubicBezTo>
                    <a:pt x="7575" y="15367"/>
                    <a:pt x="7575" y="15367"/>
                    <a:pt x="7575" y="15367"/>
                  </a:cubicBezTo>
                  <a:cubicBezTo>
                    <a:pt x="7516" y="15359"/>
                    <a:pt x="7516" y="15359"/>
                    <a:pt x="7516" y="15359"/>
                  </a:cubicBezTo>
                  <a:cubicBezTo>
                    <a:pt x="7530" y="15267"/>
                    <a:pt x="7530" y="15267"/>
                    <a:pt x="7530" y="15267"/>
                  </a:cubicBezTo>
                  <a:lnTo>
                    <a:pt x="7632" y="15285"/>
                  </a:lnTo>
                  <a:close/>
                  <a:moveTo>
                    <a:pt x="7647" y="15273"/>
                  </a:moveTo>
                  <a:cubicBezTo>
                    <a:pt x="7653" y="15227"/>
                    <a:pt x="7653" y="15227"/>
                    <a:pt x="7653" y="15227"/>
                  </a:cubicBezTo>
                  <a:cubicBezTo>
                    <a:pt x="7611" y="15221"/>
                    <a:pt x="7611" y="15221"/>
                    <a:pt x="7611" y="15221"/>
                  </a:cubicBezTo>
                  <a:cubicBezTo>
                    <a:pt x="7618" y="15174"/>
                    <a:pt x="7618" y="15174"/>
                    <a:pt x="7618" y="15174"/>
                  </a:cubicBezTo>
                  <a:cubicBezTo>
                    <a:pt x="7539" y="15162"/>
                    <a:pt x="7539" y="15162"/>
                    <a:pt x="7539" y="15162"/>
                  </a:cubicBezTo>
                  <a:cubicBezTo>
                    <a:pt x="7533" y="15161"/>
                    <a:pt x="7533" y="15161"/>
                    <a:pt x="7533" y="15161"/>
                  </a:cubicBezTo>
                  <a:cubicBezTo>
                    <a:pt x="7519" y="15251"/>
                    <a:pt x="7519" y="15251"/>
                    <a:pt x="7519" y="15251"/>
                  </a:cubicBezTo>
                  <a:cubicBezTo>
                    <a:pt x="7190" y="15196"/>
                    <a:pt x="7190" y="15196"/>
                    <a:pt x="7190" y="15196"/>
                  </a:cubicBezTo>
                  <a:cubicBezTo>
                    <a:pt x="7190" y="15178"/>
                    <a:pt x="7191" y="15118"/>
                    <a:pt x="7191" y="15043"/>
                  </a:cubicBezTo>
                  <a:cubicBezTo>
                    <a:pt x="7224" y="15049"/>
                    <a:pt x="7335" y="15073"/>
                    <a:pt x="7443" y="15097"/>
                  </a:cubicBezTo>
                  <a:cubicBezTo>
                    <a:pt x="7549" y="15120"/>
                    <a:pt x="7654" y="15143"/>
                    <a:pt x="7689" y="15151"/>
                  </a:cubicBezTo>
                  <a:cubicBezTo>
                    <a:pt x="7668" y="15277"/>
                    <a:pt x="7668" y="15277"/>
                    <a:pt x="7668" y="15277"/>
                  </a:cubicBezTo>
                  <a:lnTo>
                    <a:pt x="7647" y="15273"/>
                  </a:lnTo>
                  <a:close/>
                  <a:moveTo>
                    <a:pt x="7446" y="15083"/>
                  </a:moveTo>
                  <a:cubicBezTo>
                    <a:pt x="7335" y="15059"/>
                    <a:pt x="7225" y="15035"/>
                    <a:pt x="7191" y="15029"/>
                  </a:cubicBezTo>
                  <a:cubicBezTo>
                    <a:pt x="7192" y="14993"/>
                    <a:pt x="7192" y="14955"/>
                    <a:pt x="7192" y="14917"/>
                  </a:cubicBezTo>
                  <a:cubicBezTo>
                    <a:pt x="7558" y="14988"/>
                    <a:pt x="7558" y="14988"/>
                    <a:pt x="7558" y="14988"/>
                  </a:cubicBezTo>
                  <a:cubicBezTo>
                    <a:pt x="7541" y="15097"/>
                    <a:pt x="7541" y="15097"/>
                    <a:pt x="7541" y="15097"/>
                  </a:cubicBezTo>
                  <a:cubicBezTo>
                    <a:pt x="7626" y="15110"/>
                    <a:pt x="7626" y="15110"/>
                    <a:pt x="7626" y="15110"/>
                  </a:cubicBezTo>
                  <a:cubicBezTo>
                    <a:pt x="7633" y="15063"/>
                    <a:pt x="7633" y="15063"/>
                    <a:pt x="7633" y="15063"/>
                  </a:cubicBezTo>
                  <a:cubicBezTo>
                    <a:pt x="7676" y="15070"/>
                    <a:pt x="7676" y="15070"/>
                    <a:pt x="7676" y="15070"/>
                  </a:cubicBezTo>
                  <a:cubicBezTo>
                    <a:pt x="7685" y="15013"/>
                    <a:pt x="7685" y="15013"/>
                    <a:pt x="7685" y="15013"/>
                  </a:cubicBezTo>
                  <a:cubicBezTo>
                    <a:pt x="7710" y="15018"/>
                    <a:pt x="7710" y="15018"/>
                    <a:pt x="7710" y="15018"/>
                  </a:cubicBezTo>
                  <a:cubicBezTo>
                    <a:pt x="7691" y="15137"/>
                    <a:pt x="7691" y="15137"/>
                    <a:pt x="7691" y="15137"/>
                  </a:cubicBezTo>
                  <a:cubicBezTo>
                    <a:pt x="7656" y="15129"/>
                    <a:pt x="7551" y="15106"/>
                    <a:pt x="7446" y="15083"/>
                  </a:cubicBezTo>
                  <a:close/>
                  <a:moveTo>
                    <a:pt x="7687" y="14999"/>
                  </a:moveTo>
                  <a:cubicBezTo>
                    <a:pt x="7694" y="14954"/>
                    <a:pt x="7694" y="14954"/>
                    <a:pt x="7694" y="14954"/>
                  </a:cubicBezTo>
                  <a:cubicBezTo>
                    <a:pt x="7651" y="14948"/>
                    <a:pt x="7651" y="14948"/>
                    <a:pt x="7651" y="14948"/>
                  </a:cubicBezTo>
                  <a:cubicBezTo>
                    <a:pt x="7657" y="14907"/>
                    <a:pt x="7657" y="14907"/>
                    <a:pt x="7657" y="14907"/>
                  </a:cubicBezTo>
                  <a:cubicBezTo>
                    <a:pt x="7686" y="14913"/>
                    <a:pt x="7710" y="14919"/>
                    <a:pt x="7726" y="14922"/>
                  </a:cubicBezTo>
                  <a:cubicBezTo>
                    <a:pt x="7713" y="15004"/>
                    <a:pt x="7713" y="15004"/>
                    <a:pt x="7713" y="15004"/>
                  </a:cubicBezTo>
                  <a:lnTo>
                    <a:pt x="7687" y="14999"/>
                  </a:lnTo>
                  <a:close/>
                  <a:moveTo>
                    <a:pt x="7663" y="14894"/>
                  </a:moveTo>
                  <a:cubicBezTo>
                    <a:pt x="7610" y="14883"/>
                    <a:pt x="7540" y="14867"/>
                    <a:pt x="7470" y="14852"/>
                  </a:cubicBezTo>
                  <a:cubicBezTo>
                    <a:pt x="7339" y="14823"/>
                    <a:pt x="7209" y="14795"/>
                    <a:pt x="7193" y="14792"/>
                  </a:cubicBezTo>
                  <a:cubicBezTo>
                    <a:pt x="7193" y="14759"/>
                    <a:pt x="7193" y="14729"/>
                    <a:pt x="7193" y="14705"/>
                  </a:cubicBezTo>
                  <a:cubicBezTo>
                    <a:pt x="7193" y="14695"/>
                    <a:pt x="7193" y="14686"/>
                    <a:pt x="7193" y="14679"/>
                  </a:cubicBezTo>
                  <a:cubicBezTo>
                    <a:pt x="7249" y="14689"/>
                    <a:pt x="7450" y="14727"/>
                    <a:pt x="7601" y="14755"/>
                  </a:cubicBezTo>
                  <a:cubicBezTo>
                    <a:pt x="7585" y="14863"/>
                    <a:pt x="7585" y="14863"/>
                    <a:pt x="7585" y="14863"/>
                  </a:cubicBezTo>
                  <a:cubicBezTo>
                    <a:pt x="7670" y="14876"/>
                    <a:pt x="7670" y="14876"/>
                    <a:pt x="7670" y="14876"/>
                  </a:cubicBezTo>
                  <a:cubicBezTo>
                    <a:pt x="7677" y="14830"/>
                    <a:pt x="7677" y="14830"/>
                    <a:pt x="7677" y="14830"/>
                  </a:cubicBezTo>
                  <a:cubicBezTo>
                    <a:pt x="7720" y="14836"/>
                    <a:pt x="7720" y="14836"/>
                    <a:pt x="7720" y="14836"/>
                  </a:cubicBezTo>
                  <a:cubicBezTo>
                    <a:pt x="7729" y="14778"/>
                    <a:pt x="7729" y="14778"/>
                    <a:pt x="7729" y="14778"/>
                  </a:cubicBezTo>
                  <a:cubicBezTo>
                    <a:pt x="7736" y="14779"/>
                    <a:pt x="7743" y="14781"/>
                    <a:pt x="7749" y="14782"/>
                  </a:cubicBezTo>
                  <a:cubicBezTo>
                    <a:pt x="7728" y="14909"/>
                    <a:pt x="7728" y="14909"/>
                    <a:pt x="7728" y="14909"/>
                  </a:cubicBezTo>
                  <a:cubicBezTo>
                    <a:pt x="7728" y="14908"/>
                    <a:pt x="7728" y="14908"/>
                    <a:pt x="7727" y="14908"/>
                  </a:cubicBezTo>
                  <a:cubicBezTo>
                    <a:pt x="7712" y="14905"/>
                    <a:pt x="7689" y="14900"/>
                    <a:pt x="7663" y="14894"/>
                  </a:cubicBezTo>
                  <a:close/>
                  <a:moveTo>
                    <a:pt x="7723" y="14732"/>
                  </a:moveTo>
                  <a:cubicBezTo>
                    <a:pt x="7718" y="14762"/>
                    <a:pt x="7718" y="14762"/>
                    <a:pt x="7718" y="14762"/>
                  </a:cubicBezTo>
                  <a:cubicBezTo>
                    <a:pt x="7691" y="14757"/>
                    <a:pt x="7655" y="14751"/>
                    <a:pt x="7616" y="14743"/>
                  </a:cubicBezTo>
                  <a:cubicBezTo>
                    <a:pt x="7628" y="14670"/>
                    <a:pt x="7628" y="14670"/>
                    <a:pt x="7628" y="14670"/>
                  </a:cubicBezTo>
                  <a:cubicBezTo>
                    <a:pt x="7687" y="14679"/>
                    <a:pt x="7687" y="14679"/>
                    <a:pt x="7687" y="14679"/>
                  </a:cubicBezTo>
                  <a:cubicBezTo>
                    <a:pt x="7680" y="14725"/>
                    <a:pt x="7680" y="14725"/>
                    <a:pt x="7680" y="14725"/>
                  </a:cubicBezTo>
                  <a:lnTo>
                    <a:pt x="7723" y="14732"/>
                  </a:lnTo>
                  <a:close/>
                  <a:moveTo>
                    <a:pt x="7716" y="14776"/>
                  </a:moveTo>
                  <a:cubicBezTo>
                    <a:pt x="7709" y="14821"/>
                    <a:pt x="7709" y="14821"/>
                    <a:pt x="7709" y="14821"/>
                  </a:cubicBezTo>
                  <a:cubicBezTo>
                    <a:pt x="7666" y="14815"/>
                    <a:pt x="7666" y="14815"/>
                    <a:pt x="7666" y="14815"/>
                  </a:cubicBezTo>
                  <a:cubicBezTo>
                    <a:pt x="7659" y="14861"/>
                    <a:pt x="7659" y="14861"/>
                    <a:pt x="7659" y="14861"/>
                  </a:cubicBezTo>
                  <a:cubicBezTo>
                    <a:pt x="7600" y="14852"/>
                    <a:pt x="7600" y="14852"/>
                    <a:pt x="7600" y="14852"/>
                  </a:cubicBezTo>
                  <a:cubicBezTo>
                    <a:pt x="7614" y="14757"/>
                    <a:pt x="7614" y="14757"/>
                    <a:pt x="7614" y="14757"/>
                  </a:cubicBezTo>
                  <a:cubicBezTo>
                    <a:pt x="7653" y="14764"/>
                    <a:pt x="7688" y="14771"/>
                    <a:pt x="7716" y="14776"/>
                  </a:cubicBezTo>
                  <a:close/>
                  <a:moveTo>
                    <a:pt x="7731" y="14764"/>
                  </a:moveTo>
                  <a:cubicBezTo>
                    <a:pt x="7737" y="14721"/>
                    <a:pt x="7737" y="14721"/>
                    <a:pt x="7737" y="14721"/>
                  </a:cubicBezTo>
                  <a:cubicBezTo>
                    <a:pt x="7695" y="14714"/>
                    <a:pt x="7695" y="14714"/>
                    <a:pt x="7695" y="14714"/>
                  </a:cubicBezTo>
                  <a:cubicBezTo>
                    <a:pt x="7702" y="14668"/>
                    <a:pt x="7702" y="14668"/>
                    <a:pt x="7702" y="14668"/>
                  </a:cubicBezTo>
                  <a:cubicBezTo>
                    <a:pt x="7623" y="14656"/>
                    <a:pt x="7623" y="14656"/>
                    <a:pt x="7623" y="14656"/>
                  </a:cubicBezTo>
                  <a:cubicBezTo>
                    <a:pt x="7617" y="14655"/>
                    <a:pt x="7617" y="14655"/>
                    <a:pt x="7617" y="14655"/>
                  </a:cubicBezTo>
                  <a:cubicBezTo>
                    <a:pt x="7604" y="14741"/>
                    <a:pt x="7604" y="14741"/>
                    <a:pt x="7604" y="14741"/>
                  </a:cubicBezTo>
                  <a:cubicBezTo>
                    <a:pt x="7563" y="14734"/>
                    <a:pt x="7520" y="14725"/>
                    <a:pt x="7477" y="14717"/>
                  </a:cubicBezTo>
                  <a:cubicBezTo>
                    <a:pt x="7384" y="14700"/>
                    <a:pt x="7292" y="14683"/>
                    <a:pt x="7236" y="14672"/>
                  </a:cubicBezTo>
                  <a:cubicBezTo>
                    <a:pt x="7266" y="14672"/>
                    <a:pt x="7292" y="14672"/>
                    <a:pt x="7314" y="14672"/>
                  </a:cubicBezTo>
                  <a:cubicBezTo>
                    <a:pt x="7426" y="14669"/>
                    <a:pt x="7521" y="14632"/>
                    <a:pt x="7595" y="14589"/>
                  </a:cubicBezTo>
                  <a:cubicBezTo>
                    <a:pt x="7768" y="14664"/>
                    <a:pt x="7768" y="14664"/>
                    <a:pt x="7768" y="14664"/>
                  </a:cubicBezTo>
                  <a:cubicBezTo>
                    <a:pt x="7751" y="14768"/>
                    <a:pt x="7751" y="14768"/>
                    <a:pt x="7751" y="14768"/>
                  </a:cubicBezTo>
                  <a:cubicBezTo>
                    <a:pt x="7745" y="14767"/>
                    <a:pt x="7738" y="14766"/>
                    <a:pt x="7731" y="14764"/>
                  </a:cubicBezTo>
                  <a:close/>
                  <a:moveTo>
                    <a:pt x="7610" y="14581"/>
                  </a:moveTo>
                  <a:cubicBezTo>
                    <a:pt x="7674" y="14541"/>
                    <a:pt x="7720" y="14497"/>
                    <a:pt x="7745" y="14471"/>
                  </a:cubicBezTo>
                  <a:cubicBezTo>
                    <a:pt x="7752" y="14475"/>
                    <a:pt x="7758" y="14480"/>
                    <a:pt x="7767" y="14486"/>
                  </a:cubicBezTo>
                  <a:cubicBezTo>
                    <a:pt x="7775" y="14492"/>
                    <a:pt x="7784" y="14499"/>
                    <a:pt x="7794" y="14506"/>
                  </a:cubicBezTo>
                  <a:cubicBezTo>
                    <a:pt x="7771" y="14650"/>
                    <a:pt x="7771" y="14650"/>
                    <a:pt x="7771" y="14650"/>
                  </a:cubicBezTo>
                  <a:lnTo>
                    <a:pt x="7610" y="14581"/>
                  </a:lnTo>
                  <a:close/>
                  <a:moveTo>
                    <a:pt x="8266" y="13687"/>
                  </a:moveTo>
                  <a:cubicBezTo>
                    <a:pt x="8264" y="13616"/>
                    <a:pt x="8264" y="13616"/>
                    <a:pt x="8264" y="13616"/>
                  </a:cubicBezTo>
                  <a:cubicBezTo>
                    <a:pt x="8119" y="13619"/>
                    <a:pt x="8119" y="13619"/>
                    <a:pt x="8119" y="13619"/>
                  </a:cubicBezTo>
                  <a:cubicBezTo>
                    <a:pt x="8114" y="13619"/>
                    <a:pt x="8114" y="13619"/>
                    <a:pt x="8114" y="13619"/>
                  </a:cubicBezTo>
                  <a:cubicBezTo>
                    <a:pt x="8114" y="13415"/>
                    <a:pt x="8114" y="13415"/>
                    <a:pt x="8114" y="13415"/>
                  </a:cubicBezTo>
                  <a:cubicBezTo>
                    <a:pt x="8170" y="13413"/>
                    <a:pt x="8223" y="13411"/>
                    <a:pt x="8270" y="13410"/>
                  </a:cubicBezTo>
                  <a:cubicBezTo>
                    <a:pt x="8270" y="13704"/>
                    <a:pt x="8270" y="13704"/>
                    <a:pt x="8270" y="13704"/>
                  </a:cubicBezTo>
                  <a:cubicBezTo>
                    <a:pt x="8114" y="13710"/>
                    <a:pt x="8114" y="13710"/>
                    <a:pt x="8114" y="13710"/>
                  </a:cubicBezTo>
                  <a:cubicBezTo>
                    <a:pt x="8114" y="13690"/>
                    <a:pt x="8114" y="13690"/>
                    <a:pt x="8114" y="13690"/>
                  </a:cubicBezTo>
                  <a:lnTo>
                    <a:pt x="8266" y="13687"/>
                  </a:lnTo>
                  <a:close/>
                  <a:moveTo>
                    <a:pt x="8126" y="13632"/>
                  </a:moveTo>
                  <a:cubicBezTo>
                    <a:pt x="8251" y="13630"/>
                    <a:pt x="8251" y="13630"/>
                    <a:pt x="8251" y="13630"/>
                  </a:cubicBezTo>
                  <a:cubicBezTo>
                    <a:pt x="8252" y="13674"/>
                    <a:pt x="8252" y="13674"/>
                    <a:pt x="8252" y="13674"/>
                  </a:cubicBezTo>
                  <a:cubicBezTo>
                    <a:pt x="8127" y="13677"/>
                    <a:pt x="8127" y="13677"/>
                    <a:pt x="8127" y="13677"/>
                  </a:cubicBezTo>
                  <a:lnTo>
                    <a:pt x="8126" y="13632"/>
                  </a:lnTo>
                  <a:close/>
                  <a:moveTo>
                    <a:pt x="8284" y="13703"/>
                  </a:moveTo>
                  <a:cubicBezTo>
                    <a:pt x="8284" y="13409"/>
                    <a:pt x="8284" y="13409"/>
                    <a:pt x="8284" y="13409"/>
                  </a:cubicBezTo>
                  <a:cubicBezTo>
                    <a:pt x="8371" y="13407"/>
                    <a:pt x="8435" y="13405"/>
                    <a:pt x="8455" y="13404"/>
                  </a:cubicBezTo>
                  <a:cubicBezTo>
                    <a:pt x="8455" y="13696"/>
                    <a:pt x="8455" y="13696"/>
                    <a:pt x="8455" y="13696"/>
                  </a:cubicBezTo>
                  <a:lnTo>
                    <a:pt x="8284" y="13703"/>
                  </a:lnTo>
                  <a:close/>
                  <a:moveTo>
                    <a:pt x="8694" y="13684"/>
                  </a:moveTo>
                  <a:cubicBezTo>
                    <a:pt x="8665" y="13688"/>
                    <a:pt x="8665" y="13688"/>
                    <a:pt x="8665" y="13688"/>
                  </a:cubicBezTo>
                  <a:cubicBezTo>
                    <a:pt x="8469" y="13696"/>
                    <a:pt x="8469" y="13696"/>
                    <a:pt x="8469" y="13696"/>
                  </a:cubicBezTo>
                  <a:cubicBezTo>
                    <a:pt x="8469" y="13390"/>
                    <a:pt x="8469" y="13390"/>
                    <a:pt x="8469" y="13390"/>
                  </a:cubicBezTo>
                  <a:cubicBezTo>
                    <a:pt x="8462" y="13390"/>
                    <a:pt x="8462" y="13390"/>
                    <a:pt x="8462" y="13390"/>
                  </a:cubicBezTo>
                  <a:cubicBezTo>
                    <a:pt x="8462" y="13390"/>
                    <a:pt x="7587" y="13416"/>
                    <a:pt x="7356" y="13426"/>
                  </a:cubicBezTo>
                  <a:cubicBezTo>
                    <a:pt x="7351" y="13427"/>
                    <a:pt x="7347" y="13427"/>
                    <a:pt x="7342" y="13427"/>
                  </a:cubicBezTo>
                  <a:cubicBezTo>
                    <a:pt x="7386" y="12877"/>
                    <a:pt x="7386" y="12877"/>
                    <a:pt x="7386" y="12877"/>
                  </a:cubicBezTo>
                  <a:cubicBezTo>
                    <a:pt x="8067" y="11478"/>
                    <a:pt x="8067" y="11478"/>
                    <a:pt x="8067" y="11478"/>
                  </a:cubicBezTo>
                  <a:cubicBezTo>
                    <a:pt x="9399" y="12158"/>
                    <a:pt x="9399" y="12158"/>
                    <a:pt x="9399" y="12158"/>
                  </a:cubicBezTo>
                  <a:cubicBezTo>
                    <a:pt x="9348" y="12266"/>
                    <a:pt x="9348" y="12266"/>
                    <a:pt x="9348" y="12266"/>
                  </a:cubicBezTo>
                  <a:lnTo>
                    <a:pt x="8694" y="13684"/>
                  </a:lnTo>
                  <a:close/>
                  <a:moveTo>
                    <a:pt x="8096" y="11419"/>
                  </a:moveTo>
                  <a:cubicBezTo>
                    <a:pt x="9307" y="8934"/>
                    <a:pt x="9307" y="8934"/>
                    <a:pt x="9307" y="8934"/>
                  </a:cubicBezTo>
                  <a:cubicBezTo>
                    <a:pt x="9483" y="9030"/>
                    <a:pt x="9865" y="9236"/>
                    <a:pt x="10022" y="9303"/>
                  </a:cubicBezTo>
                  <a:cubicBezTo>
                    <a:pt x="10103" y="9337"/>
                    <a:pt x="10259" y="9409"/>
                    <a:pt x="10394" y="9471"/>
                  </a:cubicBezTo>
                  <a:cubicBezTo>
                    <a:pt x="10491" y="9516"/>
                    <a:pt x="10577" y="9556"/>
                    <a:pt x="10618" y="9575"/>
                  </a:cubicBezTo>
                  <a:cubicBezTo>
                    <a:pt x="9427" y="12098"/>
                    <a:pt x="9427" y="12098"/>
                    <a:pt x="9427" y="12098"/>
                  </a:cubicBezTo>
                  <a:lnTo>
                    <a:pt x="8096" y="11419"/>
                  </a:lnTo>
                  <a:close/>
                  <a:moveTo>
                    <a:pt x="10666" y="9525"/>
                  </a:moveTo>
                  <a:cubicBezTo>
                    <a:pt x="10609" y="9499"/>
                    <a:pt x="10201" y="9308"/>
                    <a:pt x="10048" y="9243"/>
                  </a:cubicBezTo>
                  <a:cubicBezTo>
                    <a:pt x="9888" y="9175"/>
                    <a:pt x="9466" y="8946"/>
                    <a:pt x="9308" y="8860"/>
                  </a:cubicBezTo>
                  <a:cubicBezTo>
                    <a:pt x="9151" y="8776"/>
                    <a:pt x="8808" y="8559"/>
                    <a:pt x="8705" y="8498"/>
                  </a:cubicBezTo>
                  <a:cubicBezTo>
                    <a:pt x="8657" y="8469"/>
                    <a:pt x="8505" y="8359"/>
                    <a:pt x="8367" y="8258"/>
                  </a:cubicBezTo>
                  <a:cubicBezTo>
                    <a:pt x="8298" y="8208"/>
                    <a:pt x="8233" y="8159"/>
                    <a:pt x="8184" y="8123"/>
                  </a:cubicBezTo>
                  <a:cubicBezTo>
                    <a:pt x="8260" y="8114"/>
                    <a:pt x="8358" y="8100"/>
                    <a:pt x="8440" y="8081"/>
                  </a:cubicBezTo>
                  <a:cubicBezTo>
                    <a:pt x="8521" y="8062"/>
                    <a:pt x="8594" y="8020"/>
                    <a:pt x="8656" y="7979"/>
                  </a:cubicBezTo>
                  <a:cubicBezTo>
                    <a:pt x="8693" y="7954"/>
                    <a:pt x="8725" y="7930"/>
                    <a:pt x="8749" y="7910"/>
                  </a:cubicBezTo>
                  <a:cubicBezTo>
                    <a:pt x="8814" y="7964"/>
                    <a:pt x="8888" y="8011"/>
                    <a:pt x="8967" y="8046"/>
                  </a:cubicBezTo>
                  <a:cubicBezTo>
                    <a:pt x="9129" y="8116"/>
                    <a:pt x="9735" y="8390"/>
                    <a:pt x="10245" y="8558"/>
                  </a:cubicBezTo>
                  <a:cubicBezTo>
                    <a:pt x="10689" y="8704"/>
                    <a:pt x="11084" y="8779"/>
                    <a:pt x="11180" y="8797"/>
                  </a:cubicBezTo>
                  <a:cubicBezTo>
                    <a:pt x="11174" y="8878"/>
                    <a:pt x="11149" y="9059"/>
                    <a:pt x="11047" y="9165"/>
                  </a:cubicBezTo>
                  <a:cubicBezTo>
                    <a:pt x="10975" y="9241"/>
                    <a:pt x="10870" y="9340"/>
                    <a:pt x="10784" y="9419"/>
                  </a:cubicBezTo>
                  <a:cubicBezTo>
                    <a:pt x="10736" y="9463"/>
                    <a:pt x="10694" y="9500"/>
                    <a:pt x="10666" y="9525"/>
                  </a:cubicBezTo>
                  <a:close/>
                  <a:moveTo>
                    <a:pt x="11152" y="8636"/>
                  </a:moveTo>
                  <a:cubicBezTo>
                    <a:pt x="11103" y="8627"/>
                    <a:pt x="11033" y="8613"/>
                    <a:pt x="10947" y="8593"/>
                  </a:cubicBezTo>
                  <a:cubicBezTo>
                    <a:pt x="10776" y="8554"/>
                    <a:pt x="10541" y="8495"/>
                    <a:pt x="10292" y="8413"/>
                  </a:cubicBezTo>
                  <a:cubicBezTo>
                    <a:pt x="10288" y="8412"/>
                    <a:pt x="10283" y="8410"/>
                    <a:pt x="10279" y="8409"/>
                  </a:cubicBezTo>
                  <a:cubicBezTo>
                    <a:pt x="10716" y="7170"/>
                    <a:pt x="10716" y="7170"/>
                    <a:pt x="10716" y="7170"/>
                  </a:cubicBezTo>
                  <a:cubicBezTo>
                    <a:pt x="10723" y="7174"/>
                    <a:pt x="10728" y="7177"/>
                    <a:pt x="10730" y="7179"/>
                  </a:cubicBezTo>
                  <a:cubicBezTo>
                    <a:pt x="10732" y="7181"/>
                    <a:pt x="10734" y="7182"/>
                    <a:pt x="10735" y="7182"/>
                  </a:cubicBezTo>
                  <a:cubicBezTo>
                    <a:pt x="10738" y="7185"/>
                    <a:pt x="10740" y="7185"/>
                    <a:pt x="10742" y="7186"/>
                  </a:cubicBezTo>
                  <a:cubicBezTo>
                    <a:pt x="10744" y="7187"/>
                    <a:pt x="10745" y="7187"/>
                    <a:pt x="10746" y="7187"/>
                  </a:cubicBezTo>
                  <a:cubicBezTo>
                    <a:pt x="10748" y="7188"/>
                    <a:pt x="10748" y="7188"/>
                    <a:pt x="10749" y="7188"/>
                  </a:cubicBezTo>
                  <a:cubicBezTo>
                    <a:pt x="10749" y="7188"/>
                    <a:pt x="10750" y="7188"/>
                    <a:pt x="10750" y="7188"/>
                  </a:cubicBezTo>
                  <a:cubicBezTo>
                    <a:pt x="10751" y="7188"/>
                    <a:pt x="10751" y="7188"/>
                    <a:pt x="10752" y="7188"/>
                  </a:cubicBezTo>
                  <a:cubicBezTo>
                    <a:pt x="10753" y="7188"/>
                    <a:pt x="10755" y="7189"/>
                    <a:pt x="10757" y="7189"/>
                  </a:cubicBezTo>
                  <a:cubicBezTo>
                    <a:pt x="10762" y="7189"/>
                    <a:pt x="10769" y="7190"/>
                    <a:pt x="10777" y="7190"/>
                  </a:cubicBezTo>
                  <a:cubicBezTo>
                    <a:pt x="10793" y="7192"/>
                    <a:pt x="10817" y="7193"/>
                    <a:pt x="10845" y="7195"/>
                  </a:cubicBezTo>
                  <a:cubicBezTo>
                    <a:pt x="10902" y="7200"/>
                    <a:pt x="10978" y="7205"/>
                    <a:pt x="11053" y="7211"/>
                  </a:cubicBezTo>
                  <a:cubicBezTo>
                    <a:pt x="11204" y="7222"/>
                    <a:pt x="11355" y="7233"/>
                    <a:pt x="11356" y="7233"/>
                  </a:cubicBezTo>
                  <a:cubicBezTo>
                    <a:pt x="11356" y="7233"/>
                    <a:pt x="11543" y="7243"/>
                    <a:pt x="11643" y="7243"/>
                  </a:cubicBezTo>
                  <a:cubicBezTo>
                    <a:pt x="11658" y="7243"/>
                    <a:pt x="11672" y="7243"/>
                    <a:pt x="11683" y="7242"/>
                  </a:cubicBezTo>
                  <a:cubicBezTo>
                    <a:pt x="11693" y="7241"/>
                    <a:pt x="11699" y="7242"/>
                    <a:pt x="11709" y="7239"/>
                  </a:cubicBezTo>
                  <a:cubicBezTo>
                    <a:pt x="11777" y="7225"/>
                    <a:pt x="11832" y="7182"/>
                    <a:pt x="11874" y="7129"/>
                  </a:cubicBezTo>
                  <a:cubicBezTo>
                    <a:pt x="11883" y="7117"/>
                    <a:pt x="11892" y="7104"/>
                    <a:pt x="11901" y="7091"/>
                  </a:cubicBezTo>
                  <a:cubicBezTo>
                    <a:pt x="11975" y="7125"/>
                    <a:pt x="12008" y="7206"/>
                    <a:pt x="12014" y="7226"/>
                  </a:cubicBezTo>
                  <a:cubicBezTo>
                    <a:pt x="12015" y="7229"/>
                    <a:pt x="12015" y="7230"/>
                    <a:pt x="12015" y="7230"/>
                  </a:cubicBezTo>
                  <a:cubicBezTo>
                    <a:pt x="12015" y="7230"/>
                    <a:pt x="12015" y="7230"/>
                    <a:pt x="12015" y="7230"/>
                  </a:cubicBezTo>
                  <a:cubicBezTo>
                    <a:pt x="12476" y="8728"/>
                    <a:pt x="12476" y="8728"/>
                    <a:pt x="12476" y="8728"/>
                  </a:cubicBezTo>
                  <a:cubicBezTo>
                    <a:pt x="12349" y="8716"/>
                    <a:pt x="12234" y="8712"/>
                    <a:pt x="12133" y="8707"/>
                  </a:cubicBezTo>
                  <a:cubicBezTo>
                    <a:pt x="11938" y="8699"/>
                    <a:pt x="11277" y="8654"/>
                    <a:pt x="11225" y="8650"/>
                  </a:cubicBezTo>
                  <a:cubicBezTo>
                    <a:pt x="11217" y="8648"/>
                    <a:pt x="11192" y="8644"/>
                    <a:pt x="11152" y="8636"/>
                  </a:cubicBezTo>
                  <a:close/>
                  <a:moveTo>
                    <a:pt x="11822" y="7088"/>
                  </a:moveTo>
                  <a:cubicBezTo>
                    <a:pt x="11786" y="7133"/>
                    <a:pt x="11744" y="7165"/>
                    <a:pt x="11694" y="7175"/>
                  </a:cubicBezTo>
                  <a:cubicBezTo>
                    <a:pt x="11692" y="7175"/>
                    <a:pt x="11692" y="7175"/>
                    <a:pt x="11692" y="7175"/>
                  </a:cubicBezTo>
                  <a:cubicBezTo>
                    <a:pt x="11689" y="7176"/>
                    <a:pt x="11689" y="7176"/>
                    <a:pt x="11689" y="7176"/>
                  </a:cubicBezTo>
                  <a:cubicBezTo>
                    <a:pt x="11689" y="7176"/>
                    <a:pt x="11689" y="7176"/>
                    <a:pt x="11689" y="7176"/>
                  </a:cubicBezTo>
                  <a:cubicBezTo>
                    <a:pt x="11687" y="7176"/>
                    <a:pt x="11684" y="7177"/>
                    <a:pt x="11679" y="7177"/>
                  </a:cubicBezTo>
                  <a:cubicBezTo>
                    <a:pt x="11670" y="7177"/>
                    <a:pt x="11658" y="7177"/>
                    <a:pt x="11643" y="7177"/>
                  </a:cubicBezTo>
                  <a:cubicBezTo>
                    <a:pt x="11595" y="7177"/>
                    <a:pt x="11524" y="7175"/>
                    <a:pt x="11465" y="7172"/>
                  </a:cubicBezTo>
                  <a:cubicBezTo>
                    <a:pt x="11406" y="7170"/>
                    <a:pt x="11360" y="7167"/>
                    <a:pt x="11360" y="7167"/>
                  </a:cubicBezTo>
                  <a:cubicBezTo>
                    <a:pt x="11360" y="7167"/>
                    <a:pt x="11217" y="7157"/>
                    <a:pt x="11070" y="7146"/>
                  </a:cubicBezTo>
                  <a:cubicBezTo>
                    <a:pt x="10938" y="7137"/>
                    <a:pt x="10802" y="7127"/>
                    <a:pt x="10766" y="7124"/>
                  </a:cubicBezTo>
                  <a:cubicBezTo>
                    <a:pt x="10765" y="7123"/>
                    <a:pt x="10765" y="7123"/>
                    <a:pt x="10764" y="7123"/>
                  </a:cubicBezTo>
                  <a:cubicBezTo>
                    <a:pt x="10759" y="7119"/>
                    <a:pt x="10752" y="7115"/>
                    <a:pt x="10743" y="7109"/>
                  </a:cubicBezTo>
                  <a:cubicBezTo>
                    <a:pt x="10725" y="7098"/>
                    <a:pt x="10699" y="7082"/>
                    <a:pt x="10668" y="7063"/>
                  </a:cubicBezTo>
                  <a:cubicBezTo>
                    <a:pt x="10605" y="7025"/>
                    <a:pt x="10522" y="6976"/>
                    <a:pt x="10437" y="6925"/>
                  </a:cubicBezTo>
                  <a:cubicBezTo>
                    <a:pt x="10266" y="6824"/>
                    <a:pt x="10091" y="6721"/>
                    <a:pt x="10061" y="6706"/>
                  </a:cubicBezTo>
                  <a:cubicBezTo>
                    <a:pt x="10059" y="6705"/>
                    <a:pt x="10059" y="6704"/>
                    <a:pt x="10057" y="6704"/>
                  </a:cubicBezTo>
                  <a:cubicBezTo>
                    <a:pt x="10056" y="6703"/>
                    <a:pt x="10055" y="6702"/>
                    <a:pt x="10054" y="6700"/>
                  </a:cubicBezTo>
                  <a:cubicBezTo>
                    <a:pt x="10050" y="6694"/>
                    <a:pt x="10044" y="6683"/>
                    <a:pt x="10037" y="6668"/>
                  </a:cubicBezTo>
                  <a:cubicBezTo>
                    <a:pt x="10025" y="6636"/>
                    <a:pt x="10013" y="6583"/>
                    <a:pt x="10013" y="6504"/>
                  </a:cubicBezTo>
                  <a:cubicBezTo>
                    <a:pt x="10013" y="6494"/>
                    <a:pt x="10014" y="6484"/>
                    <a:pt x="10014" y="6474"/>
                  </a:cubicBezTo>
                  <a:cubicBezTo>
                    <a:pt x="10019" y="6341"/>
                    <a:pt x="10043" y="6025"/>
                    <a:pt x="10043" y="5766"/>
                  </a:cubicBezTo>
                  <a:cubicBezTo>
                    <a:pt x="10043" y="5659"/>
                    <a:pt x="10039" y="5562"/>
                    <a:pt x="10027" y="5489"/>
                  </a:cubicBezTo>
                  <a:cubicBezTo>
                    <a:pt x="10008" y="5365"/>
                    <a:pt x="9920" y="5018"/>
                    <a:pt x="9837" y="4699"/>
                  </a:cubicBezTo>
                  <a:cubicBezTo>
                    <a:pt x="9764" y="4417"/>
                    <a:pt x="9695" y="4159"/>
                    <a:pt x="9679" y="4103"/>
                  </a:cubicBezTo>
                  <a:cubicBezTo>
                    <a:pt x="10840" y="3769"/>
                    <a:pt x="10840" y="3769"/>
                    <a:pt x="10840" y="3769"/>
                  </a:cubicBezTo>
                  <a:cubicBezTo>
                    <a:pt x="10841" y="3772"/>
                    <a:pt x="10842" y="3775"/>
                    <a:pt x="10843" y="3778"/>
                  </a:cubicBezTo>
                  <a:cubicBezTo>
                    <a:pt x="10854" y="3812"/>
                    <a:pt x="10897" y="3969"/>
                    <a:pt x="10973" y="4125"/>
                  </a:cubicBezTo>
                  <a:cubicBezTo>
                    <a:pt x="11050" y="4282"/>
                    <a:pt x="11158" y="4445"/>
                    <a:pt x="11318" y="4489"/>
                  </a:cubicBezTo>
                  <a:cubicBezTo>
                    <a:pt x="11453" y="4525"/>
                    <a:pt x="11586" y="4534"/>
                    <a:pt x="11699" y="4534"/>
                  </a:cubicBezTo>
                  <a:cubicBezTo>
                    <a:pt x="11831" y="4534"/>
                    <a:pt x="11938" y="4521"/>
                    <a:pt x="11976" y="4521"/>
                  </a:cubicBezTo>
                  <a:cubicBezTo>
                    <a:pt x="12014" y="4521"/>
                    <a:pt x="12074" y="4522"/>
                    <a:pt x="12126" y="4548"/>
                  </a:cubicBezTo>
                  <a:cubicBezTo>
                    <a:pt x="12176" y="4573"/>
                    <a:pt x="12222" y="4617"/>
                    <a:pt x="12241" y="4718"/>
                  </a:cubicBezTo>
                  <a:cubicBezTo>
                    <a:pt x="12241" y="4718"/>
                    <a:pt x="12241" y="4718"/>
                    <a:pt x="12241" y="4719"/>
                  </a:cubicBezTo>
                  <a:cubicBezTo>
                    <a:pt x="12240" y="4722"/>
                    <a:pt x="12240" y="4725"/>
                    <a:pt x="12240" y="4729"/>
                  </a:cubicBezTo>
                  <a:cubicBezTo>
                    <a:pt x="12240" y="4755"/>
                    <a:pt x="12244" y="4809"/>
                    <a:pt x="12245" y="4823"/>
                  </a:cubicBezTo>
                  <a:cubicBezTo>
                    <a:pt x="11971" y="6701"/>
                    <a:pt x="11971" y="6701"/>
                    <a:pt x="11971" y="6701"/>
                  </a:cubicBezTo>
                  <a:cubicBezTo>
                    <a:pt x="11971" y="6701"/>
                    <a:pt x="11968" y="6716"/>
                    <a:pt x="11963" y="6741"/>
                  </a:cubicBezTo>
                  <a:cubicBezTo>
                    <a:pt x="11958" y="6767"/>
                    <a:pt x="11950" y="6803"/>
                    <a:pt x="11938" y="6843"/>
                  </a:cubicBezTo>
                  <a:cubicBezTo>
                    <a:pt x="11915" y="6922"/>
                    <a:pt x="11877" y="7020"/>
                    <a:pt x="11822" y="7088"/>
                  </a:cubicBezTo>
                  <a:close/>
                  <a:moveTo>
                    <a:pt x="12155" y="4489"/>
                  </a:moveTo>
                  <a:cubicBezTo>
                    <a:pt x="12086" y="4456"/>
                    <a:pt x="12016" y="4456"/>
                    <a:pt x="11976" y="4455"/>
                  </a:cubicBezTo>
                  <a:cubicBezTo>
                    <a:pt x="11928" y="4456"/>
                    <a:pt x="11828" y="4469"/>
                    <a:pt x="11699" y="4469"/>
                  </a:cubicBezTo>
                  <a:cubicBezTo>
                    <a:pt x="11590" y="4469"/>
                    <a:pt x="11462" y="4459"/>
                    <a:pt x="11335" y="4426"/>
                  </a:cubicBezTo>
                  <a:cubicBezTo>
                    <a:pt x="11211" y="4394"/>
                    <a:pt x="11104" y="4248"/>
                    <a:pt x="11032" y="4097"/>
                  </a:cubicBezTo>
                  <a:cubicBezTo>
                    <a:pt x="10959" y="3946"/>
                    <a:pt x="10917" y="3795"/>
                    <a:pt x="10905" y="3757"/>
                  </a:cubicBezTo>
                  <a:cubicBezTo>
                    <a:pt x="10903" y="3751"/>
                    <a:pt x="10894" y="3718"/>
                    <a:pt x="10883" y="3671"/>
                  </a:cubicBezTo>
                  <a:cubicBezTo>
                    <a:pt x="10871" y="3624"/>
                    <a:pt x="10856" y="3560"/>
                    <a:pt x="10838" y="3486"/>
                  </a:cubicBezTo>
                  <a:cubicBezTo>
                    <a:pt x="10805" y="3350"/>
                    <a:pt x="10764" y="3179"/>
                    <a:pt x="10720" y="3007"/>
                  </a:cubicBezTo>
                  <a:cubicBezTo>
                    <a:pt x="10908" y="3003"/>
                    <a:pt x="12289" y="2973"/>
                    <a:pt x="12289" y="2973"/>
                  </a:cubicBezTo>
                  <a:cubicBezTo>
                    <a:pt x="12289" y="2973"/>
                    <a:pt x="12289" y="2973"/>
                    <a:pt x="12289" y="2973"/>
                  </a:cubicBezTo>
                  <a:cubicBezTo>
                    <a:pt x="12290" y="2973"/>
                    <a:pt x="12290" y="2973"/>
                    <a:pt x="12290" y="2973"/>
                  </a:cubicBezTo>
                  <a:cubicBezTo>
                    <a:pt x="12290" y="2973"/>
                    <a:pt x="12291" y="2973"/>
                    <a:pt x="12295" y="2973"/>
                  </a:cubicBezTo>
                  <a:cubicBezTo>
                    <a:pt x="12322" y="2972"/>
                    <a:pt x="12426" y="2979"/>
                    <a:pt x="12494" y="3040"/>
                  </a:cubicBezTo>
                  <a:cubicBezTo>
                    <a:pt x="13232" y="4163"/>
                    <a:pt x="13232" y="4163"/>
                    <a:pt x="13232" y="4163"/>
                  </a:cubicBezTo>
                  <a:cubicBezTo>
                    <a:pt x="13232" y="4163"/>
                    <a:pt x="13232" y="4163"/>
                    <a:pt x="13233" y="4165"/>
                  </a:cubicBezTo>
                  <a:cubicBezTo>
                    <a:pt x="13234" y="4166"/>
                    <a:pt x="13235" y="4168"/>
                    <a:pt x="13237" y="4171"/>
                  </a:cubicBezTo>
                  <a:cubicBezTo>
                    <a:pt x="13240" y="4178"/>
                    <a:pt x="13244" y="4187"/>
                    <a:pt x="13249" y="4200"/>
                  </a:cubicBezTo>
                  <a:cubicBezTo>
                    <a:pt x="13258" y="4225"/>
                    <a:pt x="13267" y="4262"/>
                    <a:pt x="13267" y="4309"/>
                  </a:cubicBezTo>
                  <a:cubicBezTo>
                    <a:pt x="13267" y="4360"/>
                    <a:pt x="13257" y="4423"/>
                    <a:pt x="13223" y="4495"/>
                  </a:cubicBezTo>
                  <a:cubicBezTo>
                    <a:pt x="13146" y="4658"/>
                    <a:pt x="13083" y="4762"/>
                    <a:pt x="13057" y="4803"/>
                  </a:cubicBezTo>
                  <a:cubicBezTo>
                    <a:pt x="13057" y="4803"/>
                    <a:pt x="13056" y="4804"/>
                    <a:pt x="13056" y="4804"/>
                  </a:cubicBezTo>
                  <a:cubicBezTo>
                    <a:pt x="12897" y="4758"/>
                    <a:pt x="12897" y="4758"/>
                    <a:pt x="12897" y="4758"/>
                  </a:cubicBezTo>
                  <a:cubicBezTo>
                    <a:pt x="12717" y="4709"/>
                    <a:pt x="12389" y="4686"/>
                    <a:pt x="12299" y="4680"/>
                  </a:cubicBezTo>
                  <a:cubicBezTo>
                    <a:pt x="12275" y="4579"/>
                    <a:pt x="12217" y="4518"/>
                    <a:pt x="12155" y="4489"/>
                  </a:cubicBezTo>
                  <a:close/>
                  <a:moveTo>
                    <a:pt x="12876" y="1058"/>
                  </a:moveTo>
                  <a:cubicBezTo>
                    <a:pt x="12879" y="1064"/>
                    <a:pt x="12881" y="1071"/>
                    <a:pt x="12884" y="1078"/>
                  </a:cubicBezTo>
                  <a:cubicBezTo>
                    <a:pt x="12774" y="1100"/>
                    <a:pt x="12651" y="1117"/>
                    <a:pt x="12549" y="1145"/>
                  </a:cubicBezTo>
                  <a:cubicBezTo>
                    <a:pt x="12376" y="1193"/>
                    <a:pt x="12263" y="1247"/>
                    <a:pt x="12234" y="1263"/>
                  </a:cubicBezTo>
                  <a:cubicBezTo>
                    <a:pt x="12162" y="1304"/>
                    <a:pt x="11798" y="1599"/>
                    <a:pt x="11616" y="1725"/>
                  </a:cubicBezTo>
                  <a:cubicBezTo>
                    <a:pt x="11569" y="1769"/>
                    <a:pt x="11523" y="1812"/>
                    <a:pt x="11477" y="1855"/>
                  </a:cubicBezTo>
                  <a:cubicBezTo>
                    <a:pt x="11331" y="1992"/>
                    <a:pt x="11194" y="2122"/>
                    <a:pt x="11083" y="2224"/>
                  </a:cubicBezTo>
                  <a:cubicBezTo>
                    <a:pt x="11028" y="2275"/>
                    <a:pt x="10979" y="2319"/>
                    <a:pt x="10939" y="2353"/>
                  </a:cubicBezTo>
                  <a:cubicBezTo>
                    <a:pt x="10898" y="2388"/>
                    <a:pt x="10868" y="2413"/>
                    <a:pt x="10842" y="2428"/>
                  </a:cubicBezTo>
                  <a:cubicBezTo>
                    <a:pt x="10823" y="2439"/>
                    <a:pt x="10802" y="2448"/>
                    <a:pt x="10770" y="2460"/>
                  </a:cubicBezTo>
                  <a:cubicBezTo>
                    <a:pt x="10727" y="2475"/>
                    <a:pt x="10666" y="2495"/>
                    <a:pt x="10593" y="2518"/>
                  </a:cubicBezTo>
                  <a:cubicBezTo>
                    <a:pt x="10581" y="2473"/>
                    <a:pt x="10570" y="2433"/>
                    <a:pt x="10561" y="2399"/>
                  </a:cubicBezTo>
                  <a:cubicBezTo>
                    <a:pt x="10607" y="2385"/>
                    <a:pt x="10649" y="2371"/>
                    <a:pt x="10682" y="2360"/>
                  </a:cubicBezTo>
                  <a:cubicBezTo>
                    <a:pt x="10710" y="2351"/>
                    <a:pt x="10732" y="2343"/>
                    <a:pt x="10749" y="2336"/>
                  </a:cubicBezTo>
                  <a:cubicBezTo>
                    <a:pt x="10757" y="2333"/>
                    <a:pt x="10765" y="2330"/>
                    <a:pt x="10770" y="2327"/>
                  </a:cubicBezTo>
                  <a:cubicBezTo>
                    <a:pt x="10775" y="2325"/>
                    <a:pt x="10777" y="2324"/>
                    <a:pt x="10779" y="2323"/>
                  </a:cubicBezTo>
                  <a:cubicBezTo>
                    <a:pt x="10779" y="2323"/>
                    <a:pt x="10779" y="2323"/>
                    <a:pt x="10779" y="2323"/>
                  </a:cubicBezTo>
                  <a:cubicBezTo>
                    <a:pt x="10793" y="2315"/>
                    <a:pt x="10829" y="2286"/>
                    <a:pt x="10876" y="2245"/>
                  </a:cubicBezTo>
                  <a:cubicBezTo>
                    <a:pt x="11040" y="2101"/>
                    <a:pt x="11349" y="1802"/>
                    <a:pt x="11647" y="1529"/>
                  </a:cubicBezTo>
                  <a:cubicBezTo>
                    <a:pt x="11796" y="1393"/>
                    <a:pt x="11942" y="1262"/>
                    <a:pt x="12068" y="1160"/>
                  </a:cubicBezTo>
                  <a:cubicBezTo>
                    <a:pt x="12130" y="1109"/>
                    <a:pt x="12188" y="1065"/>
                    <a:pt x="12239" y="1030"/>
                  </a:cubicBezTo>
                  <a:cubicBezTo>
                    <a:pt x="12290" y="995"/>
                    <a:pt x="12333" y="969"/>
                    <a:pt x="12374" y="955"/>
                  </a:cubicBezTo>
                  <a:cubicBezTo>
                    <a:pt x="12467" y="923"/>
                    <a:pt x="12587" y="906"/>
                    <a:pt x="12730" y="896"/>
                  </a:cubicBezTo>
                  <a:cubicBezTo>
                    <a:pt x="12760" y="894"/>
                    <a:pt x="12792" y="892"/>
                    <a:pt x="12824" y="891"/>
                  </a:cubicBezTo>
                  <a:cubicBezTo>
                    <a:pt x="12836" y="939"/>
                    <a:pt x="12852" y="997"/>
                    <a:pt x="12876" y="1058"/>
                  </a:cubicBezTo>
                  <a:close/>
                  <a:moveTo>
                    <a:pt x="11851" y="1099"/>
                  </a:moveTo>
                  <a:cubicBezTo>
                    <a:pt x="11873" y="1075"/>
                    <a:pt x="11891" y="1054"/>
                    <a:pt x="11905" y="1034"/>
                  </a:cubicBezTo>
                  <a:cubicBezTo>
                    <a:pt x="11919" y="1014"/>
                    <a:pt x="11954" y="971"/>
                    <a:pt x="11996" y="931"/>
                  </a:cubicBezTo>
                  <a:cubicBezTo>
                    <a:pt x="12037" y="891"/>
                    <a:pt x="12086" y="853"/>
                    <a:pt x="12121" y="838"/>
                  </a:cubicBezTo>
                  <a:cubicBezTo>
                    <a:pt x="12200" y="802"/>
                    <a:pt x="12300" y="797"/>
                    <a:pt x="12424" y="793"/>
                  </a:cubicBezTo>
                  <a:cubicBezTo>
                    <a:pt x="12455" y="791"/>
                    <a:pt x="12603" y="790"/>
                    <a:pt x="12803" y="789"/>
                  </a:cubicBezTo>
                  <a:cubicBezTo>
                    <a:pt x="12806" y="809"/>
                    <a:pt x="12812" y="838"/>
                    <a:pt x="12820" y="874"/>
                  </a:cubicBezTo>
                  <a:cubicBezTo>
                    <a:pt x="12789" y="876"/>
                    <a:pt x="12758" y="877"/>
                    <a:pt x="12729" y="879"/>
                  </a:cubicBezTo>
                  <a:cubicBezTo>
                    <a:pt x="12585" y="890"/>
                    <a:pt x="12464" y="907"/>
                    <a:pt x="12368" y="940"/>
                  </a:cubicBezTo>
                  <a:cubicBezTo>
                    <a:pt x="12325" y="955"/>
                    <a:pt x="12281" y="981"/>
                    <a:pt x="12230" y="1016"/>
                  </a:cubicBezTo>
                  <a:cubicBezTo>
                    <a:pt x="12178" y="1051"/>
                    <a:pt x="12120" y="1096"/>
                    <a:pt x="12057" y="1147"/>
                  </a:cubicBezTo>
                  <a:cubicBezTo>
                    <a:pt x="11931" y="1250"/>
                    <a:pt x="11785" y="1380"/>
                    <a:pt x="11636" y="1517"/>
                  </a:cubicBezTo>
                  <a:cubicBezTo>
                    <a:pt x="11338" y="1791"/>
                    <a:pt x="11029" y="2090"/>
                    <a:pt x="10865" y="2233"/>
                  </a:cubicBezTo>
                  <a:cubicBezTo>
                    <a:pt x="10819" y="2273"/>
                    <a:pt x="10782" y="2303"/>
                    <a:pt x="10771" y="2309"/>
                  </a:cubicBezTo>
                  <a:cubicBezTo>
                    <a:pt x="10770" y="2309"/>
                    <a:pt x="10770" y="2309"/>
                    <a:pt x="10770" y="2309"/>
                  </a:cubicBezTo>
                  <a:cubicBezTo>
                    <a:pt x="10770" y="2309"/>
                    <a:pt x="10769" y="2309"/>
                    <a:pt x="10769" y="2310"/>
                  </a:cubicBezTo>
                  <a:cubicBezTo>
                    <a:pt x="10767" y="2310"/>
                    <a:pt x="10765" y="2311"/>
                    <a:pt x="10763" y="2312"/>
                  </a:cubicBezTo>
                  <a:cubicBezTo>
                    <a:pt x="10758" y="2315"/>
                    <a:pt x="10751" y="2318"/>
                    <a:pt x="10743" y="2321"/>
                  </a:cubicBezTo>
                  <a:cubicBezTo>
                    <a:pt x="10727" y="2327"/>
                    <a:pt x="10704" y="2335"/>
                    <a:pt x="10677" y="2344"/>
                  </a:cubicBezTo>
                  <a:cubicBezTo>
                    <a:pt x="10644" y="2356"/>
                    <a:pt x="10603" y="2369"/>
                    <a:pt x="10556" y="2383"/>
                  </a:cubicBezTo>
                  <a:cubicBezTo>
                    <a:pt x="10550" y="2359"/>
                    <a:pt x="10544" y="2339"/>
                    <a:pt x="10540" y="2322"/>
                  </a:cubicBezTo>
                  <a:cubicBezTo>
                    <a:pt x="10546" y="2321"/>
                    <a:pt x="10546" y="2321"/>
                    <a:pt x="10546" y="2321"/>
                  </a:cubicBezTo>
                  <a:cubicBezTo>
                    <a:pt x="10547" y="2320"/>
                    <a:pt x="10547" y="2320"/>
                    <a:pt x="10547" y="2320"/>
                  </a:cubicBezTo>
                  <a:cubicBezTo>
                    <a:pt x="10554" y="2317"/>
                    <a:pt x="10563" y="2315"/>
                    <a:pt x="10573" y="2311"/>
                  </a:cubicBezTo>
                  <a:cubicBezTo>
                    <a:pt x="10597" y="2302"/>
                    <a:pt x="10625" y="2291"/>
                    <a:pt x="10654" y="2267"/>
                  </a:cubicBezTo>
                  <a:cubicBezTo>
                    <a:pt x="10659" y="2263"/>
                    <a:pt x="10662" y="2260"/>
                    <a:pt x="10670" y="2253"/>
                  </a:cubicBezTo>
                  <a:cubicBezTo>
                    <a:pt x="10677" y="2246"/>
                    <a:pt x="10687" y="2237"/>
                    <a:pt x="10698" y="2226"/>
                  </a:cubicBezTo>
                  <a:cubicBezTo>
                    <a:pt x="10722" y="2204"/>
                    <a:pt x="10754" y="2173"/>
                    <a:pt x="10792" y="2137"/>
                  </a:cubicBezTo>
                  <a:cubicBezTo>
                    <a:pt x="10868" y="2064"/>
                    <a:pt x="10970" y="1967"/>
                    <a:pt x="11077" y="1864"/>
                  </a:cubicBezTo>
                  <a:cubicBezTo>
                    <a:pt x="11291" y="1657"/>
                    <a:pt x="11529" y="1429"/>
                    <a:pt x="11635" y="1325"/>
                  </a:cubicBezTo>
                  <a:cubicBezTo>
                    <a:pt x="11666" y="1295"/>
                    <a:pt x="11684" y="1277"/>
                    <a:pt x="11692" y="1269"/>
                  </a:cubicBezTo>
                  <a:cubicBezTo>
                    <a:pt x="11694" y="1267"/>
                    <a:pt x="11694" y="1267"/>
                    <a:pt x="11699" y="1260"/>
                  </a:cubicBezTo>
                  <a:cubicBezTo>
                    <a:pt x="11700" y="1260"/>
                    <a:pt x="11700" y="1259"/>
                    <a:pt x="11701" y="1258"/>
                  </a:cubicBezTo>
                  <a:cubicBezTo>
                    <a:pt x="11703" y="1256"/>
                    <a:pt x="11706" y="1253"/>
                    <a:pt x="11709" y="1249"/>
                  </a:cubicBezTo>
                  <a:cubicBezTo>
                    <a:pt x="11718" y="1240"/>
                    <a:pt x="11732" y="1225"/>
                    <a:pt x="11748" y="1209"/>
                  </a:cubicBezTo>
                  <a:cubicBezTo>
                    <a:pt x="11779" y="1176"/>
                    <a:pt x="11819" y="1135"/>
                    <a:pt x="11851" y="1099"/>
                  </a:cubicBezTo>
                  <a:close/>
                  <a:moveTo>
                    <a:pt x="11598" y="1280"/>
                  </a:moveTo>
                  <a:cubicBezTo>
                    <a:pt x="11603" y="1283"/>
                    <a:pt x="11608" y="1285"/>
                    <a:pt x="11612" y="1287"/>
                  </a:cubicBezTo>
                  <a:cubicBezTo>
                    <a:pt x="11612" y="1286"/>
                    <a:pt x="11612" y="1286"/>
                    <a:pt x="11612" y="1286"/>
                  </a:cubicBezTo>
                  <a:cubicBezTo>
                    <a:pt x="11608" y="1285"/>
                    <a:pt x="11603" y="1283"/>
                    <a:pt x="11598" y="1280"/>
                  </a:cubicBezTo>
                  <a:close/>
                  <a:moveTo>
                    <a:pt x="10594" y="226"/>
                  </a:moveTo>
                  <a:cubicBezTo>
                    <a:pt x="10595" y="226"/>
                    <a:pt x="10595" y="226"/>
                    <a:pt x="10595" y="226"/>
                  </a:cubicBezTo>
                  <a:cubicBezTo>
                    <a:pt x="10596" y="225"/>
                    <a:pt x="10732" y="176"/>
                    <a:pt x="10749" y="170"/>
                  </a:cubicBezTo>
                  <a:cubicBezTo>
                    <a:pt x="10888" y="172"/>
                    <a:pt x="10888" y="172"/>
                    <a:pt x="10888" y="172"/>
                  </a:cubicBezTo>
                  <a:cubicBezTo>
                    <a:pt x="10888" y="173"/>
                    <a:pt x="10888" y="173"/>
                    <a:pt x="10888" y="173"/>
                  </a:cubicBezTo>
                  <a:cubicBezTo>
                    <a:pt x="10899" y="172"/>
                    <a:pt x="10899" y="172"/>
                    <a:pt x="10899" y="172"/>
                  </a:cubicBezTo>
                  <a:cubicBezTo>
                    <a:pt x="11564" y="181"/>
                    <a:pt x="11564" y="181"/>
                    <a:pt x="11564" y="181"/>
                  </a:cubicBezTo>
                  <a:cubicBezTo>
                    <a:pt x="11565" y="205"/>
                    <a:pt x="11565" y="228"/>
                    <a:pt x="11565" y="253"/>
                  </a:cubicBezTo>
                  <a:cubicBezTo>
                    <a:pt x="11568" y="674"/>
                    <a:pt x="11702" y="923"/>
                    <a:pt x="11744" y="990"/>
                  </a:cubicBezTo>
                  <a:cubicBezTo>
                    <a:pt x="11729" y="1007"/>
                    <a:pt x="11711" y="1026"/>
                    <a:pt x="11693" y="1045"/>
                  </a:cubicBezTo>
                  <a:cubicBezTo>
                    <a:pt x="11654" y="1087"/>
                    <a:pt x="11614" y="1128"/>
                    <a:pt x="11594" y="1149"/>
                  </a:cubicBezTo>
                  <a:cubicBezTo>
                    <a:pt x="11587" y="1156"/>
                    <a:pt x="11584" y="1159"/>
                    <a:pt x="11578" y="1168"/>
                  </a:cubicBezTo>
                  <a:cubicBezTo>
                    <a:pt x="11578" y="1168"/>
                    <a:pt x="11578" y="1168"/>
                    <a:pt x="11578" y="1168"/>
                  </a:cubicBezTo>
                  <a:cubicBezTo>
                    <a:pt x="11577" y="1169"/>
                    <a:pt x="11576" y="1169"/>
                    <a:pt x="11576" y="1170"/>
                  </a:cubicBezTo>
                  <a:cubicBezTo>
                    <a:pt x="11570" y="1175"/>
                    <a:pt x="11562" y="1183"/>
                    <a:pt x="11552" y="1193"/>
                  </a:cubicBezTo>
                  <a:cubicBezTo>
                    <a:pt x="11531" y="1214"/>
                    <a:pt x="11501" y="1243"/>
                    <a:pt x="11464" y="1279"/>
                  </a:cubicBezTo>
                  <a:cubicBezTo>
                    <a:pt x="11427" y="1315"/>
                    <a:pt x="11383" y="1358"/>
                    <a:pt x="11334" y="1404"/>
                  </a:cubicBezTo>
                  <a:cubicBezTo>
                    <a:pt x="11303" y="1377"/>
                    <a:pt x="11230" y="1315"/>
                    <a:pt x="11149" y="1246"/>
                  </a:cubicBezTo>
                  <a:cubicBezTo>
                    <a:pt x="11042" y="1154"/>
                    <a:pt x="10921" y="1048"/>
                    <a:pt x="10869" y="998"/>
                  </a:cubicBezTo>
                  <a:cubicBezTo>
                    <a:pt x="10751" y="885"/>
                    <a:pt x="10603" y="886"/>
                    <a:pt x="10599" y="885"/>
                  </a:cubicBezTo>
                  <a:cubicBezTo>
                    <a:pt x="9863" y="885"/>
                    <a:pt x="9863" y="885"/>
                    <a:pt x="9863" y="885"/>
                  </a:cubicBezTo>
                  <a:cubicBezTo>
                    <a:pt x="9862" y="791"/>
                    <a:pt x="9850" y="510"/>
                    <a:pt x="9839" y="242"/>
                  </a:cubicBezTo>
                  <a:lnTo>
                    <a:pt x="10594" y="226"/>
                  </a:lnTo>
                  <a:close/>
                  <a:moveTo>
                    <a:pt x="9356" y="1184"/>
                  </a:moveTo>
                  <a:cubicBezTo>
                    <a:pt x="9359" y="1184"/>
                    <a:pt x="9361" y="1184"/>
                    <a:pt x="9362" y="1184"/>
                  </a:cubicBezTo>
                  <a:cubicBezTo>
                    <a:pt x="9364" y="1185"/>
                    <a:pt x="9366" y="1185"/>
                    <a:pt x="9367" y="1185"/>
                  </a:cubicBezTo>
                  <a:cubicBezTo>
                    <a:pt x="9377" y="1184"/>
                    <a:pt x="9379" y="1182"/>
                    <a:pt x="9381" y="1182"/>
                  </a:cubicBezTo>
                  <a:cubicBezTo>
                    <a:pt x="9384" y="1181"/>
                    <a:pt x="9386" y="1180"/>
                    <a:pt x="9388" y="1179"/>
                  </a:cubicBezTo>
                  <a:cubicBezTo>
                    <a:pt x="9391" y="1177"/>
                    <a:pt x="9395" y="1174"/>
                    <a:pt x="9400" y="1171"/>
                  </a:cubicBezTo>
                  <a:cubicBezTo>
                    <a:pt x="9409" y="1165"/>
                    <a:pt x="9421" y="1158"/>
                    <a:pt x="9435" y="1148"/>
                  </a:cubicBezTo>
                  <a:cubicBezTo>
                    <a:pt x="9463" y="1129"/>
                    <a:pt x="9499" y="1104"/>
                    <a:pt x="9536" y="1078"/>
                  </a:cubicBezTo>
                  <a:cubicBezTo>
                    <a:pt x="9611" y="1025"/>
                    <a:pt x="9691" y="968"/>
                    <a:pt x="9717" y="952"/>
                  </a:cubicBezTo>
                  <a:cubicBezTo>
                    <a:pt x="9718" y="951"/>
                    <a:pt x="9718" y="951"/>
                    <a:pt x="9718" y="951"/>
                  </a:cubicBezTo>
                  <a:cubicBezTo>
                    <a:pt x="9735" y="951"/>
                    <a:pt x="9775" y="951"/>
                    <a:pt x="9830" y="951"/>
                  </a:cubicBezTo>
                  <a:cubicBezTo>
                    <a:pt x="9830" y="951"/>
                    <a:pt x="9830" y="951"/>
                    <a:pt x="9830" y="951"/>
                  </a:cubicBezTo>
                  <a:cubicBezTo>
                    <a:pt x="9830" y="951"/>
                    <a:pt x="9830" y="951"/>
                    <a:pt x="9830" y="951"/>
                  </a:cubicBezTo>
                  <a:cubicBezTo>
                    <a:pt x="10073" y="951"/>
                    <a:pt x="10599" y="951"/>
                    <a:pt x="10599" y="951"/>
                  </a:cubicBezTo>
                  <a:cubicBezTo>
                    <a:pt x="10600" y="951"/>
                    <a:pt x="10600" y="951"/>
                    <a:pt x="10600" y="951"/>
                  </a:cubicBezTo>
                  <a:cubicBezTo>
                    <a:pt x="10601" y="951"/>
                    <a:pt x="10602" y="951"/>
                    <a:pt x="10604" y="951"/>
                  </a:cubicBezTo>
                  <a:cubicBezTo>
                    <a:pt x="10607" y="951"/>
                    <a:pt x="10612" y="952"/>
                    <a:pt x="10619" y="953"/>
                  </a:cubicBezTo>
                  <a:cubicBezTo>
                    <a:pt x="10633" y="954"/>
                    <a:pt x="10652" y="957"/>
                    <a:pt x="10674" y="963"/>
                  </a:cubicBezTo>
                  <a:cubicBezTo>
                    <a:pt x="10719" y="975"/>
                    <a:pt x="10775" y="998"/>
                    <a:pt x="10823" y="1045"/>
                  </a:cubicBezTo>
                  <a:cubicBezTo>
                    <a:pt x="10916" y="1135"/>
                    <a:pt x="11206" y="1381"/>
                    <a:pt x="11287" y="1450"/>
                  </a:cubicBezTo>
                  <a:cubicBezTo>
                    <a:pt x="11253" y="1483"/>
                    <a:pt x="11217" y="1517"/>
                    <a:pt x="11180" y="1553"/>
                  </a:cubicBezTo>
                  <a:cubicBezTo>
                    <a:pt x="10964" y="1761"/>
                    <a:pt x="10720" y="1994"/>
                    <a:pt x="10611" y="2099"/>
                  </a:cubicBezTo>
                  <a:cubicBezTo>
                    <a:pt x="10580" y="2128"/>
                    <a:pt x="10558" y="2148"/>
                    <a:pt x="10555" y="2151"/>
                  </a:cubicBezTo>
                  <a:cubicBezTo>
                    <a:pt x="10555" y="2151"/>
                    <a:pt x="10555" y="2151"/>
                    <a:pt x="10555" y="2151"/>
                  </a:cubicBezTo>
                  <a:cubicBezTo>
                    <a:pt x="10553" y="2153"/>
                    <a:pt x="10539" y="2161"/>
                    <a:pt x="10526" y="2166"/>
                  </a:cubicBezTo>
                  <a:cubicBezTo>
                    <a:pt x="10512" y="2171"/>
                    <a:pt x="10498" y="2175"/>
                    <a:pt x="10493" y="2177"/>
                  </a:cubicBezTo>
                  <a:cubicBezTo>
                    <a:pt x="10492" y="2177"/>
                    <a:pt x="10492" y="2177"/>
                    <a:pt x="10492" y="2177"/>
                  </a:cubicBezTo>
                  <a:cubicBezTo>
                    <a:pt x="10466" y="2184"/>
                    <a:pt x="10008" y="2299"/>
                    <a:pt x="9545" y="2416"/>
                  </a:cubicBezTo>
                  <a:cubicBezTo>
                    <a:pt x="9131" y="2521"/>
                    <a:pt x="8711" y="2627"/>
                    <a:pt x="8592" y="2657"/>
                  </a:cubicBezTo>
                  <a:cubicBezTo>
                    <a:pt x="8588" y="2565"/>
                    <a:pt x="8578" y="2378"/>
                    <a:pt x="8576" y="2324"/>
                  </a:cubicBezTo>
                  <a:cubicBezTo>
                    <a:pt x="8574" y="2297"/>
                    <a:pt x="8573" y="2263"/>
                    <a:pt x="8573" y="2227"/>
                  </a:cubicBezTo>
                  <a:cubicBezTo>
                    <a:pt x="8573" y="2168"/>
                    <a:pt x="8577" y="2104"/>
                    <a:pt x="8588" y="2063"/>
                  </a:cubicBezTo>
                  <a:cubicBezTo>
                    <a:pt x="8609" y="1986"/>
                    <a:pt x="8691" y="1680"/>
                    <a:pt x="8702" y="1610"/>
                  </a:cubicBezTo>
                  <a:cubicBezTo>
                    <a:pt x="8704" y="1598"/>
                    <a:pt x="8705" y="1583"/>
                    <a:pt x="8705" y="1565"/>
                  </a:cubicBezTo>
                  <a:cubicBezTo>
                    <a:pt x="8705" y="1470"/>
                    <a:pt x="8688" y="1275"/>
                    <a:pt x="8681" y="1199"/>
                  </a:cubicBezTo>
                  <a:cubicBezTo>
                    <a:pt x="8937" y="1195"/>
                    <a:pt x="9290" y="1184"/>
                    <a:pt x="9356" y="1184"/>
                  </a:cubicBezTo>
                  <a:close/>
                  <a:moveTo>
                    <a:pt x="7130" y="1388"/>
                  </a:moveTo>
                  <a:cubicBezTo>
                    <a:pt x="7133" y="1370"/>
                    <a:pt x="7135" y="1358"/>
                    <a:pt x="7135" y="1347"/>
                  </a:cubicBezTo>
                  <a:cubicBezTo>
                    <a:pt x="7135" y="1345"/>
                    <a:pt x="7135" y="1344"/>
                    <a:pt x="7134" y="1341"/>
                  </a:cubicBezTo>
                  <a:cubicBezTo>
                    <a:pt x="7134" y="1339"/>
                    <a:pt x="7134" y="1337"/>
                    <a:pt x="7132" y="1333"/>
                  </a:cubicBezTo>
                  <a:cubicBezTo>
                    <a:pt x="7133" y="1328"/>
                    <a:pt x="7135" y="1322"/>
                    <a:pt x="7137" y="1318"/>
                  </a:cubicBezTo>
                  <a:cubicBezTo>
                    <a:pt x="7142" y="1310"/>
                    <a:pt x="7145" y="1308"/>
                    <a:pt x="7148" y="1308"/>
                  </a:cubicBezTo>
                  <a:cubicBezTo>
                    <a:pt x="7169" y="1304"/>
                    <a:pt x="7227" y="1294"/>
                    <a:pt x="7288" y="1281"/>
                  </a:cubicBezTo>
                  <a:cubicBezTo>
                    <a:pt x="7350" y="1268"/>
                    <a:pt x="7412" y="1254"/>
                    <a:pt x="7447" y="1240"/>
                  </a:cubicBezTo>
                  <a:cubicBezTo>
                    <a:pt x="7496" y="1219"/>
                    <a:pt x="7714" y="1173"/>
                    <a:pt x="7786" y="1171"/>
                  </a:cubicBezTo>
                  <a:cubicBezTo>
                    <a:pt x="7790" y="1171"/>
                    <a:pt x="7796" y="1171"/>
                    <a:pt x="7804" y="1171"/>
                  </a:cubicBezTo>
                  <a:cubicBezTo>
                    <a:pt x="7913" y="1170"/>
                    <a:pt x="8276" y="1192"/>
                    <a:pt x="8459" y="1198"/>
                  </a:cubicBezTo>
                  <a:cubicBezTo>
                    <a:pt x="8485" y="1199"/>
                    <a:pt x="8518" y="1199"/>
                    <a:pt x="8556" y="1199"/>
                  </a:cubicBezTo>
                  <a:cubicBezTo>
                    <a:pt x="8575" y="1199"/>
                    <a:pt x="8595" y="1199"/>
                    <a:pt x="8616" y="1199"/>
                  </a:cubicBezTo>
                  <a:cubicBezTo>
                    <a:pt x="8618" y="1227"/>
                    <a:pt x="8622" y="1274"/>
                    <a:pt x="8626" y="1326"/>
                  </a:cubicBezTo>
                  <a:cubicBezTo>
                    <a:pt x="8633" y="1410"/>
                    <a:pt x="8639" y="1509"/>
                    <a:pt x="8639" y="1565"/>
                  </a:cubicBezTo>
                  <a:cubicBezTo>
                    <a:pt x="8639" y="1582"/>
                    <a:pt x="8638" y="1595"/>
                    <a:pt x="8637" y="1600"/>
                  </a:cubicBezTo>
                  <a:cubicBezTo>
                    <a:pt x="8628" y="1660"/>
                    <a:pt x="8545" y="1972"/>
                    <a:pt x="8525" y="2046"/>
                  </a:cubicBezTo>
                  <a:cubicBezTo>
                    <a:pt x="8511" y="2099"/>
                    <a:pt x="8508" y="2166"/>
                    <a:pt x="8508" y="2227"/>
                  </a:cubicBezTo>
                  <a:cubicBezTo>
                    <a:pt x="8508" y="2265"/>
                    <a:pt x="8509" y="2300"/>
                    <a:pt x="8510" y="2327"/>
                  </a:cubicBezTo>
                  <a:cubicBezTo>
                    <a:pt x="8511" y="2341"/>
                    <a:pt x="8512" y="2365"/>
                    <a:pt x="8513" y="2393"/>
                  </a:cubicBezTo>
                  <a:cubicBezTo>
                    <a:pt x="7282" y="2416"/>
                    <a:pt x="7282" y="2416"/>
                    <a:pt x="7282" y="2416"/>
                  </a:cubicBezTo>
                  <a:cubicBezTo>
                    <a:pt x="7273" y="2415"/>
                    <a:pt x="7243" y="2410"/>
                    <a:pt x="7202" y="2404"/>
                  </a:cubicBezTo>
                  <a:cubicBezTo>
                    <a:pt x="7200" y="2373"/>
                    <a:pt x="7195" y="2318"/>
                    <a:pt x="7188" y="2247"/>
                  </a:cubicBezTo>
                  <a:cubicBezTo>
                    <a:pt x="7179" y="2158"/>
                    <a:pt x="7166" y="2046"/>
                    <a:pt x="7154" y="1937"/>
                  </a:cubicBezTo>
                  <a:cubicBezTo>
                    <a:pt x="7132" y="1737"/>
                    <a:pt x="7110" y="1545"/>
                    <a:pt x="7106" y="1513"/>
                  </a:cubicBezTo>
                  <a:cubicBezTo>
                    <a:pt x="7110" y="1495"/>
                    <a:pt x="7123" y="1431"/>
                    <a:pt x="7130" y="1388"/>
                  </a:cubicBezTo>
                  <a:close/>
                  <a:moveTo>
                    <a:pt x="4094" y="1427"/>
                  </a:moveTo>
                  <a:cubicBezTo>
                    <a:pt x="4102" y="1414"/>
                    <a:pt x="4126" y="1369"/>
                    <a:pt x="4160" y="1313"/>
                  </a:cubicBezTo>
                  <a:cubicBezTo>
                    <a:pt x="4201" y="1243"/>
                    <a:pt x="4232" y="1125"/>
                    <a:pt x="4238" y="1102"/>
                  </a:cubicBezTo>
                  <a:cubicBezTo>
                    <a:pt x="4465" y="660"/>
                    <a:pt x="4465" y="660"/>
                    <a:pt x="4465" y="660"/>
                  </a:cubicBezTo>
                  <a:cubicBezTo>
                    <a:pt x="4523" y="690"/>
                    <a:pt x="4687" y="767"/>
                    <a:pt x="4919" y="836"/>
                  </a:cubicBezTo>
                  <a:cubicBezTo>
                    <a:pt x="5208" y="922"/>
                    <a:pt x="5501" y="1012"/>
                    <a:pt x="5634" y="1020"/>
                  </a:cubicBezTo>
                  <a:cubicBezTo>
                    <a:pt x="5647" y="1020"/>
                    <a:pt x="5659" y="1021"/>
                    <a:pt x="5671" y="1021"/>
                  </a:cubicBezTo>
                  <a:cubicBezTo>
                    <a:pt x="5779" y="1021"/>
                    <a:pt x="5851" y="989"/>
                    <a:pt x="5953" y="933"/>
                  </a:cubicBezTo>
                  <a:cubicBezTo>
                    <a:pt x="6063" y="874"/>
                    <a:pt x="6278" y="748"/>
                    <a:pt x="6296" y="738"/>
                  </a:cubicBezTo>
                  <a:cubicBezTo>
                    <a:pt x="6296" y="738"/>
                    <a:pt x="6296" y="738"/>
                    <a:pt x="6297" y="738"/>
                  </a:cubicBezTo>
                  <a:cubicBezTo>
                    <a:pt x="6298" y="737"/>
                    <a:pt x="6299" y="736"/>
                    <a:pt x="6302" y="735"/>
                  </a:cubicBezTo>
                  <a:cubicBezTo>
                    <a:pt x="6306" y="734"/>
                    <a:pt x="6313" y="731"/>
                    <a:pt x="6322" y="728"/>
                  </a:cubicBezTo>
                  <a:cubicBezTo>
                    <a:pt x="6340" y="723"/>
                    <a:pt x="6365" y="718"/>
                    <a:pt x="6392" y="718"/>
                  </a:cubicBezTo>
                  <a:cubicBezTo>
                    <a:pt x="6449" y="719"/>
                    <a:pt x="6515" y="737"/>
                    <a:pt x="6571" y="830"/>
                  </a:cubicBezTo>
                  <a:cubicBezTo>
                    <a:pt x="6849" y="1332"/>
                    <a:pt x="6849" y="1332"/>
                    <a:pt x="6849" y="1332"/>
                  </a:cubicBezTo>
                  <a:cubicBezTo>
                    <a:pt x="6850" y="1334"/>
                    <a:pt x="6884" y="1395"/>
                    <a:pt x="6940" y="1453"/>
                  </a:cubicBezTo>
                  <a:cubicBezTo>
                    <a:pt x="6974" y="1486"/>
                    <a:pt x="7014" y="1507"/>
                    <a:pt x="7042" y="1529"/>
                  </a:cubicBezTo>
                  <a:cubicBezTo>
                    <a:pt x="7051" y="1606"/>
                    <a:pt x="7098" y="2013"/>
                    <a:pt x="7123" y="2253"/>
                  </a:cubicBezTo>
                  <a:cubicBezTo>
                    <a:pt x="7129" y="2313"/>
                    <a:pt x="7134" y="2363"/>
                    <a:pt x="7136" y="2393"/>
                  </a:cubicBezTo>
                  <a:cubicBezTo>
                    <a:pt x="7116" y="2390"/>
                    <a:pt x="7095" y="2387"/>
                    <a:pt x="7074" y="2384"/>
                  </a:cubicBezTo>
                  <a:cubicBezTo>
                    <a:pt x="6962" y="2368"/>
                    <a:pt x="6839" y="2351"/>
                    <a:pt x="6782" y="2351"/>
                  </a:cubicBezTo>
                  <a:cubicBezTo>
                    <a:pt x="6728" y="2351"/>
                    <a:pt x="6681" y="2356"/>
                    <a:pt x="6639" y="2370"/>
                  </a:cubicBezTo>
                  <a:cubicBezTo>
                    <a:pt x="6597" y="2385"/>
                    <a:pt x="6561" y="2411"/>
                    <a:pt x="6535" y="2449"/>
                  </a:cubicBezTo>
                  <a:cubicBezTo>
                    <a:pt x="6532" y="2454"/>
                    <a:pt x="6532" y="2454"/>
                    <a:pt x="6532" y="2454"/>
                  </a:cubicBezTo>
                  <a:cubicBezTo>
                    <a:pt x="6458" y="2711"/>
                    <a:pt x="6458" y="2711"/>
                    <a:pt x="6458" y="2711"/>
                  </a:cubicBezTo>
                  <a:cubicBezTo>
                    <a:pt x="6293" y="2669"/>
                    <a:pt x="6128" y="2624"/>
                    <a:pt x="6048" y="2601"/>
                  </a:cubicBezTo>
                  <a:cubicBezTo>
                    <a:pt x="5882" y="2551"/>
                    <a:pt x="5390" y="2405"/>
                    <a:pt x="5340" y="2390"/>
                  </a:cubicBezTo>
                  <a:cubicBezTo>
                    <a:pt x="4497" y="2042"/>
                    <a:pt x="4497" y="2042"/>
                    <a:pt x="4497" y="2042"/>
                  </a:cubicBezTo>
                  <a:cubicBezTo>
                    <a:pt x="4454" y="2010"/>
                    <a:pt x="4252" y="1864"/>
                    <a:pt x="4027" y="1765"/>
                  </a:cubicBezTo>
                  <a:lnTo>
                    <a:pt x="4094" y="1427"/>
                  </a:lnTo>
                  <a:close/>
                  <a:moveTo>
                    <a:pt x="3855" y="1861"/>
                  </a:moveTo>
                  <a:cubicBezTo>
                    <a:pt x="4084" y="1936"/>
                    <a:pt x="4343" y="2117"/>
                    <a:pt x="4401" y="2160"/>
                  </a:cubicBezTo>
                  <a:cubicBezTo>
                    <a:pt x="4410" y="2166"/>
                    <a:pt x="4414" y="2169"/>
                    <a:pt x="4414" y="2169"/>
                  </a:cubicBezTo>
                  <a:cubicBezTo>
                    <a:pt x="4422" y="2175"/>
                    <a:pt x="4422" y="2175"/>
                    <a:pt x="4422" y="2175"/>
                  </a:cubicBezTo>
                  <a:cubicBezTo>
                    <a:pt x="5277" y="2529"/>
                    <a:pt x="5277" y="2529"/>
                    <a:pt x="5277" y="2529"/>
                  </a:cubicBezTo>
                  <a:cubicBezTo>
                    <a:pt x="5274" y="2539"/>
                    <a:pt x="5271" y="2551"/>
                    <a:pt x="5267" y="2563"/>
                  </a:cubicBezTo>
                  <a:cubicBezTo>
                    <a:pt x="5253" y="2612"/>
                    <a:pt x="5234" y="2674"/>
                    <a:pt x="5214" y="2735"/>
                  </a:cubicBezTo>
                  <a:cubicBezTo>
                    <a:pt x="5176" y="2858"/>
                    <a:pt x="5137" y="2976"/>
                    <a:pt x="5137" y="2976"/>
                  </a:cubicBezTo>
                  <a:cubicBezTo>
                    <a:pt x="5136" y="2982"/>
                    <a:pt x="5136" y="2982"/>
                    <a:pt x="5136" y="2982"/>
                  </a:cubicBezTo>
                  <a:cubicBezTo>
                    <a:pt x="5144" y="3357"/>
                    <a:pt x="5144" y="3357"/>
                    <a:pt x="5144" y="3357"/>
                  </a:cubicBezTo>
                  <a:cubicBezTo>
                    <a:pt x="4989" y="3717"/>
                    <a:pt x="4989" y="3717"/>
                    <a:pt x="4989" y="3717"/>
                  </a:cubicBezTo>
                  <a:cubicBezTo>
                    <a:pt x="4912" y="3695"/>
                    <a:pt x="4836" y="3674"/>
                    <a:pt x="4765" y="3656"/>
                  </a:cubicBezTo>
                  <a:cubicBezTo>
                    <a:pt x="4566" y="3604"/>
                    <a:pt x="4268" y="3499"/>
                    <a:pt x="3948" y="3381"/>
                  </a:cubicBezTo>
                  <a:cubicBezTo>
                    <a:pt x="3790" y="3322"/>
                    <a:pt x="3612" y="3246"/>
                    <a:pt x="3462" y="3180"/>
                  </a:cubicBezTo>
                  <a:cubicBezTo>
                    <a:pt x="3370" y="3140"/>
                    <a:pt x="3289" y="3105"/>
                    <a:pt x="3227" y="3080"/>
                  </a:cubicBezTo>
                  <a:cubicBezTo>
                    <a:pt x="3645" y="1790"/>
                    <a:pt x="3645" y="1790"/>
                    <a:pt x="3645" y="1790"/>
                  </a:cubicBezTo>
                  <a:cubicBezTo>
                    <a:pt x="3727" y="1818"/>
                    <a:pt x="3801" y="1843"/>
                    <a:pt x="3855" y="1861"/>
                  </a:cubicBezTo>
                  <a:close/>
                  <a:moveTo>
                    <a:pt x="1187" y="3995"/>
                  </a:moveTo>
                  <a:cubicBezTo>
                    <a:pt x="1116" y="3905"/>
                    <a:pt x="1023" y="3785"/>
                    <a:pt x="930" y="3665"/>
                  </a:cubicBezTo>
                  <a:cubicBezTo>
                    <a:pt x="781" y="3472"/>
                    <a:pt x="634" y="3279"/>
                    <a:pt x="582" y="3211"/>
                  </a:cubicBezTo>
                  <a:cubicBezTo>
                    <a:pt x="1286" y="2458"/>
                    <a:pt x="1286" y="2458"/>
                    <a:pt x="1286" y="2458"/>
                  </a:cubicBezTo>
                  <a:cubicBezTo>
                    <a:pt x="1297" y="2449"/>
                    <a:pt x="1361" y="2392"/>
                    <a:pt x="1458" y="2309"/>
                  </a:cubicBezTo>
                  <a:cubicBezTo>
                    <a:pt x="1562" y="2218"/>
                    <a:pt x="1704" y="2096"/>
                    <a:pt x="1850" y="1968"/>
                  </a:cubicBezTo>
                  <a:cubicBezTo>
                    <a:pt x="2144" y="1714"/>
                    <a:pt x="2460" y="1442"/>
                    <a:pt x="2548" y="1369"/>
                  </a:cubicBezTo>
                  <a:cubicBezTo>
                    <a:pt x="2553" y="1366"/>
                    <a:pt x="2556" y="1363"/>
                    <a:pt x="2559" y="1361"/>
                  </a:cubicBezTo>
                  <a:cubicBezTo>
                    <a:pt x="2582" y="1384"/>
                    <a:pt x="2607" y="1403"/>
                    <a:pt x="2631" y="1417"/>
                  </a:cubicBezTo>
                  <a:cubicBezTo>
                    <a:pt x="2674" y="1443"/>
                    <a:pt x="2717" y="1459"/>
                    <a:pt x="2747" y="1470"/>
                  </a:cubicBezTo>
                  <a:cubicBezTo>
                    <a:pt x="2792" y="1487"/>
                    <a:pt x="3244" y="1650"/>
                    <a:pt x="3583" y="1768"/>
                  </a:cubicBezTo>
                  <a:cubicBezTo>
                    <a:pt x="3166" y="3057"/>
                    <a:pt x="3166" y="3057"/>
                    <a:pt x="3166" y="3057"/>
                  </a:cubicBezTo>
                  <a:cubicBezTo>
                    <a:pt x="3154" y="3053"/>
                    <a:pt x="3143" y="3049"/>
                    <a:pt x="3134" y="3047"/>
                  </a:cubicBezTo>
                  <a:cubicBezTo>
                    <a:pt x="3091" y="3035"/>
                    <a:pt x="3024" y="3020"/>
                    <a:pt x="2944" y="3020"/>
                  </a:cubicBezTo>
                  <a:cubicBezTo>
                    <a:pt x="2833" y="3019"/>
                    <a:pt x="2695" y="3051"/>
                    <a:pt x="2562" y="3163"/>
                  </a:cubicBezTo>
                  <a:cubicBezTo>
                    <a:pt x="2482" y="3230"/>
                    <a:pt x="2369" y="3360"/>
                    <a:pt x="2212" y="3530"/>
                  </a:cubicBezTo>
                  <a:cubicBezTo>
                    <a:pt x="1949" y="3815"/>
                    <a:pt x="1636" y="4155"/>
                    <a:pt x="1569" y="4225"/>
                  </a:cubicBezTo>
                  <a:cubicBezTo>
                    <a:pt x="1497" y="4199"/>
                    <a:pt x="1370" y="4154"/>
                    <a:pt x="1316" y="4138"/>
                  </a:cubicBezTo>
                  <a:cubicBezTo>
                    <a:pt x="1309" y="4137"/>
                    <a:pt x="1305" y="4135"/>
                    <a:pt x="1300" y="4134"/>
                  </a:cubicBezTo>
                  <a:cubicBezTo>
                    <a:pt x="1300" y="4134"/>
                    <a:pt x="1299" y="4133"/>
                    <a:pt x="1299" y="4133"/>
                  </a:cubicBezTo>
                  <a:cubicBezTo>
                    <a:pt x="1293" y="4126"/>
                    <a:pt x="1284" y="4116"/>
                    <a:pt x="1274" y="4103"/>
                  </a:cubicBezTo>
                  <a:cubicBezTo>
                    <a:pt x="1252" y="4077"/>
                    <a:pt x="1223" y="4040"/>
                    <a:pt x="1187" y="3995"/>
                  </a:cubicBezTo>
                  <a:close/>
                  <a:moveTo>
                    <a:pt x="1321" y="4209"/>
                  </a:moveTo>
                  <a:cubicBezTo>
                    <a:pt x="1326" y="4210"/>
                    <a:pt x="1331" y="4212"/>
                    <a:pt x="1337" y="4213"/>
                  </a:cubicBezTo>
                  <a:cubicBezTo>
                    <a:pt x="1368" y="4224"/>
                    <a:pt x="1407" y="4237"/>
                    <a:pt x="1446" y="4251"/>
                  </a:cubicBezTo>
                  <a:cubicBezTo>
                    <a:pt x="1501" y="4270"/>
                    <a:pt x="1553" y="4289"/>
                    <a:pt x="1580" y="4299"/>
                  </a:cubicBezTo>
                  <a:cubicBezTo>
                    <a:pt x="1577" y="4305"/>
                    <a:pt x="1574" y="4312"/>
                    <a:pt x="1570" y="4321"/>
                  </a:cubicBezTo>
                  <a:cubicBezTo>
                    <a:pt x="1561" y="4344"/>
                    <a:pt x="1549" y="4374"/>
                    <a:pt x="1537" y="4403"/>
                  </a:cubicBezTo>
                  <a:cubicBezTo>
                    <a:pt x="1521" y="4443"/>
                    <a:pt x="1506" y="4482"/>
                    <a:pt x="1498" y="4504"/>
                  </a:cubicBezTo>
                  <a:cubicBezTo>
                    <a:pt x="1240" y="4357"/>
                    <a:pt x="1240" y="4357"/>
                    <a:pt x="1240" y="4357"/>
                  </a:cubicBezTo>
                  <a:lnTo>
                    <a:pt x="1321" y="4209"/>
                  </a:lnTo>
                  <a:close/>
                  <a:moveTo>
                    <a:pt x="1234" y="4369"/>
                  </a:moveTo>
                  <a:cubicBezTo>
                    <a:pt x="1493" y="4517"/>
                    <a:pt x="1493" y="4517"/>
                    <a:pt x="1493" y="4517"/>
                  </a:cubicBezTo>
                  <a:cubicBezTo>
                    <a:pt x="1491" y="4520"/>
                    <a:pt x="1491" y="4522"/>
                    <a:pt x="1491" y="4522"/>
                  </a:cubicBezTo>
                  <a:cubicBezTo>
                    <a:pt x="1504" y="4527"/>
                    <a:pt x="1504" y="4527"/>
                    <a:pt x="1504" y="4527"/>
                  </a:cubicBezTo>
                  <a:cubicBezTo>
                    <a:pt x="1504" y="4527"/>
                    <a:pt x="1504" y="4526"/>
                    <a:pt x="1505" y="4524"/>
                  </a:cubicBezTo>
                  <a:cubicBezTo>
                    <a:pt x="1780" y="4681"/>
                    <a:pt x="1780" y="4681"/>
                    <a:pt x="1780" y="4681"/>
                  </a:cubicBezTo>
                  <a:cubicBezTo>
                    <a:pt x="1751" y="4818"/>
                    <a:pt x="1751" y="4818"/>
                    <a:pt x="1751" y="4818"/>
                  </a:cubicBezTo>
                  <a:cubicBezTo>
                    <a:pt x="1345" y="4586"/>
                    <a:pt x="1345" y="4586"/>
                    <a:pt x="1345" y="4586"/>
                  </a:cubicBezTo>
                  <a:cubicBezTo>
                    <a:pt x="1395" y="4494"/>
                    <a:pt x="1395" y="4494"/>
                    <a:pt x="1395" y="4494"/>
                  </a:cubicBezTo>
                  <a:cubicBezTo>
                    <a:pt x="1398" y="4488"/>
                    <a:pt x="1398" y="4488"/>
                    <a:pt x="1398" y="4488"/>
                  </a:cubicBezTo>
                  <a:cubicBezTo>
                    <a:pt x="1260" y="4413"/>
                    <a:pt x="1260" y="4413"/>
                    <a:pt x="1260" y="4413"/>
                  </a:cubicBezTo>
                  <a:cubicBezTo>
                    <a:pt x="1209" y="4508"/>
                    <a:pt x="1209" y="4508"/>
                    <a:pt x="1209" y="4508"/>
                  </a:cubicBezTo>
                  <a:cubicBezTo>
                    <a:pt x="1170" y="4486"/>
                    <a:pt x="1170" y="4486"/>
                    <a:pt x="1170" y="4486"/>
                  </a:cubicBezTo>
                  <a:lnTo>
                    <a:pt x="1234" y="4369"/>
                  </a:lnTo>
                  <a:close/>
                  <a:moveTo>
                    <a:pt x="1163" y="4498"/>
                  </a:moveTo>
                  <a:cubicBezTo>
                    <a:pt x="1202" y="4520"/>
                    <a:pt x="1202" y="4520"/>
                    <a:pt x="1202" y="4520"/>
                  </a:cubicBezTo>
                  <a:cubicBezTo>
                    <a:pt x="1150" y="4616"/>
                    <a:pt x="1150" y="4616"/>
                    <a:pt x="1150" y="4616"/>
                  </a:cubicBezTo>
                  <a:cubicBezTo>
                    <a:pt x="1111" y="4594"/>
                    <a:pt x="1111" y="4594"/>
                    <a:pt x="1111" y="4594"/>
                  </a:cubicBezTo>
                  <a:lnTo>
                    <a:pt x="1163" y="4498"/>
                  </a:lnTo>
                  <a:close/>
                  <a:moveTo>
                    <a:pt x="1104" y="4606"/>
                  </a:moveTo>
                  <a:cubicBezTo>
                    <a:pt x="1143" y="4628"/>
                    <a:pt x="1143" y="4628"/>
                    <a:pt x="1143" y="4628"/>
                  </a:cubicBezTo>
                  <a:cubicBezTo>
                    <a:pt x="1096" y="4715"/>
                    <a:pt x="1096" y="4715"/>
                    <a:pt x="1096" y="4715"/>
                  </a:cubicBezTo>
                  <a:cubicBezTo>
                    <a:pt x="1057" y="4693"/>
                    <a:pt x="1057" y="4693"/>
                    <a:pt x="1057" y="4693"/>
                  </a:cubicBezTo>
                  <a:lnTo>
                    <a:pt x="1104" y="4606"/>
                  </a:lnTo>
                  <a:close/>
                  <a:moveTo>
                    <a:pt x="1050" y="4705"/>
                  </a:moveTo>
                  <a:cubicBezTo>
                    <a:pt x="1089" y="4728"/>
                    <a:pt x="1089" y="4728"/>
                    <a:pt x="1089" y="4728"/>
                  </a:cubicBezTo>
                  <a:cubicBezTo>
                    <a:pt x="1038" y="4821"/>
                    <a:pt x="1038" y="4821"/>
                    <a:pt x="1038" y="4821"/>
                  </a:cubicBezTo>
                  <a:cubicBezTo>
                    <a:pt x="999" y="4798"/>
                    <a:pt x="999" y="4798"/>
                    <a:pt x="999" y="4798"/>
                  </a:cubicBezTo>
                  <a:lnTo>
                    <a:pt x="1050" y="4705"/>
                  </a:lnTo>
                  <a:close/>
                  <a:moveTo>
                    <a:pt x="993" y="4810"/>
                  </a:moveTo>
                  <a:cubicBezTo>
                    <a:pt x="1032" y="4833"/>
                    <a:pt x="1032" y="4833"/>
                    <a:pt x="1032" y="4833"/>
                  </a:cubicBezTo>
                  <a:cubicBezTo>
                    <a:pt x="973" y="4940"/>
                    <a:pt x="973" y="4940"/>
                    <a:pt x="973" y="4940"/>
                  </a:cubicBezTo>
                  <a:cubicBezTo>
                    <a:pt x="934" y="4918"/>
                    <a:pt x="934" y="4918"/>
                    <a:pt x="934" y="4918"/>
                  </a:cubicBezTo>
                  <a:lnTo>
                    <a:pt x="993" y="4810"/>
                  </a:lnTo>
                  <a:close/>
                  <a:moveTo>
                    <a:pt x="927" y="4930"/>
                  </a:moveTo>
                  <a:cubicBezTo>
                    <a:pt x="967" y="4952"/>
                    <a:pt x="967" y="4952"/>
                    <a:pt x="967" y="4952"/>
                  </a:cubicBezTo>
                  <a:cubicBezTo>
                    <a:pt x="910" y="5057"/>
                    <a:pt x="910" y="5057"/>
                    <a:pt x="910" y="5057"/>
                  </a:cubicBezTo>
                  <a:cubicBezTo>
                    <a:pt x="870" y="5034"/>
                    <a:pt x="870" y="5034"/>
                    <a:pt x="870" y="5034"/>
                  </a:cubicBezTo>
                  <a:lnTo>
                    <a:pt x="927" y="4930"/>
                  </a:lnTo>
                  <a:close/>
                  <a:moveTo>
                    <a:pt x="864" y="5046"/>
                  </a:moveTo>
                  <a:cubicBezTo>
                    <a:pt x="903" y="5069"/>
                    <a:pt x="903" y="5069"/>
                    <a:pt x="903" y="5069"/>
                  </a:cubicBezTo>
                  <a:cubicBezTo>
                    <a:pt x="851" y="5165"/>
                    <a:pt x="851" y="5165"/>
                    <a:pt x="851" y="5165"/>
                  </a:cubicBezTo>
                  <a:cubicBezTo>
                    <a:pt x="811" y="5142"/>
                    <a:pt x="811" y="5142"/>
                    <a:pt x="811" y="5142"/>
                  </a:cubicBezTo>
                  <a:lnTo>
                    <a:pt x="864" y="5046"/>
                  </a:lnTo>
                  <a:close/>
                  <a:moveTo>
                    <a:pt x="805" y="5155"/>
                  </a:moveTo>
                  <a:cubicBezTo>
                    <a:pt x="844" y="5177"/>
                    <a:pt x="844" y="5177"/>
                    <a:pt x="844" y="5177"/>
                  </a:cubicBezTo>
                  <a:cubicBezTo>
                    <a:pt x="780" y="5295"/>
                    <a:pt x="780" y="5295"/>
                    <a:pt x="780" y="5295"/>
                  </a:cubicBezTo>
                  <a:cubicBezTo>
                    <a:pt x="740" y="5272"/>
                    <a:pt x="740" y="5272"/>
                    <a:pt x="740" y="5272"/>
                  </a:cubicBezTo>
                  <a:lnTo>
                    <a:pt x="805" y="5155"/>
                  </a:lnTo>
                  <a:close/>
                  <a:moveTo>
                    <a:pt x="734" y="5285"/>
                  </a:moveTo>
                  <a:cubicBezTo>
                    <a:pt x="773" y="5307"/>
                    <a:pt x="773" y="5307"/>
                    <a:pt x="773" y="5307"/>
                  </a:cubicBezTo>
                  <a:cubicBezTo>
                    <a:pt x="721" y="5403"/>
                    <a:pt x="721" y="5403"/>
                    <a:pt x="721" y="5403"/>
                  </a:cubicBezTo>
                  <a:cubicBezTo>
                    <a:pt x="681" y="5380"/>
                    <a:pt x="681" y="5380"/>
                    <a:pt x="681" y="5380"/>
                  </a:cubicBezTo>
                  <a:lnTo>
                    <a:pt x="734" y="5285"/>
                  </a:lnTo>
                  <a:close/>
                  <a:moveTo>
                    <a:pt x="675" y="5392"/>
                  </a:moveTo>
                  <a:cubicBezTo>
                    <a:pt x="715" y="5415"/>
                    <a:pt x="715" y="5415"/>
                    <a:pt x="715" y="5415"/>
                  </a:cubicBezTo>
                  <a:cubicBezTo>
                    <a:pt x="657" y="5522"/>
                    <a:pt x="657" y="5522"/>
                    <a:pt x="657" y="5522"/>
                  </a:cubicBezTo>
                  <a:cubicBezTo>
                    <a:pt x="617" y="5499"/>
                    <a:pt x="617" y="5499"/>
                    <a:pt x="617" y="5499"/>
                  </a:cubicBezTo>
                  <a:lnTo>
                    <a:pt x="675" y="5392"/>
                  </a:lnTo>
                  <a:close/>
                  <a:moveTo>
                    <a:pt x="610" y="5511"/>
                  </a:moveTo>
                  <a:cubicBezTo>
                    <a:pt x="650" y="5534"/>
                    <a:pt x="650" y="5534"/>
                    <a:pt x="650" y="5534"/>
                  </a:cubicBezTo>
                  <a:cubicBezTo>
                    <a:pt x="600" y="5627"/>
                    <a:pt x="600" y="5627"/>
                    <a:pt x="600" y="5627"/>
                  </a:cubicBezTo>
                  <a:cubicBezTo>
                    <a:pt x="559" y="5604"/>
                    <a:pt x="559" y="5604"/>
                    <a:pt x="559" y="5604"/>
                  </a:cubicBezTo>
                  <a:lnTo>
                    <a:pt x="610" y="5511"/>
                  </a:lnTo>
                  <a:close/>
                  <a:moveTo>
                    <a:pt x="552" y="5616"/>
                  </a:moveTo>
                  <a:cubicBezTo>
                    <a:pt x="593" y="5639"/>
                    <a:pt x="593" y="5639"/>
                    <a:pt x="593" y="5639"/>
                  </a:cubicBezTo>
                  <a:cubicBezTo>
                    <a:pt x="535" y="5746"/>
                    <a:pt x="535" y="5746"/>
                    <a:pt x="535" y="5746"/>
                  </a:cubicBezTo>
                  <a:cubicBezTo>
                    <a:pt x="494" y="5723"/>
                    <a:pt x="494" y="5723"/>
                    <a:pt x="494" y="5723"/>
                  </a:cubicBezTo>
                  <a:lnTo>
                    <a:pt x="552" y="5616"/>
                  </a:lnTo>
                  <a:close/>
                  <a:moveTo>
                    <a:pt x="487" y="5735"/>
                  </a:moveTo>
                  <a:cubicBezTo>
                    <a:pt x="528" y="5759"/>
                    <a:pt x="528" y="5759"/>
                    <a:pt x="528" y="5759"/>
                  </a:cubicBezTo>
                  <a:cubicBezTo>
                    <a:pt x="471" y="5863"/>
                    <a:pt x="471" y="5863"/>
                    <a:pt x="471" y="5863"/>
                  </a:cubicBezTo>
                  <a:cubicBezTo>
                    <a:pt x="430" y="5840"/>
                    <a:pt x="430" y="5840"/>
                    <a:pt x="430" y="5840"/>
                  </a:cubicBezTo>
                  <a:lnTo>
                    <a:pt x="487" y="5735"/>
                  </a:lnTo>
                  <a:close/>
                  <a:moveTo>
                    <a:pt x="424" y="5852"/>
                  </a:moveTo>
                  <a:cubicBezTo>
                    <a:pt x="464" y="5875"/>
                    <a:pt x="464" y="5875"/>
                    <a:pt x="464" y="5875"/>
                  </a:cubicBezTo>
                  <a:cubicBezTo>
                    <a:pt x="412" y="5971"/>
                    <a:pt x="412" y="5971"/>
                    <a:pt x="412" y="5971"/>
                  </a:cubicBezTo>
                  <a:cubicBezTo>
                    <a:pt x="371" y="5948"/>
                    <a:pt x="371" y="5948"/>
                    <a:pt x="371" y="5948"/>
                  </a:cubicBezTo>
                  <a:lnTo>
                    <a:pt x="424" y="5852"/>
                  </a:lnTo>
                  <a:close/>
                  <a:moveTo>
                    <a:pt x="365" y="5960"/>
                  </a:moveTo>
                  <a:cubicBezTo>
                    <a:pt x="406" y="5983"/>
                    <a:pt x="406" y="5983"/>
                    <a:pt x="406" y="5983"/>
                  </a:cubicBezTo>
                  <a:cubicBezTo>
                    <a:pt x="363" y="6062"/>
                    <a:pt x="363" y="6062"/>
                    <a:pt x="363" y="6062"/>
                  </a:cubicBezTo>
                  <a:cubicBezTo>
                    <a:pt x="501" y="6137"/>
                    <a:pt x="501" y="6137"/>
                    <a:pt x="501" y="6137"/>
                  </a:cubicBezTo>
                  <a:cubicBezTo>
                    <a:pt x="542" y="6061"/>
                    <a:pt x="542" y="6061"/>
                    <a:pt x="542" y="6061"/>
                  </a:cubicBezTo>
                  <a:cubicBezTo>
                    <a:pt x="889" y="6259"/>
                    <a:pt x="889" y="6259"/>
                    <a:pt x="889" y="6259"/>
                  </a:cubicBezTo>
                  <a:cubicBezTo>
                    <a:pt x="848" y="6359"/>
                    <a:pt x="848" y="6359"/>
                    <a:pt x="848" y="6359"/>
                  </a:cubicBezTo>
                  <a:cubicBezTo>
                    <a:pt x="313" y="6054"/>
                    <a:pt x="313" y="6054"/>
                    <a:pt x="313" y="6054"/>
                  </a:cubicBezTo>
                  <a:lnTo>
                    <a:pt x="365" y="5960"/>
                  </a:lnTo>
                  <a:close/>
                  <a:moveTo>
                    <a:pt x="221" y="6222"/>
                  </a:moveTo>
                  <a:cubicBezTo>
                    <a:pt x="307" y="6066"/>
                    <a:pt x="307" y="6066"/>
                    <a:pt x="307" y="6066"/>
                  </a:cubicBezTo>
                  <a:cubicBezTo>
                    <a:pt x="842" y="6372"/>
                    <a:pt x="842" y="6372"/>
                    <a:pt x="842" y="6372"/>
                  </a:cubicBezTo>
                  <a:cubicBezTo>
                    <a:pt x="839" y="6380"/>
                    <a:pt x="839" y="6380"/>
                    <a:pt x="839" y="6380"/>
                  </a:cubicBezTo>
                  <a:cubicBezTo>
                    <a:pt x="832" y="6388"/>
                    <a:pt x="776" y="6451"/>
                    <a:pt x="703" y="6533"/>
                  </a:cubicBezTo>
                  <a:cubicBezTo>
                    <a:pt x="541" y="6400"/>
                    <a:pt x="358" y="6286"/>
                    <a:pt x="221" y="6222"/>
                  </a:cubicBezTo>
                  <a:close/>
                  <a:moveTo>
                    <a:pt x="363" y="6928"/>
                  </a:moveTo>
                  <a:cubicBezTo>
                    <a:pt x="378" y="6913"/>
                    <a:pt x="398" y="6891"/>
                    <a:pt x="423" y="6864"/>
                  </a:cubicBezTo>
                  <a:cubicBezTo>
                    <a:pt x="472" y="6811"/>
                    <a:pt x="535" y="6741"/>
                    <a:pt x="599" y="6670"/>
                  </a:cubicBezTo>
                  <a:cubicBezTo>
                    <a:pt x="623" y="6643"/>
                    <a:pt x="647" y="6617"/>
                    <a:pt x="670" y="6591"/>
                  </a:cubicBezTo>
                  <a:cubicBezTo>
                    <a:pt x="696" y="6612"/>
                    <a:pt x="722" y="6634"/>
                    <a:pt x="746" y="6657"/>
                  </a:cubicBezTo>
                  <a:cubicBezTo>
                    <a:pt x="907" y="6805"/>
                    <a:pt x="1013" y="6971"/>
                    <a:pt x="1056" y="7044"/>
                  </a:cubicBezTo>
                  <a:cubicBezTo>
                    <a:pt x="1062" y="7054"/>
                    <a:pt x="1066" y="7063"/>
                    <a:pt x="1070" y="7069"/>
                  </a:cubicBezTo>
                  <a:cubicBezTo>
                    <a:pt x="1010" y="7231"/>
                    <a:pt x="1010" y="7231"/>
                    <a:pt x="1010" y="7231"/>
                  </a:cubicBezTo>
                  <a:cubicBezTo>
                    <a:pt x="926" y="7435"/>
                    <a:pt x="926" y="7435"/>
                    <a:pt x="926" y="7435"/>
                  </a:cubicBezTo>
                  <a:cubicBezTo>
                    <a:pt x="837" y="7356"/>
                    <a:pt x="423" y="6992"/>
                    <a:pt x="354" y="6937"/>
                  </a:cubicBezTo>
                  <a:cubicBezTo>
                    <a:pt x="357" y="6934"/>
                    <a:pt x="359" y="6931"/>
                    <a:pt x="363" y="6928"/>
                  </a:cubicBezTo>
                  <a:close/>
                  <a:moveTo>
                    <a:pt x="203" y="7248"/>
                  </a:moveTo>
                  <a:cubicBezTo>
                    <a:pt x="205" y="7245"/>
                    <a:pt x="206" y="7242"/>
                    <a:pt x="208" y="7239"/>
                  </a:cubicBezTo>
                  <a:cubicBezTo>
                    <a:pt x="216" y="7222"/>
                    <a:pt x="226" y="7198"/>
                    <a:pt x="237" y="7171"/>
                  </a:cubicBezTo>
                  <a:cubicBezTo>
                    <a:pt x="260" y="7118"/>
                    <a:pt x="287" y="7054"/>
                    <a:pt x="307" y="7008"/>
                  </a:cubicBezTo>
                  <a:cubicBezTo>
                    <a:pt x="319" y="6980"/>
                    <a:pt x="330" y="6958"/>
                    <a:pt x="334" y="6954"/>
                  </a:cubicBezTo>
                  <a:cubicBezTo>
                    <a:pt x="337" y="6953"/>
                    <a:pt x="337" y="6952"/>
                    <a:pt x="338" y="6951"/>
                  </a:cubicBezTo>
                  <a:cubicBezTo>
                    <a:pt x="340" y="6950"/>
                    <a:pt x="342" y="6949"/>
                    <a:pt x="344" y="6947"/>
                  </a:cubicBezTo>
                  <a:cubicBezTo>
                    <a:pt x="344" y="6947"/>
                    <a:pt x="344" y="6947"/>
                    <a:pt x="344" y="6947"/>
                  </a:cubicBezTo>
                  <a:cubicBezTo>
                    <a:pt x="349" y="6951"/>
                    <a:pt x="356" y="6956"/>
                    <a:pt x="364" y="6963"/>
                  </a:cubicBezTo>
                  <a:cubicBezTo>
                    <a:pt x="381" y="6978"/>
                    <a:pt x="405" y="6998"/>
                    <a:pt x="433" y="7022"/>
                  </a:cubicBezTo>
                  <a:cubicBezTo>
                    <a:pt x="487" y="7069"/>
                    <a:pt x="557" y="7130"/>
                    <a:pt x="628" y="7192"/>
                  </a:cubicBezTo>
                  <a:cubicBezTo>
                    <a:pt x="628" y="7192"/>
                    <a:pt x="627" y="7193"/>
                    <a:pt x="626" y="7193"/>
                  </a:cubicBezTo>
                  <a:cubicBezTo>
                    <a:pt x="623" y="7196"/>
                    <a:pt x="620" y="7199"/>
                    <a:pt x="616" y="7203"/>
                  </a:cubicBezTo>
                  <a:cubicBezTo>
                    <a:pt x="607" y="7211"/>
                    <a:pt x="595" y="7222"/>
                    <a:pt x="581" y="7236"/>
                  </a:cubicBezTo>
                  <a:cubicBezTo>
                    <a:pt x="554" y="7264"/>
                    <a:pt x="518" y="7300"/>
                    <a:pt x="482" y="7337"/>
                  </a:cubicBezTo>
                  <a:cubicBezTo>
                    <a:pt x="433" y="7388"/>
                    <a:pt x="384" y="7438"/>
                    <a:pt x="359" y="7464"/>
                  </a:cubicBezTo>
                  <a:lnTo>
                    <a:pt x="203" y="7248"/>
                  </a:lnTo>
                  <a:close/>
                  <a:moveTo>
                    <a:pt x="66" y="8067"/>
                  </a:moveTo>
                  <a:cubicBezTo>
                    <a:pt x="50" y="8057"/>
                    <a:pt x="34" y="8047"/>
                    <a:pt x="18" y="8037"/>
                  </a:cubicBezTo>
                  <a:cubicBezTo>
                    <a:pt x="36" y="7999"/>
                    <a:pt x="79" y="7908"/>
                    <a:pt x="107" y="7852"/>
                  </a:cubicBezTo>
                  <a:cubicBezTo>
                    <a:pt x="118" y="7832"/>
                    <a:pt x="127" y="7815"/>
                    <a:pt x="130" y="7811"/>
                  </a:cubicBezTo>
                  <a:cubicBezTo>
                    <a:pt x="145" y="7812"/>
                    <a:pt x="207" y="7819"/>
                    <a:pt x="216" y="7819"/>
                  </a:cubicBezTo>
                  <a:cubicBezTo>
                    <a:pt x="222" y="7818"/>
                    <a:pt x="222" y="7817"/>
                    <a:pt x="223" y="7816"/>
                  </a:cubicBezTo>
                  <a:cubicBezTo>
                    <a:pt x="224" y="7815"/>
                    <a:pt x="224" y="7813"/>
                    <a:pt x="225" y="7812"/>
                  </a:cubicBezTo>
                  <a:cubicBezTo>
                    <a:pt x="227" y="7809"/>
                    <a:pt x="228" y="7806"/>
                    <a:pt x="231" y="7801"/>
                  </a:cubicBezTo>
                  <a:cubicBezTo>
                    <a:pt x="235" y="7792"/>
                    <a:pt x="240" y="7779"/>
                    <a:pt x="247" y="7764"/>
                  </a:cubicBezTo>
                  <a:cubicBezTo>
                    <a:pt x="259" y="7734"/>
                    <a:pt x="275" y="7693"/>
                    <a:pt x="291" y="7652"/>
                  </a:cubicBezTo>
                  <a:cubicBezTo>
                    <a:pt x="311" y="7600"/>
                    <a:pt x="331" y="7549"/>
                    <a:pt x="342" y="7518"/>
                  </a:cubicBezTo>
                  <a:cubicBezTo>
                    <a:pt x="583" y="7853"/>
                    <a:pt x="583" y="7853"/>
                    <a:pt x="583" y="7853"/>
                  </a:cubicBezTo>
                  <a:cubicBezTo>
                    <a:pt x="252" y="8205"/>
                    <a:pt x="252" y="8205"/>
                    <a:pt x="252" y="8205"/>
                  </a:cubicBezTo>
                  <a:cubicBezTo>
                    <a:pt x="252" y="8205"/>
                    <a:pt x="252" y="8206"/>
                    <a:pt x="251" y="8206"/>
                  </a:cubicBezTo>
                  <a:cubicBezTo>
                    <a:pt x="221" y="8180"/>
                    <a:pt x="153" y="8123"/>
                    <a:pt x="66" y="8067"/>
                  </a:cubicBezTo>
                  <a:close/>
                  <a:moveTo>
                    <a:pt x="206" y="8501"/>
                  </a:moveTo>
                  <a:cubicBezTo>
                    <a:pt x="200" y="8507"/>
                    <a:pt x="200" y="8507"/>
                    <a:pt x="200" y="8507"/>
                  </a:cubicBezTo>
                  <a:cubicBezTo>
                    <a:pt x="243" y="8461"/>
                    <a:pt x="243" y="8461"/>
                    <a:pt x="243" y="8461"/>
                  </a:cubicBezTo>
                  <a:cubicBezTo>
                    <a:pt x="165" y="8378"/>
                    <a:pt x="165" y="8378"/>
                    <a:pt x="165" y="8378"/>
                  </a:cubicBezTo>
                  <a:cubicBezTo>
                    <a:pt x="228" y="8330"/>
                    <a:pt x="269" y="8281"/>
                    <a:pt x="300" y="8250"/>
                  </a:cubicBezTo>
                  <a:cubicBezTo>
                    <a:pt x="480" y="8058"/>
                    <a:pt x="480" y="8058"/>
                    <a:pt x="480" y="8058"/>
                  </a:cubicBezTo>
                  <a:cubicBezTo>
                    <a:pt x="700" y="8319"/>
                    <a:pt x="700" y="8319"/>
                    <a:pt x="700" y="8319"/>
                  </a:cubicBezTo>
                  <a:cubicBezTo>
                    <a:pt x="330" y="8627"/>
                    <a:pt x="330" y="8627"/>
                    <a:pt x="330" y="8627"/>
                  </a:cubicBezTo>
                  <a:lnTo>
                    <a:pt x="206" y="8501"/>
                  </a:lnTo>
                  <a:close/>
                  <a:moveTo>
                    <a:pt x="156" y="8857"/>
                  </a:moveTo>
                  <a:cubicBezTo>
                    <a:pt x="399" y="8654"/>
                    <a:pt x="399" y="8654"/>
                    <a:pt x="399" y="8654"/>
                  </a:cubicBezTo>
                  <a:cubicBezTo>
                    <a:pt x="436" y="8691"/>
                    <a:pt x="506" y="8760"/>
                    <a:pt x="535" y="8787"/>
                  </a:cubicBezTo>
                  <a:cubicBezTo>
                    <a:pt x="534" y="8789"/>
                    <a:pt x="535" y="8789"/>
                    <a:pt x="534" y="8791"/>
                  </a:cubicBezTo>
                  <a:cubicBezTo>
                    <a:pt x="534" y="8793"/>
                    <a:pt x="534" y="8795"/>
                    <a:pt x="534" y="8797"/>
                  </a:cubicBezTo>
                  <a:cubicBezTo>
                    <a:pt x="534" y="8823"/>
                    <a:pt x="537" y="8897"/>
                    <a:pt x="537" y="8917"/>
                  </a:cubicBezTo>
                  <a:cubicBezTo>
                    <a:pt x="342" y="9012"/>
                    <a:pt x="342" y="9012"/>
                    <a:pt x="342" y="9012"/>
                  </a:cubicBezTo>
                  <a:lnTo>
                    <a:pt x="156" y="8857"/>
                  </a:lnTo>
                  <a:close/>
                  <a:moveTo>
                    <a:pt x="346" y="9028"/>
                  </a:moveTo>
                  <a:cubicBezTo>
                    <a:pt x="544" y="8932"/>
                    <a:pt x="544" y="8932"/>
                    <a:pt x="544" y="8932"/>
                  </a:cubicBezTo>
                  <a:cubicBezTo>
                    <a:pt x="552" y="8940"/>
                    <a:pt x="573" y="8960"/>
                    <a:pt x="600" y="8985"/>
                  </a:cubicBezTo>
                  <a:cubicBezTo>
                    <a:pt x="597" y="8985"/>
                    <a:pt x="597" y="8985"/>
                    <a:pt x="597" y="8985"/>
                  </a:cubicBezTo>
                  <a:cubicBezTo>
                    <a:pt x="597" y="8985"/>
                    <a:pt x="597" y="8985"/>
                    <a:pt x="596" y="8985"/>
                  </a:cubicBezTo>
                  <a:cubicBezTo>
                    <a:pt x="596" y="8986"/>
                    <a:pt x="596" y="8987"/>
                    <a:pt x="596" y="8988"/>
                  </a:cubicBezTo>
                  <a:cubicBezTo>
                    <a:pt x="595" y="8991"/>
                    <a:pt x="594" y="8994"/>
                    <a:pt x="593" y="8999"/>
                  </a:cubicBezTo>
                  <a:cubicBezTo>
                    <a:pt x="591" y="9008"/>
                    <a:pt x="587" y="9021"/>
                    <a:pt x="583" y="9036"/>
                  </a:cubicBezTo>
                  <a:cubicBezTo>
                    <a:pt x="575" y="9067"/>
                    <a:pt x="564" y="9108"/>
                    <a:pt x="553" y="9148"/>
                  </a:cubicBezTo>
                  <a:cubicBezTo>
                    <a:pt x="540" y="9193"/>
                    <a:pt x="528" y="9236"/>
                    <a:pt x="520" y="9267"/>
                  </a:cubicBezTo>
                  <a:cubicBezTo>
                    <a:pt x="480" y="9254"/>
                    <a:pt x="409" y="9222"/>
                    <a:pt x="348" y="9221"/>
                  </a:cubicBezTo>
                  <a:cubicBezTo>
                    <a:pt x="346" y="9221"/>
                    <a:pt x="343" y="9221"/>
                    <a:pt x="341" y="9221"/>
                  </a:cubicBezTo>
                  <a:cubicBezTo>
                    <a:pt x="304" y="9223"/>
                    <a:pt x="278" y="9232"/>
                    <a:pt x="258" y="9240"/>
                  </a:cubicBezTo>
                  <a:lnTo>
                    <a:pt x="346" y="9028"/>
                  </a:lnTo>
                  <a:close/>
                  <a:moveTo>
                    <a:pt x="216" y="9806"/>
                  </a:moveTo>
                  <a:cubicBezTo>
                    <a:pt x="187" y="9823"/>
                    <a:pt x="156" y="9840"/>
                    <a:pt x="145" y="9845"/>
                  </a:cubicBezTo>
                  <a:cubicBezTo>
                    <a:pt x="145" y="9844"/>
                    <a:pt x="144" y="9843"/>
                    <a:pt x="143" y="9843"/>
                  </a:cubicBezTo>
                  <a:cubicBezTo>
                    <a:pt x="140" y="9840"/>
                    <a:pt x="135" y="9835"/>
                    <a:pt x="130" y="9830"/>
                  </a:cubicBezTo>
                  <a:cubicBezTo>
                    <a:pt x="118" y="9820"/>
                    <a:pt x="103" y="9806"/>
                    <a:pt x="88" y="9791"/>
                  </a:cubicBezTo>
                  <a:cubicBezTo>
                    <a:pt x="58" y="9763"/>
                    <a:pt x="28" y="9734"/>
                    <a:pt x="17" y="9726"/>
                  </a:cubicBezTo>
                  <a:cubicBezTo>
                    <a:pt x="18" y="9713"/>
                    <a:pt x="26" y="9669"/>
                    <a:pt x="33" y="9629"/>
                  </a:cubicBezTo>
                  <a:cubicBezTo>
                    <a:pt x="40" y="9594"/>
                    <a:pt x="46" y="9560"/>
                    <a:pt x="48" y="9547"/>
                  </a:cubicBezTo>
                  <a:cubicBezTo>
                    <a:pt x="139" y="9523"/>
                    <a:pt x="139" y="9523"/>
                    <a:pt x="139" y="9523"/>
                  </a:cubicBezTo>
                  <a:cubicBezTo>
                    <a:pt x="273" y="9774"/>
                    <a:pt x="273" y="9774"/>
                    <a:pt x="273" y="9774"/>
                  </a:cubicBezTo>
                  <a:cubicBezTo>
                    <a:pt x="262" y="9780"/>
                    <a:pt x="239" y="9793"/>
                    <a:pt x="216" y="9806"/>
                  </a:cubicBezTo>
                  <a:close/>
                  <a:moveTo>
                    <a:pt x="131" y="9370"/>
                  </a:moveTo>
                  <a:cubicBezTo>
                    <a:pt x="142" y="9365"/>
                    <a:pt x="155" y="9359"/>
                    <a:pt x="169" y="9353"/>
                  </a:cubicBezTo>
                  <a:cubicBezTo>
                    <a:pt x="202" y="9337"/>
                    <a:pt x="241" y="9320"/>
                    <a:pt x="250" y="9317"/>
                  </a:cubicBezTo>
                  <a:cubicBezTo>
                    <a:pt x="282" y="9306"/>
                    <a:pt x="299" y="9293"/>
                    <a:pt x="345" y="9290"/>
                  </a:cubicBezTo>
                  <a:cubicBezTo>
                    <a:pt x="346" y="9290"/>
                    <a:pt x="347" y="9290"/>
                    <a:pt x="348" y="9290"/>
                  </a:cubicBezTo>
                  <a:cubicBezTo>
                    <a:pt x="386" y="9289"/>
                    <a:pt x="457" y="9318"/>
                    <a:pt x="500" y="9333"/>
                  </a:cubicBezTo>
                  <a:cubicBezTo>
                    <a:pt x="483" y="9385"/>
                    <a:pt x="443" y="9505"/>
                    <a:pt x="442" y="9509"/>
                  </a:cubicBezTo>
                  <a:cubicBezTo>
                    <a:pt x="442" y="9510"/>
                    <a:pt x="442" y="9510"/>
                    <a:pt x="442" y="9510"/>
                  </a:cubicBezTo>
                  <a:cubicBezTo>
                    <a:pt x="442" y="9511"/>
                    <a:pt x="442" y="9511"/>
                    <a:pt x="442" y="9511"/>
                  </a:cubicBezTo>
                  <a:cubicBezTo>
                    <a:pt x="442" y="9511"/>
                    <a:pt x="442" y="9511"/>
                    <a:pt x="442" y="9511"/>
                  </a:cubicBezTo>
                  <a:cubicBezTo>
                    <a:pt x="442" y="9517"/>
                    <a:pt x="444" y="9520"/>
                    <a:pt x="448" y="9531"/>
                  </a:cubicBezTo>
                  <a:cubicBezTo>
                    <a:pt x="451" y="9542"/>
                    <a:pt x="456" y="9556"/>
                    <a:pt x="462" y="9573"/>
                  </a:cubicBezTo>
                  <a:cubicBezTo>
                    <a:pt x="474" y="9607"/>
                    <a:pt x="489" y="9651"/>
                    <a:pt x="505" y="9695"/>
                  </a:cubicBezTo>
                  <a:cubicBezTo>
                    <a:pt x="528" y="9759"/>
                    <a:pt x="550" y="9822"/>
                    <a:pt x="561" y="9852"/>
                  </a:cubicBezTo>
                  <a:cubicBezTo>
                    <a:pt x="441" y="9917"/>
                    <a:pt x="441" y="9917"/>
                    <a:pt x="441" y="9917"/>
                  </a:cubicBezTo>
                  <a:cubicBezTo>
                    <a:pt x="439" y="9918"/>
                    <a:pt x="435" y="9919"/>
                    <a:pt x="430" y="9921"/>
                  </a:cubicBezTo>
                  <a:lnTo>
                    <a:pt x="131" y="9370"/>
                  </a:lnTo>
                  <a:close/>
                  <a:moveTo>
                    <a:pt x="475" y="10090"/>
                  </a:moveTo>
                  <a:cubicBezTo>
                    <a:pt x="470" y="10088"/>
                    <a:pt x="464" y="10087"/>
                    <a:pt x="456" y="10085"/>
                  </a:cubicBezTo>
                  <a:cubicBezTo>
                    <a:pt x="459" y="10082"/>
                    <a:pt x="462" y="10080"/>
                    <a:pt x="466" y="10078"/>
                  </a:cubicBezTo>
                  <a:cubicBezTo>
                    <a:pt x="466" y="10078"/>
                    <a:pt x="467" y="10079"/>
                    <a:pt x="467" y="10080"/>
                  </a:cubicBezTo>
                  <a:cubicBezTo>
                    <a:pt x="468" y="10081"/>
                    <a:pt x="468" y="10081"/>
                    <a:pt x="468" y="10082"/>
                  </a:cubicBezTo>
                  <a:cubicBezTo>
                    <a:pt x="469" y="10083"/>
                    <a:pt x="469" y="10083"/>
                    <a:pt x="470" y="10084"/>
                  </a:cubicBezTo>
                  <a:cubicBezTo>
                    <a:pt x="471" y="10084"/>
                    <a:pt x="471" y="10085"/>
                    <a:pt x="472" y="10086"/>
                  </a:cubicBezTo>
                  <a:cubicBezTo>
                    <a:pt x="473" y="10087"/>
                    <a:pt x="474" y="10089"/>
                    <a:pt x="475" y="10090"/>
                  </a:cubicBezTo>
                  <a:close/>
                  <a:moveTo>
                    <a:pt x="470" y="10266"/>
                  </a:moveTo>
                  <a:cubicBezTo>
                    <a:pt x="465" y="10267"/>
                    <a:pt x="450" y="10272"/>
                    <a:pt x="433" y="10277"/>
                  </a:cubicBezTo>
                  <a:cubicBezTo>
                    <a:pt x="414" y="10283"/>
                    <a:pt x="391" y="10289"/>
                    <a:pt x="388" y="10289"/>
                  </a:cubicBezTo>
                  <a:cubicBezTo>
                    <a:pt x="387" y="10289"/>
                    <a:pt x="387" y="10289"/>
                    <a:pt x="387" y="10289"/>
                  </a:cubicBezTo>
                  <a:cubicBezTo>
                    <a:pt x="301" y="10304"/>
                    <a:pt x="301" y="10304"/>
                    <a:pt x="301" y="10304"/>
                  </a:cubicBezTo>
                  <a:cubicBezTo>
                    <a:pt x="282" y="10307"/>
                    <a:pt x="261" y="10310"/>
                    <a:pt x="239" y="10313"/>
                  </a:cubicBezTo>
                  <a:cubicBezTo>
                    <a:pt x="343" y="10201"/>
                    <a:pt x="426" y="10111"/>
                    <a:pt x="435" y="10102"/>
                  </a:cubicBezTo>
                  <a:cubicBezTo>
                    <a:pt x="436" y="10101"/>
                    <a:pt x="438" y="10099"/>
                    <a:pt x="440" y="10097"/>
                  </a:cubicBezTo>
                  <a:cubicBezTo>
                    <a:pt x="460" y="10103"/>
                    <a:pt x="474" y="10107"/>
                    <a:pt x="478" y="10108"/>
                  </a:cubicBezTo>
                  <a:cubicBezTo>
                    <a:pt x="481" y="10108"/>
                    <a:pt x="481" y="10108"/>
                    <a:pt x="481" y="10108"/>
                  </a:cubicBezTo>
                  <a:cubicBezTo>
                    <a:pt x="484" y="10107"/>
                    <a:pt x="484" y="10107"/>
                    <a:pt x="484" y="10107"/>
                  </a:cubicBezTo>
                  <a:cubicBezTo>
                    <a:pt x="486" y="10106"/>
                    <a:pt x="487" y="10106"/>
                    <a:pt x="488" y="10105"/>
                  </a:cubicBezTo>
                  <a:cubicBezTo>
                    <a:pt x="493" y="10111"/>
                    <a:pt x="499" y="10118"/>
                    <a:pt x="506" y="10127"/>
                  </a:cubicBezTo>
                  <a:cubicBezTo>
                    <a:pt x="523" y="10146"/>
                    <a:pt x="545" y="10172"/>
                    <a:pt x="571" y="10202"/>
                  </a:cubicBezTo>
                  <a:cubicBezTo>
                    <a:pt x="535" y="10223"/>
                    <a:pt x="506" y="10242"/>
                    <a:pt x="470" y="10266"/>
                  </a:cubicBezTo>
                  <a:close/>
                  <a:moveTo>
                    <a:pt x="549" y="10070"/>
                  </a:moveTo>
                  <a:cubicBezTo>
                    <a:pt x="600" y="10041"/>
                    <a:pt x="601" y="10041"/>
                    <a:pt x="608" y="10036"/>
                  </a:cubicBezTo>
                  <a:cubicBezTo>
                    <a:pt x="609" y="10036"/>
                    <a:pt x="609" y="10036"/>
                    <a:pt x="609" y="10036"/>
                  </a:cubicBezTo>
                  <a:cubicBezTo>
                    <a:pt x="609" y="10035"/>
                    <a:pt x="609" y="10035"/>
                    <a:pt x="609" y="10035"/>
                  </a:cubicBezTo>
                  <a:cubicBezTo>
                    <a:pt x="610" y="10035"/>
                    <a:pt x="1447" y="9593"/>
                    <a:pt x="2276" y="9146"/>
                  </a:cubicBezTo>
                  <a:cubicBezTo>
                    <a:pt x="2907" y="8805"/>
                    <a:pt x="3540" y="8455"/>
                    <a:pt x="3751" y="8346"/>
                  </a:cubicBezTo>
                  <a:cubicBezTo>
                    <a:pt x="3798" y="8460"/>
                    <a:pt x="3798" y="8460"/>
                    <a:pt x="3798" y="8460"/>
                  </a:cubicBezTo>
                  <a:cubicBezTo>
                    <a:pt x="3671" y="8525"/>
                    <a:pt x="3408" y="8663"/>
                    <a:pt x="3085" y="8834"/>
                  </a:cubicBezTo>
                  <a:cubicBezTo>
                    <a:pt x="3084" y="8832"/>
                    <a:pt x="3084" y="8832"/>
                    <a:pt x="3084" y="8832"/>
                  </a:cubicBezTo>
                  <a:cubicBezTo>
                    <a:pt x="3071" y="8838"/>
                    <a:pt x="3071" y="8838"/>
                    <a:pt x="3071" y="8838"/>
                  </a:cubicBezTo>
                  <a:cubicBezTo>
                    <a:pt x="3072" y="8840"/>
                    <a:pt x="3072" y="8840"/>
                    <a:pt x="3072" y="8840"/>
                  </a:cubicBezTo>
                  <a:cubicBezTo>
                    <a:pt x="2938" y="8911"/>
                    <a:pt x="2794" y="8988"/>
                    <a:pt x="2646" y="9067"/>
                  </a:cubicBezTo>
                  <a:cubicBezTo>
                    <a:pt x="2636" y="9055"/>
                    <a:pt x="2636" y="9055"/>
                    <a:pt x="2636" y="9055"/>
                  </a:cubicBezTo>
                  <a:cubicBezTo>
                    <a:pt x="2625" y="9063"/>
                    <a:pt x="2625" y="9063"/>
                    <a:pt x="2625" y="9063"/>
                  </a:cubicBezTo>
                  <a:cubicBezTo>
                    <a:pt x="2633" y="9074"/>
                    <a:pt x="2633" y="9074"/>
                    <a:pt x="2633" y="9074"/>
                  </a:cubicBezTo>
                  <a:cubicBezTo>
                    <a:pt x="2564" y="9111"/>
                    <a:pt x="2493" y="9149"/>
                    <a:pt x="2422" y="9187"/>
                  </a:cubicBezTo>
                  <a:cubicBezTo>
                    <a:pt x="2418" y="9177"/>
                    <a:pt x="2418" y="9177"/>
                    <a:pt x="2418" y="9177"/>
                  </a:cubicBezTo>
                  <a:cubicBezTo>
                    <a:pt x="2405" y="9182"/>
                    <a:pt x="2405" y="9182"/>
                    <a:pt x="2405" y="9182"/>
                  </a:cubicBezTo>
                  <a:cubicBezTo>
                    <a:pt x="2410" y="9194"/>
                    <a:pt x="2410" y="9194"/>
                    <a:pt x="2410" y="9194"/>
                  </a:cubicBezTo>
                  <a:cubicBezTo>
                    <a:pt x="2344" y="9229"/>
                    <a:pt x="2278" y="9265"/>
                    <a:pt x="2212" y="9300"/>
                  </a:cubicBezTo>
                  <a:cubicBezTo>
                    <a:pt x="2208" y="9300"/>
                    <a:pt x="2208" y="9300"/>
                    <a:pt x="2208" y="9300"/>
                  </a:cubicBezTo>
                  <a:cubicBezTo>
                    <a:pt x="2208" y="9300"/>
                    <a:pt x="2208" y="9301"/>
                    <a:pt x="2208" y="9302"/>
                  </a:cubicBezTo>
                  <a:cubicBezTo>
                    <a:pt x="2174" y="9321"/>
                    <a:pt x="2140" y="9339"/>
                    <a:pt x="2107" y="9357"/>
                  </a:cubicBezTo>
                  <a:cubicBezTo>
                    <a:pt x="2106" y="9357"/>
                    <a:pt x="2106" y="9357"/>
                    <a:pt x="2106" y="9357"/>
                  </a:cubicBezTo>
                  <a:cubicBezTo>
                    <a:pt x="2084" y="9378"/>
                    <a:pt x="2084" y="9378"/>
                    <a:pt x="2084" y="9378"/>
                  </a:cubicBezTo>
                  <a:cubicBezTo>
                    <a:pt x="1771" y="9547"/>
                    <a:pt x="1479" y="9704"/>
                    <a:pt x="1236" y="9836"/>
                  </a:cubicBezTo>
                  <a:cubicBezTo>
                    <a:pt x="1234" y="9834"/>
                    <a:pt x="1232" y="9833"/>
                    <a:pt x="1231" y="9832"/>
                  </a:cubicBezTo>
                  <a:cubicBezTo>
                    <a:pt x="1231" y="9832"/>
                    <a:pt x="1231" y="9831"/>
                    <a:pt x="1231" y="9831"/>
                  </a:cubicBezTo>
                  <a:cubicBezTo>
                    <a:pt x="1231" y="9831"/>
                    <a:pt x="1230" y="9830"/>
                    <a:pt x="1230" y="9830"/>
                  </a:cubicBezTo>
                  <a:cubicBezTo>
                    <a:pt x="1230" y="9830"/>
                    <a:pt x="1230" y="9829"/>
                    <a:pt x="1229" y="9829"/>
                  </a:cubicBezTo>
                  <a:cubicBezTo>
                    <a:pt x="1229" y="9829"/>
                    <a:pt x="1228" y="9828"/>
                    <a:pt x="1227" y="9828"/>
                  </a:cubicBezTo>
                  <a:cubicBezTo>
                    <a:pt x="1226" y="9828"/>
                    <a:pt x="1225"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3" y="9828"/>
                  </a:cubicBezTo>
                  <a:cubicBezTo>
                    <a:pt x="1222" y="9828"/>
                    <a:pt x="1221" y="9828"/>
                    <a:pt x="1220" y="9829"/>
                  </a:cubicBezTo>
                  <a:cubicBezTo>
                    <a:pt x="1218" y="9829"/>
                    <a:pt x="1216" y="9833"/>
                    <a:pt x="1216" y="9836"/>
                  </a:cubicBezTo>
                  <a:cubicBezTo>
                    <a:pt x="1217" y="9842"/>
                    <a:pt x="1218" y="9840"/>
                    <a:pt x="1218" y="9842"/>
                  </a:cubicBezTo>
                  <a:cubicBezTo>
                    <a:pt x="1219" y="9842"/>
                    <a:pt x="1219" y="9843"/>
                    <a:pt x="1220" y="9843"/>
                  </a:cubicBezTo>
                  <a:cubicBezTo>
                    <a:pt x="1220" y="9844"/>
                    <a:pt x="1220" y="9844"/>
                    <a:pt x="1221" y="9844"/>
                  </a:cubicBezTo>
                  <a:cubicBezTo>
                    <a:pt x="1182" y="9865"/>
                    <a:pt x="1143" y="9886"/>
                    <a:pt x="1107" y="9906"/>
                  </a:cubicBezTo>
                  <a:cubicBezTo>
                    <a:pt x="853" y="10043"/>
                    <a:pt x="683" y="10135"/>
                    <a:pt x="669" y="10143"/>
                  </a:cubicBezTo>
                  <a:cubicBezTo>
                    <a:pt x="665" y="10145"/>
                    <a:pt x="651" y="10153"/>
                    <a:pt x="631" y="10166"/>
                  </a:cubicBezTo>
                  <a:cubicBezTo>
                    <a:pt x="596" y="10125"/>
                    <a:pt x="567" y="10092"/>
                    <a:pt x="549" y="10070"/>
                  </a:cubicBezTo>
                  <a:close/>
                  <a:moveTo>
                    <a:pt x="638" y="10279"/>
                  </a:moveTo>
                  <a:cubicBezTo>
                    <a:pt x="712" y="10365"/>
                    <a:pt x="802" y="10470"/>
                    <a:pt x="893" y="10575"/>
                  </a:cubicBezTo>
                  <a:cubicBezTo>
                    <a:pt x="996" y="10693"/>
                    <a:pt x="1098" y="10811"/>
                    <a:pt x="1176" y="10902"/>
                  </a:cubicBezTo>
                  <a:cubicBezTo>
                    <a:pt x="1162" y="10910"/>
                    <a:pt x="1150" y="10918"/>
                    <a:pt x="1143" y="10925"/>
                  </a:cubicBezTo>
                  <a:cubicBezTo>
                    <a:pt x="1127" y="10942"/>
                    <a:pt x="1123" y="10964"/>
                    <a:pt x="1123" y="10983"/>
                  </a:cubicBezTo>
                  <a:cubicBezTo>
                    <a:pt x="1123" y="10997"/>
                    <a:pt x="1126" y="11010"/>
                    <a:pt x="1128" y="11020"/>
                  </a:cubicBezTo>
                  <a:cubicBezTo>
                    <a:pt x="1119" y="11022"/>
                    <a:pt x="1111" y="11025"/>
                    <a:pt x="1102" y="11029"/>
                  </a:cubicBezTo>
                  <a:cubicBezTo>
                    <a:pt x="975" y="11088"/>
                    <a:pt x="927" y="11145"/>
                    <a:pt x="926" y="11205"/>
                  </a:cubicBezTo>
                  <a:cubicBezTo>
                    <a:pt x="926" y="11206"/>
                    <a:pt x="926" y="11206"/>
                    <a:pt x="926" y="11206"/>
                  </a:cubicBezTo>
                  <a:cubicBezTo>
                    <a:pt x="926" y="11233"/>
                    <a:pt x="948" y="11273"/>
                    <a:pt x="969" y="11321"/>
                  </a:cubicBezTo>
                  <a:cubicBezTo>
                    <a:pt x="975" y="11335"/>
                    <a:pt x="981" y="11349"/>
                    <a:pt x="986" y="11363"/>
                  </a:cubicBezTo>
                  <a:cubicBezTo>
                    <a:pt x="986" y="11363"/>
                    <a:pt x="986" y="11363"/>
                    <a:pt x="986" y="11363"/>
                  </a:cubicBezTo>
                  <a:cubicBezTo>
                    <a:pt x="937" y="11333"/>
                    <a:pt x="835" y="11276"/>
                    <a:pt x="759" y="11227"/>
                  </a:cubicBezTo>
                  <a:cubicBezTo>
                    <a:pt x="922" y="11001"/>
                    <a:pt x="922" y="11001"/>
                    <a:pt x="922" y="11001"/>
                  </a:cubicBezTo>
                  <a:cubicBezTo>
                    <a:pt x="927" y="10997"/>
                    <a:pt x="945" y="10985"/>
                    <a:pt x="964" y="10972"/>
                  </a:cubicBezTo>
                  <a:cubicBezTo>
                    <a:pt x="984" y="10958"/>
                    <a:pt x="1007" y="10943"/>
                    <a:pt x="1012" y="10941"/>
                  </a:cubicBezTo>
                  <a:cubicBezTo>
                    <a:pt x="1015" y="10941"/>
                    <a:pt x="1015" y="10941"/>
                    <a:pt x="1016" y="10940"/>
                  </a:cubicBezTo>
                  <a:cubicBezTo>
                    <a:pt x="1017" y="10939"/>
                    <a:pt x="1020" y="10939"/>
                    <a:pt x="1020" y="10933"/>
                  </a:cubicBezTo>
                  <a:cubicBezTo>
                    <a:pt x="1020" y="10928"/>
                    <a:pt x="1020" y="10930"/>
                    <a:pt x="1019" y="10929"/>
                  </a:cubicBezTo>
                  <a:cubicBezTo>
                    <a:pt x="1019" y="10928"/>
                    <a:pt x="1019" y="10928"/>
                    <a:pt x="1018" y="10927"/>
                  </a:cubicBezTo>
                  <a:cubicBezTo>
                    <a:pt x="1018" y="10926"/>
                    <a:pt x="1017" y="10924"/>
                    <a:pt x="1016" y="10923"/>
                  </a:cubicBezTo>
                  <a:cubicBezTo>
                    <a:pt x="1013" y="10919"/>
                    <a:pt x="1010" y="10913"/>
                    <a:pt x="1006" y="10907"/>
                  </a:cubicBezTo>
                  <a:cubicBezTo>
                    <a:pt x="998" y="10893"/>
                    <a:pt x="986" y="10874"/>
                    <a:pt x="971" y="10851"/>
                  </a:cubicBezTo>
                  <a:cubicBezTo>
                    <a:pt x="942" y="10805"/>
                    <a:pt x="904" y="10744"/>
                    <a:pt x="865" y="10683"/>
                  </a:cubicBezTo>
                  <a:cubicBezTo>
                    <a:pt x="788" y="10562"/>
                    <a:pt x="711" y="10441"/>
                    <a:pt x="711" y="10441"/>
                  </a:cubicBezTo>
                  <a:cubicBezTo>
                    <a:pt x="707" y="10434"/>
                    <a:pt x="707" y="10434"/>
                    <a:pt x="707" y="10434"/>
                  </a:cubicBezTo>
                  <a:cubicBezTo>
                    <a:pt x="588" y="10502"/>
                    <a:pt x="588" y="10502"/>
                    <a:pt x="588" y="10502"/>
                  </a:cubicBezTo>
                  <a:cubicBezTo>
                    <a:pt x="499" y="10344"/>
                    <a:pt x="499" y="10344"/>
                    <a:pt x="499" y="10344"/>
                  </a:cubicBezTo>
                  <a:cubicBezTo>
                    <a:pt x="541" y="10323"/>
                    <a:pt x="590" y="10300"/>
                    <a:pt x="638" y="10279"/>
                  </a:cubicBezTo>
                  <a:close/>
                  <a:moveTo>
                    <a:pt x="746" y="11218"/>
                  </a:moveTo>
                  <a:cubicBezTo>
                    <a:pt x="697" y="11183"/>
                    <a:pt x="650" y="11125"/>
                    <a:pt x="632" y="11101"/>
                  </a:cubicBezTo>
                  <a:cubicBezTo>
                    <a:pt x="724" y="10990"/>
                    <a:pt x="724" y="10990"/>
                    <a:pt x="724" y="10990"/>
                  </a:cubicBezTo>
                  <a:cubicBezTo>
                    <a:pt x="630" y="10831"/>
                    <a:pt x="630" y="10831"/>
                    <a:pt x="630" y="10831"/>
                  </a:cubicBezTo>
                  <a:cubicBezTo>
                    <a:pt x="741" y="10776"/>
                    <a:pt x="741" y="10776"/>
                    <a:pt x="741" y="10776"/>
                  </a:cubicBezTo>
                  <a:cubicBezTo>
                    <a:pt x="596" y="10516"/>
                    <a:pt x="596" y="10516"/>
                    <a:pt x="596" y="10516"/>
                  </a:cubicBezTo>
                  <a:cubicBezTo>
                    <a:pt x="702" y="10456"/>
                    <a:pt x="702" y="10456"/>
                    <a:pt x="702" y="10456"/>
                  </a:cubicBezTo>
                  <a:cubicBezTo>
                    <a:pt x="719" y="10483"/>
                    <a:pt x="784" y="10585"/>
                    <a:pt x="850" y="10689"/>
                  </a:cubicBezTo>
                  <a:cubicBezTo>
                    <a:pt x="916" y="10793"/>
                    <a:pt x="983" y="10901"/>
                    <a:pt x="1000" y="10929"/>
                  </a:cubicBezTo>
                  <a:cubicBezTo>
                    <a:pt x="997" y="10931"/>
                    <a:pt x="994" y="10933"/>
                    <a:pt x="989" y="10936"/>
                  </a:cubicBezTo>
                  <a:cubicBezTo>
                    <a:pt x="980" y="10941"/>
                    <a:pt x="968" y="10949"/>
                    <a:pt x="957" y="10957"/>
                  </a:cubicBezTo>
                  <a:cubicBezTo>
                    <a:pt x="934" y="10972"/>
                    <a:pt x="912" y="10988"/>
                    <a:pt x="912" y="10988"/>
                  </a:cubicBezTo>
                  <a:cubicBezTo>
                    <a:pt x="911" y="10989"/>
                    <a:pt x="911" y="10989"/>
                    <a:pt x="911" y="10989"/>
                  </a:cubicBezTo>
                  <a:lnTo>
                    <a:pt x="746" y="11218"/>
                  </a:lnTo>
                  <a:close/>
                  <a:moveTo>
                    <a:pt x="449" y="10370"/>
                  </a:moveTo>
                  <a:cubicBezTo>
                    <a:pt x="461" y="10363"/>
                    <a:pt x="476" y="10356"/>
                    <a:pt x="493" y="10347"/>
                  </a:cubicBezTo>
                  <a:cubicBezTo>
                    <a:pt x="447" y="10371"/>
                    <a:pt x="447" y="10371"/>
                    <a:pt x="447" y="10371"/>
                  </a:cubicBezTo>
                  <a:cubicBezTo>
                    <a:pt x="448" y="10371"/>
                    <a:pt x="448" y="10370"/>
                    <a:pt x="449" y="10370"/>
                  </a:cubicBezTo>
                  <a:close/>
                  <a:moveTo>
                    <a:pt x="325" y="10453"/>
                  </a:moveTo>
                  <a:cubicBezTo>
                    <a:pt x="493" y="10365"/>
                    <a:pt x="493" y="10365"/>
                    <a:pt x="493" y="10365"/>
                  </a:cubicBezTo>
                  <a:cubicBezTo>
                    <a:pt x="718" y="10769"/>
                    <a:pt x="718" y="10769"/>
                    <a:pt x="718" y="10769"/>
                  </a:cubicBezTo>
                  <a:cubicBezTo>
                    <a:pt x="607" y="10824"/>
                    <a:pt x="607" y="10824"/>
                    <a:pt x="607" y="10824"/>
                  </a:cubicBezTo>
                  <a:cubicBezTo>
                    <a:pt x="704" y="10988"/>
                    <a:pt x="704" y="10988"/>
                    <a:pt x="704" y="10988"/>
                  </a:cubicBezTo>
                  <a:cubicBezTo>
                    <a:pt x="622" y="11087"/>
                    <a:pt x="622" y="11087"/>
                    <a:pt x="622" y="11087"/>
                  </a:cubicBezTo>
                  <a:cubicBezTo>
                    <a:pt x="622" y="11087"/>
                    <a:pt x="621" y="11086"/>
                    <a:pt x="621" y="11086"/>
                  </a:cubicBezTo>
                  <a:cubicBezTo>
                    <a:pt x="621" y="11086"/>
                    <a:pt x="621" y="11086"/>
                    <a:pt x="621" y="11086"/>
                  </a:cubicBezTo>
                  <a:cubicBezTo>
                    <a:pt x="591" y="11036"/>
                    <a:pt x="591" y="11036"/>
                    <a:pt x="591" y="11036"/>
                  </a:cubicBezTo>
                  <a:cubicBezTo>
                    <a:pt x="562" y="10988"/>
                    <a:pt x="531" y="10928"/>
                    <a:pt x="503" y="10867"/>
                  </a:cubicBezTo>
                  <a:cubicBezTo>
                    <a:pt x="446" y="10745"/>
                    <a:pt x="358" y="10524"/>
                    <a:pt x="358" y="10524"/>
                  </a:cubicBezTo>
                  <a:cubicBezTo>
                    <a:pt x="352" y="10512"/>
                    <a:pt x="352" y="10512"/>
                    <a:pt x="352" y="10512"/>
                  </a:cubicBezTo>
                  <a:cubicBezTo>
                    <a:pt x="352" y="10512"/>
                    <a:pt x="352" y="10512"/>
                    <a:pt x="352" y="10512"/>
                  </a:cubicBezTo>
                  <a:lnTo>
                    <a:pt x="325" y="10453"/>
                  </a:lnTo>
                  <a:close/>
                  <a:moveTo>
                    <a:pt x="46" y="10856"/>
                  </a:moveTo>
                  <a:cubicBezTo>
                    <a:pt x="34" y="10840"/>
                    <a:pt x="34" y="10840"/>
                    <a:pt x="34" y="10840"/>
                  </a:cubicBezTo>
                  <a:cubicBezTo>
                    <a:pt x="34" y="10839"/>
                    <a:pt x="34" y="10839"/>
                    <a:pt x="34" y="10839"/>
                  </a:cubicBezTo>
                  <a:cubicBezTo>
                    <a:pt x="34" y="10839"/>
                    <a:pt x="34" y="10839"/>
                    <a:pt x="34" y="10839"/>
                  </a:cubicBezTo>
                  <a:cubicBezTo>
                    <a:pt x="63" y="10818"/>
                    <a:pt x="73" y="10810"/>
                    <a:pt x="85" y="10802"/>
                  </a:cubicBezTo>
                  <a:cubicBezTo>
                    <a:pt x="113" y="10782"/>
                    <a:pt x="152" y="10754"/>
                    <a:pt x="191" y="10727"/>
                  </a:cubicBezTo>
                  <a:cubicBezTo>
                    <a:pt x="229" y="10701"/>
                    <a:pt x="266" y="10674"/>
                    <a:pt x="295" y="10654"/>
                  </a:cubicBezTo>
                  <a:cubicBezTo>
                    <a:pt x="170" y="10805"/>
                    <a:pt x="170" y="10805"/>
                    <a:pt x="170" y="10805"/>
                  </a:cubicBezTo>
                  <a:cubicBezTo>
                    <a:pt x="189" y="10874"/>
                    <a:pt x="189" y="10874"/>
                    <a:pt x="189" y="10874"/>
                  </a:cubicBezTo>
                  <a:cubicBezTo>
                    <a:pt x="373" y="10799"/>
                    <a:pt x="373" y="10799"/>
                    <a:pt x="373" y="10799"/>
                  </a:cubicBezTo>
                  <a:cubicBezTo>
                    <a:pt x="380" y="10796"/>
                    <a:pt x="380" y="10796"/>
                    <a:pt x="380" y="10796"/>
                  </a:cubicBezTo>
                  <a:cubicBezTo>
                    <a:pt x="307" y="10646"/>
                    <a:pt x="307" y="10646"/>
                    <a:pt x="307" y="10646"/>
                  </a:cubicBezTo>
                  <a:cubicBezTo>
                    <a:pt x="330" y="10630"/>
                    <a:pt x="345" y="10619"/>
                    <a:pt x="345" y="10619"/>
                  </a:cubicBezTo>
                  <a:cubicBezTo>
                    <a:pt x="347" y="10618"/>
                    <a:pt x="347" y="10618"/>
                    <a:pt x="347" y="10618"/>
                  </a:cubicBezTo>
                  <a:cubicBezTo>
                    <a:pt x="371" y="10675"/>
                    <a:pt x="403" y="10754"/>
                    <a:pt x="433" y="10822"/>
                  </a:cubicBezTo>
                  <a:cubicBezTo>
                    <a:pt x="118" y="10962"/>
                    <a:pt x="118" y="10962"/>
                    <a:pt x="118" y="10962"/>
                  </a:cubicBezTo>
                  <a:cubicBezTo>
                    <a:pt x="79" y="10905"/>
                    <a:pt x="52" y="10866"/>
                    <a:pt x="46" y="10856"/>
                  </a:cubicBezTo>
                  <a:close/>
                  <a:moveTo>
                    <a:pt x="302" y="10669"/>
                  </a:moveTo>
                  <a:cubicBezTo>
                    <a:pt x="360" y="10788"/>
                    <a:pt x="360" y="10788"/>
                    <a:pt x="360" y="10788"/>
                  </a:cubicBezTo>
                  <a:cubicBezTo>
                    <a:pt x="199" y="10854"/>
                    <a:pt x="199" y="10854"/>
                    <a:pt x="199" y="10854"/>
                  </a:cubicBezTo>
                  <a:cubicBezTo>
                    <a:pt x="186" y="10808"/>
                    <a:pt x="186" y="10808"/>
                    <a:pt x="186" y="10808"/>
                  </a:cubicBezTo>
                  <a:lnTo>
                    <a:pt x="302" y="10669"/>
                  </a:lnTo>
                  <a:close/>
                  <a:moveTo>
                    <a:pt x="414" y="11387"/>
                  </a:moveTo>
                  <a:cubicBezTo>
                    <a:pt x="303" y="11228"/>
                    <a:pt x="197" y="11075"/>
                    <a:pt x="126" y="10974"/>
                  </a:cubicBezTo>
                  <a:cubicBezTo>
                    <a:pt x="439" y="10835"/>
                    <a:pt x="439" y="10835"/>
                    <a:pt x="439" y="10835"/>
                  </a:cubicBezTo>
                  <a:cubicBezTo>
                    <a:pt x="447" y="10853"/>
                    <a:pt x="455" y="10871"/>
                    <a:pt x="462" y="10886"/>
                  </a:cubicBezTo>
                  <a:cubicBezTo>
                    <a:pt x="506" y="10980"/>
                    <a:pt x="564" y="11079"/>
                    <a:pt x="593" y="11122"/>
                  </a:cubicBezTo>
                  <a:cubicBezTo>
                    <a:pt x="593" y="11123"/>
                    <a:pt x="593" y="11123"/>
                    <a:pt x="593" y="11123"/>
                  </a:cubicBezTo>
                  <a:cubicBezTo>
                    <a:pt x="594" y="11124"/>
                    <a:pt x="640" y="11194"/>
                    <a:pt x="710" y="11248"/>
                  </a:cubicBezTo>
                  <a:cubicBezTo>
                    <a:pt x="459" y="11451"/>
                    <a:pt x="459" y="11451"/>
                    <a:pt x="459" y="11451"/>
                  </a:cubicBezTo>
                  <a:cubicBezTo>
                    <a:pt x="444" y="11429"/>
                    <a:pt x="429" y="11408"/>
                    <a:pt x="414" y="11387"/>
                  </a:cubicBezTo>
                  <a:close/>
                  <a:moveTo>
                    <a:pt x="467" y="11462"/>
                  </a:moveTo>
                  <a:cubicBezTo>
                    <a:pt x="722" y="11256"/>
                    <a:pt x="722" y="11256"/>
                    <a:pt x="722" y="11256"/>
                  </a:cubicBezTo>
                  <a:cubicBezTo>
                    <a:pt x="725" y="11258"/>
                    <a:pt x="728" y="11261"/>
                    <a:pt x="731" y="11263"/>
                  </a:cubicBezTo>
                  <a:cubicBezTo>
                    <a:pt x="774" y="11291"/>
                    <a:pt x="826" y="11322"/>
                    <a:pt x="872" y="11348"/>
                  </a:cubicBezTo>
                  <a:cubicBezTo>
                    <a:pt x="869" y="11365"/>
                    <a:pt x="864" y="11396"/>
                    <a:pt x="854" y="11432"/>
                  </a:cubicBezTo>
                  <a:cubicBezTo>
                    <a:pt x="840" y="11486"/>
                    <a:pt x="816" y="11552"/>
                    <a:pt x="782" y="11595"/>
                  </a:cubicBezTo>
                  <a:cubicBezTo>
                    <a:pt x="716" y="11680"/>
                    <a:pt x="655" y="11704"/>
                    <a:pt x="650" y="11705"/>
                  </a:cubicBezTo>
                  <a:cubicBezTo>
                    <a:pt x="641" y="11708"/>
                    <a:pt x="641" y="11708"/>
                    <a:pt x="641" y="11708"/>
                  </a:cubicBezTo>
                  <a:cubicBezTo>
                    <a:pt x="586" y="11631"/>
                    <a:pt x="527" y="11547"/>
                    <a:pt x="467" y="11462"/>
                  </a:cubicBezTo>
                  <a:close/>
                  <a:moveTo>
                    <a:pt x="185" y="12166"/>
                  </a:moveTo>
                  <a:cubicBezTo>
                    <a:pt x="166" y="12155"/>
                    <a:pt x="141" y="12146"/>
                    <a:pt x="115" y="12139"/>
                  </a:cubicBezTo>
                  <a:cubicBezTo>
                    <a:pt x="150" y="11995"/>
                    <a:pt x="150" y="11995"/>
                    <a:pt x="150" y="11995"/>
                  </a:cubicBezTo>
                  <a:cubicBezTo>
                    <a:pt x="607" y="11774"/>
                    <a:pt x="607" y="11774"/>
                    <a:pt x="607" y="11774"/>
                  </a:cubicBezTo>
                  <a:cubicBezTo>
                    <a:pt x="652" y="11836"/>
                    <a:pt x="693" y="11894"/>
                    <a:pt x="727" y="11941"/>
                  </a:cubicBezTo>
                  <a:cubicBezTo>
                    <a:pt x="339" y="12142"/>
                    <a:pt x="339" y="12142"/>
                    <a:pt x="339" y="12142"/>
                  </a:cubicBezTo>
                  <a:cubicBezTo>
                    <a:pt x="337" y="12139"/>
                    <a:pt x="337" y="12139"/>
                    <a:pt x="337" y="12139"/>
                  </a:cubicBezTo>
                  <a:cubicBezTo>
                    <a:pt x="319" y="12152"/>
                    <a:pt x="319" y="12152"/>
                    <a:pt x="319" y="12152"/>
                  </a:cubicBezTo>
                  <a:cubicBezTo>
                    <a:pt x="227" y="12200"/>
                    <a:pt x="227" y="12200"/>
                    <a:pt x="227" y="12200"/>
                  </a:cubicBezTo>
                  <a:cubicBezTo>
                    <a:pt x="213" y="12186"/>
                    <a:pt x="199" y="12174"/>
                    <a:pt x="185" y="12166"/>
                  </a:cubicBezTo>
                  <a:close/>
                  <a:moveTo>
                    <a:pt x="237" y="12210"/>
                  </a:moveTo>
                  <a:cubicBezTo>
                    <a:pt x="269" y="12193"/>
                    <a:pt x="269" y="12193"/>
                    <a:pt x="269" y="12193"/>
                  </a:cubicBezTo>
                  <a:cubicBezTo>
                    <a:pt x="319" y="12260"/>
                    <a:pt x="319" y="12260"/>
                    <a:pt x="319" y="12260"/>
                  </a:cubicBezTo>
                  <a:cubicBezTo>
                    <a:pt x="292" y="12271"/>
                    <a:pt x="292" y="12271"/>
                    <a:pt x="292" y="12271"/>
                  </a:cubicBezTo>
                  <a:cubicBezTo>
                    <a:pt x="274" y="12249"/>
                    <a:pt x="255" y="12228"/>
                    <a:pt x="237" y="12210"/>
                  </a:cubicBezTo>
                  <a:close/>
                  <a:moveTo>
                    <a:pt x="305" y="12285"/>
                  </a:moveTo>
                  <a:cubicBezTo>
                    <a:pt x="304" y="12284"/>
                    <a:pt x="303" y="12283"/>
                    <a:pt x="302" y="12282"/>
                  </a:cubicBezTo>
                  <a:cubicBezTo>
                    <a:pt x="328" y="12272"/>
                    <a:pt x="328" y="12272"/>
                    <a:pt x="328" y="12272"/>
                  </a:cubicBezTo>
                  <a:cubicBezTo>
                    <a:pt x="390" y="12356"/>
                    <a:pt x="390" y="12356"/>
                    <a:pt x="390" y="12356"/>
                  </a:cubicBezTo>
                  <a:cubicBezTo>
                    <a:pt x="367" y="12365"/>
                    <a:pt x="367" y="12365"/>
                    <a:pt x="367" y="12365"/>
                  </a:cubicBezTo>
                  <a:cubicBezTo>
                    <a:pt x="348" y="12340"/>
                    <a:pt x="327" y="12312"/>
                    <a:pt x="305" y="12285"/>
                  </a:cubicBezTo>
                  <a:close/>
                  <a:moveTo>
                    <a:pt x="214" y="12704"/>
                  </a:moveTo>
                  <a:cubicBezTo>
                    <a:pt x="185" y="12667"/>
                    <a:pt x="152" y="12642"/>
                    <a:pt x="127" y="12627"/>
                  </a:cubicBezTo>
                  <a:cubicBezTo>
                    <a:pt x="314" y="12403"/>
                    <a:pt x="314" y="12403"/>
                    <a:pt x="314" y="12403"/>
                  </a:cubicBezTo>
                  <a:cubicBezTo>
                    <a:pt x="330" y="12425"/>
                    <a:pt x="344" y="12444"/>
                    <a:pt x="353" y="12457"/>
                  </a:cubicBezTo>
                  <a:cubicBezTo>
                    <a:pt x="387" y="12505"/>
                    <a:pt x="473" y="12630"/>
                    <a:pt x="528" y="12722"/>
                  </a:cubicBezTo>
                  <a:cubicBezTo>
                    <a:pt x="500" y="12728"/>
                    <a:pt x="442" y="12741"/>
                    <a:pt x="382" y="12755"/>
                  </a:cubicBezTo>
                  <a:cubicBezTo>
                    <a:pt x="336" y="12765"/>
                    <a:pt x="291" y="12776"/>
                    <a:pt x="261" y="12782"/>
                  </a:cubicBezTo>
                  <a:cubicBezTo>
                    <a:pt x="246" y="12750"/>
                    <a:pt x="228" y="12723"/>
                    <a:pt x="214" y="12704"/>
                  </a:cubicBezTo>
                  <a:close/>
                  <a:moveTo>
                    <a:pt x="160" y="13485"/>
                  </a:moveTo>
                  <a:cubicBezTo>
                    <a:pt x="271" y="13315"/>
                    <a:pt x="271" y="13315"/>
                    <a:pt x="271" y="13315"/>
                  </a:cubicBezTo>
                  <a:cubicBezTo>
                    <a:pt x="329" y="13337"/>
                    <a:pt x="515" y="13405"/>
                    <a:pt x="581" y="13427"/>
                  </a:cubicBezTo>
                  <a:cubicBezTo>
                    <a:pt x="567" y="13498"/>
                    <a:pt x="553" y="13578"/>
                    <a:pt x="549" y="13602"/>
                  </a:cubicBezTo>
                  <a:cubicBezTo>
                    <a:pt x="549" y="13607"/>
                    <a:pt x="548" y="13611"/>
                    <a:pt x="548" y="13616"/>
                  </a:cubicBezTo>
                  <a:cubicBezTo>
                    <a:pt x="549" y="13630"/>
                    <a:pt x="552" y="13646"/>
                    <a:pt x="556" y="13661"/>
                  </a:cubicBezTo>
                  <a:cubicBezTo>
                    <a:pt x="243" y="13633"/>
                    <a:pt x="243" y="13633"/>
                    <a:pt x="243" y="13633"/>
                  </a:cubicBezTo>
                  <a:lnTo>
                    <a:pt x="160" y="13485"/>
                  </a:lnTo>
                  <a:close/>
                  <a:moveTo>
                    <a:pt x="244" y="13648"/>
                  </a:moveTo>
                  <a:cubicBezTo>
                    <a:pt x="560" y="13675"/>
                    <a:pt x="560" y="13675"/>
                    <a:pt x="560" y="13675"/>
                  </a:cubicBezTo>
                  <a:cubicBezTo>
                    <a:pt x="570" y="13704"/>
                    <a:pt x="584" y="13732"/>
                    <a:pt x="601" y="13756"/>
                  </a:cubicBezTo>
                  <a:cubicBezTo>
                    <a:pt x="602" y="13757"/>
                    <a:pt x="602" y="13757"/>
                    <a:pt x="602" y="13757"/>
                  </a:cubicBezTo>
                  <a:cubicBezTo>
                    <a:pt x="604" y="13759"/>
                    <a:pt x="604" y="13759"/>
                    <a:pt x="604" y="13759"/>
                  </a:cubicBezTo>
                  <a:cubicBezTo>
                    <a:pt x="613" y="13767"/>
                    <a:pt x="624" y="13774"/>
                    <a:pt x="640" y="13786"/>
                  </a:cubicBezTo>
                  <a:cubicBezTo>
                    <a:pt x="656" y="13797"/>
                    <a:pt x="665" y="13803"/>
                    <a:pt x="685" y="13816"/>
                  </a:cubicBezTo>
                  <a:cubicBezTo>
                    <a:pt x="708" y="13831"/>
                    <a:pt x="708" y="13831"/>
                    <a:pt x="708" y="13831"/>
                  </a:cubicBezTo>
                  <a:cubicBezTo>
                    <a:pt x="749" y="13860"/>
                    <a:pt x="749" y="13860"/>
                    <a:pt x="749" y="13860"/>
                  </a:cubicBezTo>
                  <a:cubicBezTo>
                    <a:pt x="748" y="13860"/>
                    <a:pt x="748" y="13860"/>
                    <a:pt x="748" y="13860"/>
                  </a:cubicBezTo>
                  <a:cubicBezTo>
                    <a:pt x="753" y="13863"/>
                    <a:pt x="753" y="13863"/>
                    <a:pt x="753" y="13863"/>
                  </a:cubicBezTo>
                  <a:cubicBezTo>
                    <a:pt x="748" y="13861"/>
                    <a:pt x="748" y="13861"/>
                    <a:pt x="748" y="13861"/>
                  </a:cubicBezTo>
                  <a:cubicBezTo>
                    <a:pt x="560" y="14121"/>
                    <a:pt x="560" y="14121"/>
                    <a:pt x="560" y="14121"/>
                  </a:cubicBezTo>
                  <a:cubicBezTo>
                    <a:pt x="523" y="14097"/>
                    <a:pt x="250" y="13920"/>
                    <a:pt x="159" y="13865"/>
                  </a:cubicBezTo>
                  <a:lnTo>
                    <a:pt x="244" y="13648"/>
                  </a:lnTo>
                  <a:close/>
                  <a:moveTo>
                    <a:pt x="464" y="14505"/>
                  </a:moveTo>
                  <a:cubicBezTo>
                    <a:pt x="40" y="14169"/>
                    <a:pt x="40" y="14169"/>
                    <a:pt x="40" y="14169"/>
                  </a:cubicBezTo>
                  <a:cubicBezTo>
                    <a:pt x="154" y="13878"/>
                    <a:pt x="154" y="13878"/>
                    <a:pt x="154" y="13878"/>
                  </a:cubicBezTo>
                  <a:cubicBezTo>
                    <a:pt x="165" y="13885"/>
                    <a:pt x="178" y="13893"/>
                    <a:pt x="194" y="13903"/>
                  </a:cubicBezTo>
                  <a:cubicBezTo>
                    <a:pt x="235" y="13929"/>
                    <a:pt x="289" y="13964"/>
                    <a:pt x="342" y="13998"/>
                  </a:cubicBezTo>
                  <a:cubicBezTo>
                    <a:pt x="436" y="14059"/>
                    <a:pt x="530" y="14118"/>
                    <a:pt x="552" y="14132"/>
                  </a:cubicBezTo>
                  <a:cubicBezTo>
                    <a:pt x="551" y="14134"/>
                    <a:pt x="551" y="14134"/>
                    <a:pt x="551" y="14134"/>
                  </a:cubicBezTo>
                  <a:cubicBezTo>
                    <a:pt x="648" y="14202"/>
                    <a:pt x="648" y="14202"/>
                    <a:pt x="648" y="14202"/>
                  </a:cubicBezTo>
                  <a:lnTo>
                    <a:pt x="464" y="14505"/>
                  </a:lnTo>
                  <a:close/>
                  <a:moveTo>
                    <a:pt x="477" y="14515"/>
                  </a:moveTo>
                  <a:cubicBezTo>
                    <a:pt x="670" y="14197"/>
                    <a:pt x="670" y="14197"/>
                    <a:pt x="670" y="14197"/>
                  </a:cubicBezTo>
                  <a:cubicBezTo>
                    <a:pt x="574" y="14130"/>
                    <a:pt x="574" y="14130"/>
                    <a:pt x="574" y="14130"/>
                  </a:cubicBezTo>
                  <a:cubicBezTo>
                    <a:pt x="763" y="13869"/>
                    <a:pt x="763" y="13869"/>
                    <a:pt x="763" y="13869"/>
                  </a:cubicBezTo>
                  <a:cubicBezTo>
                    <a:pt x="1069" y="14062"/>
                    <a:pt x="1069" y="14062"/>
                    <a:pt x="1069" y="14062"/>
                  </a:cubicBezTo>
                  <a:cubicBezTo>
                    <a:pt x="1040" y="14093"/>
                    <a:pt x="1001" y="14133"/>
                    <a:pt x="961" y="14174"/>
                  </a:cubicBezTo>
                  <a:cubicBezTo>
                    <a:pt x="881" y="14257"/>
                    <a:pt x="797" y="14343"/>
                    <a:pt x="790" y="14350"/>
                  </a:cubicBezTo>
                  <a:cubicBezTo>
                    <a:pt x="790" y="14350"/>
                    <a:pt x="790" y="14350"/>
                    <a:pt x="790" y="14350"/>
                  </a:cubicBezTo>
                  <a:cubicBezTo>
                    <a:pt x="790" y="14350"/>
                    <a:pt x="789" y="14351"/>
                    <a:pt x="789" y="14351"/>
                  </a:cubicBezTo>
                  <a:cubicBezTo>
                    <a:pt x="789" y="14351"/>
                    <a:pt x="788" y="14352"/>
                    <a:pt x="788" y="14352"/>
                  </a:cubicBezTo>
                  <a:cubicBezTo>
                    <a:pt x="787" y="14353"/>
                    <a:pt x="786" y="14354"/>
                    <a:pt x="785" y="14355"/>
                  </a:cubicBezTo>
                  <a:cubicBezTo>
                    <a:pt x="783" y="14357"/>
                    <a:pt x="781" y="14359"/>
                    <a:pt x="778" y="14363"/>
                  </a:cubicBezTo>
                  <a:cubicBezTo>
                    <a:pt x="772" y="14369"/>
                    <a:pt x="763" y="14378"/>
                    <a:pt x="754" y="14388"/>
                  </a:cubicBezTo>
                  <a:cubicBezTo>
                    <a:pt x="736" y="14409"/>
                    <a:pt x="714" y="14434"/>
                    <a:pt x="698" y="14456"/>
                  </a:cubicBezTo>
                  <a:cubicBezTo>
                    <a:pt x="686" y="14471"/>
                    <a:pt x="678" y="14482"/>
                    <a:pt x="672" y="14499"/>
                  </a:cubicBezTo>
                  <a:cubicBezTo>
                    <a:pt x="662" y="14532"/>
                    <a:pt x="664" y="14553"/>
                    <a:pt x="662" y="14559"/>
                  </a:cubicBezTo>
                  <a:cubicBezTo>
                    <a:pt x="661" y="14566"/>
                    <a:pt x="652" y="14601"/>
                    <a:pt x="641" y="14639"/>
                  </a:cubicBezTo>
                  <a:cubicBezTo>
                    <a:pt x="624" y="14626"/>
                    <a:pt x="605" y="14611"/>
                    <a:pt x="585" y="14595"/>
                  </a:cubicBezTo>
                  <a:cubicBezTo>
                    <a:pt x="580" y="14592"/>
                    <a:pt x="575" y="14588"/>
                    <a:pt x="570" y="14584"/>
                  </a:cubicBezTo>
                  <a:cubicBezTo>
                    <a:pt x="582" y="14515"/>
                    <a:pt x="680" y="14397"/>
                    <a:pt x="705" y="14348"/>
                  </a:cubicBezTo>
                  <a:cubicBezTo>
                    <a:pt x="709" y="14340"/>
                    <a:pt x="711" y="14332"/>
                    <a:pt x="711" y="14325"/>
                  </a:cubicBezTo>
                  <a:cubicBezTo>
                    <a:pt x="710" y="14299"/>
                    <a:pt x="692" y="14280"/>
                    <a:pt x="676" y="14268"/>
                  </a:cubicBezTo>
                  <a:cubicBezTo>
                    <a:pt x="660" y="14255"/>
                    <a:pt x="645" y="14248"/>
                    <a:pt x="644" y="14248"/>
                  </a:cubicBezTo>
                  <a:cubicBezTo>
                    <a:pt x="634" y="14270"/>
                    <a:pt x="634" y="14270"/>
                    <a:pt x="634" y="14270"/>
                  </a:cubicBezTo>
                  <a:cubicBezTo>
                    <a:pt x="634" y="14270"/>
                    <a:pt x="648" y="14276"/>
                    <a:pt x="661" y="14287"/>
                  </a:cubicBezTo>
                  <a:cubicBezTo>
                    <a:pt x="675" y="14298"/>
                    <a:pt x="687" y="14312"/>
                    <a:pt x="686" y="14325"/>
                  </a:cubicBezTo>
                  <a:cubicBezTo>
                    <a:pt x="686" y="14328"/>
                    <a:pt x="685" y="14332"/>
                    <a:pt x="683" y="14337"/>
                  </a:cubicBezTo>
                  <a:cubicBezTo>
                    <a:pt x="662" y="14379"/>
                    <a:pt x="571" y="14488"/>
                    <a:pt x="549" y="14568"/>
                  </a:cubicBezTo>
                  <a:cubicBezTo>
                    <a:pt x="522" y="14548"/>
                    <a:pt x="493" y="14527"/>
                    <a:pt x="477" y="14515"/>
                  </a:cubicBezTo>
                  <a:close/>
                  <a:moveTo>
                    <a:pt x="82" y="15209"/>
                  </a:moveTo>
                  <a:cubicBezTo>
                    <a:pt x="289" y="14853"/>
                    <a:pt x="289" y="14853"/>
                    <a:pt x="289" y="14853"/>
                  </a:cubicBezTo>
                  <a:cubicBezTo>
                    <a:pt x="394" y="14895"/>
                    <a:pt x="394" y="14895"/>
                    <a:pt x="394" y="14895"/>
                  </a:cubicBezTo>
                  <a:cubicBezTo>
                    <a:pt x="509" y="14624"/>
                    <a:pt x="509" y="14624"/>
                    <a:pt x="509" y="14624"/>
                  </a:cubicBezTo>
                  <a:cubicBezTo>
                    <a:pt x="517" y="14630"/>
                    <a:pt x="526" y="14636"/>
                    <a:pt x="535" y="14643"/>
                  </a:cubicBezTo>
                  <a:cubicBezTo>
                    <a:pt x="528" y="14679"/>
                    <a:pt x="519" y="14723"/>
                    <a:pt x="509" y="14766"/>
                  </a:cubicBezTo>
                  <a:cubicBezTo>
                    <a:pt x="491" y="14838"/>
                    <a:pt x="468" y="14909"/>
                    <a:pt x="443" y="14938"/>
                  </a:cubicBezTo>
                  <a:cubicBezTo>
                    <a:pt x="415" y="14974"/>
                    <a:pt x="379" y="15061"/>
                    <a:pt x="360" y="15145"/>
                  </a:cubicBezTo>
                  <a:cubicBezTo>
                    <a:pt x="332" y="15183"/>
                    <a:pt x="302" y="15222"/>
                    <a:pt x="273" y="15260"/>
                  </a:cubicBezTo>
                  <a:cubicBezTo>
                    <a:pt x="256" y="15283"/>
                    <a:pt x="238" y="15306"/>
                    <a:pt x="221" y="15328"/>
                  </a:cubicBezTo>
                  <a:cubicBezTo>
                    <a:pt x="194" y="15306"/>
                    <a:pt x="145" y="15263"/>
                    <a:pt x="82" y="15209"/>
                  </a:cubicBezTo>
                  <a:close/>
                  <a:moveTo>
                    <a:pt x="121" y="15567"/>
                  </a:moveTo>
                  <a:cubicBezTo>
                    <a:pt x="140" y="15543"/>
                    <a:pt x="181" y="15490"/>
                    <a:pt x="231" y="15425"/>
                  </a:cubicBezTo>
                  <a:cubicBezTo>
                    <a:pt x="238" y="15426"/>
                    <a:pt x="247" y="15427"/>
                    <a:pt x="260" y="15429"/>
                  </a:cubicBezTo>
                  <a:cubicBezTo>
                    <a:pt x="288" y="15433"/>
                    <a:pt x="330" y="15438"/>
                    <a:pt x="385" y="15446"/>
                  </a:cubicBezTo>
                  <a:cubicBezTo>
                    <a:pt x="498" y="15462"/>
                    <a:pt x="638" y="15496"/>
                    <a:pt x="745" y="15525"/>
                  </a:cubicBezTo>
                  <a:cubicBezTo>
                    <a:pt x="764" y="15531"/>
                    <a:pt x="780" y="15536"/>
                    <a:pt x="797" y="15542"/>
                  </a:cubicBezTo>
                  <a:cubicBezTo>
                    <a:pt x="714" y="15731"/>
                    <a:pt x="714" y="15731"/>
                    <a:pt x="714" y="15731"/>
                  </a:cubicBezTo>
                  <a:lnTo>
                    <a:pt x="121" y="15567"/>
                  </a:lnTo>
                  <a:close/>
                  <a:moveTo>
                    <a:pt x="695" y="15814"/>
                  </a:moveTo>
                  <a:cubicBezTo>
                    <a:pt x="812" y="15547"/>
                    <a:pt x="812" y="15547"/>
                    <a:pt x="812" y="15547"/>
                  </a:cubicBezTo>
                  <a:cubicBezTo>
                    <a:pt x="879" y="15571"/>
                    <a:pt x="931" y="15599"/>
                    <a:pt x="995" y="15632"/>
                  </a:cubicBezTo>
                  <a:cubicBezTo>
                    <a:pt x="1031" y="15650"/>
                    <a:pt x="1090" y="15696"/>
                    <a:pt x="1137" y="15736"/>
                  </a:cubicBezTo>
                  <a:cubicBezTo>
                    <a:pt x="1138" y="15737"/>
                    <a:pt x="1138" y="15737"/>
                    <a:pt x="1139" y="15737"/>
                  </a:cubicBezTo>
                  <a:cubicBezTo>
                    <a:pt x="1133" y="15747"/>
                    <a:pt x="1125" y="15756"/>
                    <a:pt x="1113" y="15765"/>
                  </a:cubicBezTo>
                  <a:cubicBezTo>
                    <a:pt x="1086" y="15787"/>
                    <a:pt x="1063" y="15794"/>
                    <a:pt x="1042" y="15794"/>
                  </a:cubicBezTo>
                  <a:cubicBezTo>
                    <a:pt x="1009" y="15794"/>
                    <a:pt x="979" y="15774"/>
                    <a:pt x="953" y="15750"/>
                  </a:cubicBezTo>
                  <a:cubicBezTo>
                    <a:pt x="927" y="15726"/>
                    <a:pt x="908" y="15700"/>
                    <a:pt x="884" y="15692"/>
                  </a:cubicBezTo>
                  <a:cubicBezTo>
                    <a:pt x="878" y="15690"/>
                    <a:pt x="871" y="15689"/>
                    <a:pt x="863" y="15689"/>
                  </a:cubicBezTo>
                  <a:cubicBezTo>
                    <a:pt x="816" y="15689"/>
                    <a:pt x="756" y="15728"/>
                    <a:pt x="755" y="15792"/>
                  </a:cubicBezTo>
                  <a:cubicBezTo>
                    <a:pt x="755" y="15795"/>
                    <a:pt x="755" y="15797"/>
                    <a:pt x="755" y="15800"/>
                  </a:cubicBezTo>
                  <a:cubicBezTo>
                    <a:pt x="755" y="15800"/>
                    <a:pt x="781" y="15815"/>
                    <a:pt x="781" y="15815"/>
                  </a:cubicBezTo>
                  <a:cubicBezTo>
                    <a:pt x="781" y="15810"/>
                    <a:pt x="779" y="15796"/>
                    <a:pt x="779" y="15792"/>
                  </a:cubicBezTo>
                  <a:cubicBezTo>
                    <a:pt x="779" y="15769"/>
                    <a:pt x="791" y="15749"/>
                    <a:pt x="808" y="15735"/>
                  </a:cubicBezTo>
                  <a:cubicBezTo>
                    <a:pt x="824" y="15721"/>
                    <a:pt x="846" y="15713"/>
                    <a:pt x="863" y="15713"/>
                  </a:cubicBezTo>
                  <a:cubicBezTo>
                    <a:pt x="868" y="15713"/>
                    <a:pt x="873" y="15714"/>
                    <a:pt x="877" y="15715"/>
                  </a:cubicBezTo>
                  <a:cubicBezTo>
                    <a:pt x="887" y="15717"/>
                    <a:pt x="910" y="15743"/>
                    <a:pt x="937" y="15768"/>
                  </a:cubicBezTo>
                  <a:cubicBezTo>
                    <a:pt x="964" y="15793"/>
                    <a:pt x="999" y="15818"/>
                    <a:pt x="1042" y="15819"/>
                  </a:cubicBezTo>
                  <a:cubicBezTo>
                    <a:pt x="1069" y="15819"/>
                    <a:pt x="1098" y="15809"/>
                    <a:pt x="1128" y="15785"/>
                  </a:cubicBezTo>
                  <a:cubicBezTo>
                    <a:pt x="1141" y="15775"/>
                    <a:pt x="1150" y="15764"/>
                    <a:pt x="1157" y="15753"/>
                  </a:cubicBezTo>
                  <a:cubicBezTo>
                    <a:pt x="1184" y="15776"/>
                    <a:pt x="1204" y="15795"/>
                    <a:pt x="1214" y="15805"/>
                  </a:cubicBezTo>
                  <a:cubicBezTo>
                    <a:pt x="1142" y="15883"/>
                    <a:pt x="1142" y="15883"/>
                    <a:pt x="1142" y="15883"/>
                  </a:cubicBezTo>
                  <a:lnTo>
                    <a:pt x="695" y="15814"/>
                  </a:lnTo>
                  <a:close/>
                  <a:moveTo>
                    <a:pt x="914" y="15864"/>
                  </a:moveTo>
                  <a:cubicBezTo>
                    <a:pt x="1149" y="15901"/>
                    <a:pt x="1149" y="15901"/>
                    <a:pt x="1149" y="15901"/>
                  </a:cubicBezTo>
                  <a:cubicBezTo>
                    <a:pt x="1226" y="15816"/>
                    <a:pt x="1226" y="15816"/>
                    <a:pt x="1226" y="15816"/>
                  </a:cubicBezTo>
                  <a:cubicBezTo>
                    <a:pt x="1246" y="15833"/>
                    <a:pt x="1291" y="15871"/>
                    <a:pt x="1342" y="15915"/>
                  </a:cubicBezTo>
                  <a:cubicBezTo>
                    <a:pt x="1409" y="15973"/>
                    <a:pt x="1487" y="16040"/>
                    <a:pt x="1523" y="16075"/>
                  </a:cubicBezTo>
                  <a:cubicBezTo>
                    <a:pt x="1524" y="16076"/>
                    <a:pt x="1526" y="16078"/>
                    <a:pt x="1527" y="16079"/>
                  </a:cubicBezTo>
                  <a:cubicBezTo>
                    <a:pt x="1526" y="16081"/>
                    <a:pt x="1526" y="16081"/>
                    <a:pt x="1524" y="16083"/>
                  </a:cubicBezTo>
                  <a:cubicBezTo>
                    <a:pt x="1518" y="16091"/>
                    <a:pt x="1510" y="16102"/>
                    <a:pt x="1499" y="16116"/>
                  </a:cubicBezTo>
                  <a:cubicBezTo>
                    <a:pt x="1478" y="16142"/>
                    <a:pt x="1450" y="16176"/>
                    <a:pt x="1422" y="16210"/>
                  </a:cubicBezTo>
                  <a:cubicBezTo>
                    <a:pt x="1374" y="16268"/>
                    <a:pt x="1326" y="16325"/>
                    <a:pt x="1313" y="16340"/>
                  </a:cubicBezTo>
                  <a:cubicBezTo>
                    <a:pt x="1230" y="16303"/>
                    <a:pt x="1230" y="16303"/>
                    <a:pt x="1230" y="16303"/>
                  </a:cubicBezTo>
                  <a:cubicBezTo>
                    <a:pt x="1227" y="16308"/>
                    <a:pt x="1227" y="16308"/>
                    <a:pt x="1227" y="16308"/>
                  </a:cubicBezTo>
                  <a:cubicBezTo>
                    <a:pt x="1227" y="16308"/>
                    <a:pt x="1206" y="16342"/>
                    <a:pt x="1183" y="16378"/>
                  </a:cubicBezTo>
                  <a:cubicBezTo>
                    <a:pt x="1162" y="16412"/>
                    <a:pt x="1138" y="16448"/>
                    <a:pt x="1132" y="16455"/>
                  </a:cubicBezTo>
                  <a:cubicBezTo>
                    <a:pt x="1131" y="16455"/>
                    <a:pt x="1130" y="16455"/>
                    <a:pt x="1129" y="16455"/>
                  </a:cubicBezTo>
                  <a:cubicBezTo>
                    <a:pt x="1126" y="16455"/>
                    <a:pt x="1121" y="16456"/>
                    <a:pt x="1115" y="16456"/>
                  </a:cubicBezTo>
                  <a:cubicBezTo>
                    <a:pt x="1104" y="16458"/>
                    <a:pt x="1088" y="16459"/>
                    <a:pt x="1069" y="16461"/>
                  </a:cubicBezTo>
                  <a:cubicBezTo>
                    <a:pt x="1030" y="16464"/>
                    <a:pt x="979" y="16468"/>
                    <a:pt x="927" y="16473"/>
                  </a:cubicBezTo>
                  <a:cubicBezTo>
                    <a:pt x="914" y="16474"/>
                    <a:pt x="900" y="16475"/>
                    <a:pt x="886" y="16476"/>
                  </a:cubicBezTo>
                  <a:cubicBezTo>
                    <a:pt x="882" y="16427"/>
                    <a:pt x="846" y="16216"/>
                    <a:pt x="843" y="16197"/>
                  </a:cubicBezTo>
                  <a:lnTo>
                    <a:pt x="914" y="15864"/>
                  </a:lnTo>
                  <a:close/>
                  <a:moveTo>
                    <a:pt x="19" y="15757"/>
                  </a:moveTo>
                  <a:cubicBezTo>
                    <a:pt x="95" y="15656"/>
                    <a:pt x="95" y="15656"/>
                    <a:pt x="95" y="15656"/>
                  </a:cubicBezTo>
                  <a:cubicBezTo>
                    <a:pt x="183" y="15721"/>
                    <a:pt x="183" y="15721"/>
                    <a:pt x="183" y="15721"/>
                  </a:cubicBezTo>
                  <a:cubicBezTo>
                    <a:pt x="117" y="15808"/>
                    <a:pt x="117" y="15808"/>
                    <a:pt x="117" y="15808"/>
                  </a:cubicBezTo>
                  <a:lnTo>
                    <a:pt x="19" y="15757"/>
                  </a:lnTo>
                  <a:close/>
                  <a:moveTo>
                    <a:pt x="688" y="16475"/>
                  </a:moveTo>
                  <a:cubicBezTo>
                    <a:pt x="679" y="16466"/>
                    <a:pt x="666" y="16452"/>
                    <a:pt x="651" y="16435"/>
                  </a:cubicBezTo>
                  <a:cubicBezTo>
                    <a:pt x="620" y="16402"/>
                    <a:pt x="581" y="16358"/>
                    <a:pt x="541" y="16313"/>
                  </a:cubicBezTo>
                  <a:cubicBezTo>
                    <a:pt x="462" y="16225"/>
                    <a:pt x="385" y="16137"/>
                    <a:pt x="384" y="16137"/>
                  </a:cubicBezTo>
                  <a:cubicBezTo>
                    <a:pt x="384" y="16136"/>
                    <a:pt x="384" y="16136"/>
                    <a:pt x="384" y="16136"/>
                  </a:cubicBezTo>
                  <a:cubicBezTo>
                    <a:pt x="28" y="15949"/>
                    <a:pt x="28" y="15949"/>
                    <a:pt x="28" y="15949"/>
                  </a:cubicBezTo>
                  <a:cubicBezTo>
                    <a:pt x="121" y="15825"/>
                    <a:pt x="121" y="15825"/>
                    <a:pt x="121" y="15825"/>
                  </a:cubicBezTo>
                  <a:cubicBezTo>
                    <a:pt x="829" y="16195"/>
                    <a:pt x="829" y="16195"/>
                    <a:pt x="829" y="16195"/>
                  </a:cubicBezTo>
                  <a:cubicBezTo>
                    <a:pt x="829" y="16196"/>
                    <a:pt x="829" y="16196"/>
                    <a:pt x="829" y="16196"/>
                  </a:cubicBezTo>
                  <a:cubicBezTo>
                    <a:pt x="829" y="16198"/>
                    <a:pt x="829" y="16198"/>
                    <a:pt x="829" y="16198"/>
                  </a:cubicBezTo>
                  <a:cubicBezTo>
                    <a:pt x="829" y="16198"/>
                    <a:pt x="869" y="16431"/>
                    <a:pt x="872" y="16477"/>
                  </a:cubicBezTo>
                  <a:cubicBezTo>
                    <a:pt x="789" y="16484"/>
                    <a:pt x="715" y="16489"/>
                    <a:pt x="701" y="16489"/>
                  </a:cubicBezTo>
                  <a:cubicBezTo>
                    <a:pt x="701" y="16489"/>
                    <a:pt x="700" y="16488"/>
                    <a:pt x="699" y="16487"/>
                  </a:cubicBezTo>
                  <a:cubicBezTo>
                    <a:pt x="696" y="16484"/>
                    <a:pt x="692" y="16480"/>
                    <a:pt x="688" y="16475"/>
                  </a:cubicBezTo>
                  <a:close/>
                  <a:moveTo>
                    <a:pt x="344" y="16979"/>
                  </a:moveTo>
                  <a:cubicBezTo>
                    <a:pt x="370" y="16943"/>
                    <a:pt x="540" y="16710"/>
                    <a:pt x="637" y="16582"/>
                  </a:cubicBezTo>
                  <a:cubicBezTo>
                    <a:pt x="669" y="16540"/>
                    <a:pt x="695" y="16508"/>
                    <a:pt x="701" y="16503"/>
                  </a:cubicBezTo>
                  <a:cubicBezTo>
                    <a:pt x="701" y="16503"/>
                    <a:pt x="701" y="16503"/>
                    <a:pt x="701" y="16503"/>
                  </a:cubicBezTo>
                  <a:cubicBezTo>
                    <a:pt x="716" y="16503"/>
                    <a:pt x="793" y="16497"/>
                    <a:pt x="878" y="16491"/>
                  </a:cubicBezTo>
                  <a:cubicBezTo>
                    <a:pt x="878" y="16493"/>
                    <a:pt x="878" y="16493"/>
                    <a:pt x="878" y="16493"/>
                  </a:cubicBezTo>
                  <a:cubicBezTo>
                    <a:pt x="881" y="16493"/>
                    <a:pt x="883" y="16491"/>
                    <a:pt x="884" y="16490"/>
                  </a:cubicBezTo>
                  <a:cubicBezTo>
                    <a:pt x="899" y="16489"/>
                    <a:pt x="915" y="16488"/>
                    <a:pt x="930" y="16486"/>
                  </a:cubicBezTo>
                  <a:cubicBezTo>
                    <a:pt x="966" y="16693"/>
                    <a:pt x="966" y="16693"/>
                    <a:pt x="966" y="16693"/>
                  </a:cubicBezTo>
                  <a:cubicBezTo>
                    <a:pt x="964" y="16699"/>
                    <a:pt x="964" y="16699"/>
                    <a:pt x="964" y="16699"/>
                  </a:cubicBezTo>
                  <a:cubicBezTo>
                    <a:pt x="959" y="16699"/>
                    <a:pt x="959" y="16699"/>
                    <a:pt x="959" y="16699"/>
                  </a:cubicBezTo>
                  <a:cubicBezTo>
                    <a:pt x="959" y="16699"/>
                    <a:pt x="959" y="16700"/>
                    <a:pt x="959" y="16700"/>
                  </a:cubicBezTo>
                  <a:cubicBezTo>
                    <a:pt x="959" y="16700"/>
                    <a:pt x="959" y="16700"/>
                    <a:pt x="959" y="16700"/>
                  </a:cubicBezTo>
                  <a:cubicBezTo>
                    <a:pt x="958" y="16708"/>
                    <a:pt x="942" y="16760"/>
                    <a:pt x="925" y="16808"/>
                  </a:cubicBezTo>
                  <a:cubicBezTo>
                    <a:pt x="913" y="16846"/>
                    <a:pt x="900" y="16883"/>
                    <a:pt x="894" y="16898"/>
                  </a:cubicBezTo>
                  <a:cubicBezTo>
                    <a:pt x="873" y="16886"/>
                    <a:pt x="802" y="16849"/>
                    <a:pt x="759" y="16828"/>
                  </a:cubicBezTo>
                  <a:cubicBezTo>
                    <a:pt x="741" y="16820"/>
                    <a:pt x="731" y="16814"/>
                    <a:pt x="724" y="16813"/>
                  </a:cubicBezTo>
                  <a:cubicBezTo>
                    <a:pt x="724" y="16813"/>
                    <a:pt x="724" y="16813"/>
                    <a:pt x="724" y="16813"/>
                  </a:cubicBezTo>
                  <a:cubicBezTo>
                    <a:pt x="723" y="16813"/>
                    <a:pt x="722" y="16813"/>
                    <a:pt x="721" y="16814"/>
                  </a:cubicBezTo>
                  <a:cubicBezTo>
                    <a:pt x="716" y="16816"/>
                    <a:pt x="717" y="16817"/>
                    <a:pt x="714" y="16820"/>
                  </a:cubicBezTo>
                  <a:cubicBezTo>
                    <a:pt x="712" y="16823"/>
                    <a:pt x="709" y="16826"/>
                    <a:pt x="706" y="16831"/>
                  </a:cubicBezTo>
                  <a:cubicBezTo>
                    <a:pt x="699" y="16839"/>
                    <a:pt x="689" y="16852"/>
                    <a:pt x="678" y="16867"/>
                  </a:cubicBezTo>
                  <a:cubicBezTo>
                    <a:pt x="656" y="16897"/>
                    <a:pt x="627" y="16936"/>
                    <a:pt x="598" y="16976"/>
                  </a:cubicBezTo>
                  <a:cubicBezTo>
                    <a:pt x="595" y="16980"/>
                    <a:pt x="591" y="16985"/>
                    <a:pt x="588" y="16989"/>
                  </a:cubicBezTo>
                  <a:cubicBezTo>
                    <a:pt x="549" y="16958"/>
                    <a:pt x="549" y="16958"/>
                    <a:pt x="549" y="16958"/>
                  </a:cubicBezTo>
                  <a:cubicBezTo>
                    <a:pt x="522" y="16991"/>
                    <a:pt x="522" y="16991"/>
                    <a:pt x="522" y="16991"/>
                  </a:cubicBezTo>
                  <a:cubicBezTo>
                    <a:pt x="485" y="16962"/>
                    <a:pt x="485" y="16962"/>
                    <a:pt x="485" y="16962"/>
                  </a:cubicBezTo>
                  <a:cubicBezTo>
                    <a:pt x="435" y="17024"/>
                    <a:pt x="435" y="17024"/>
                    <a:pt x="435" y="17024"/>
                  </a:cubicBezTo>
                  <a:cubicBezTo>
                    <a:pt x="431" y="17030"/>
                    <a:pt x="431" y="17030"/>
                    <a:pt x="431" y="17030"/>
                  </a:cubicBezTo>
                  <a:cubicBezTo>
                    <a:pt x="512" y="17094"/>
                    <a:pt x="512" y="17094"/>
                    <a:pt x="512" y="17094"/>
                  </a:cubicBezTo>
                  <a:cubicBezTo>
                    <a:pt x="504" y="17105"/>
                    <a:pt x="497" y="17114"/>
                    <a:pt x="492" y="17121"/>
                  </a:cubicBezTo>
                  <a:lnTo>
                    <a:pt x="344" y="16979"/>
                  </a:lnTo>
                  <a:close/>
                  <a:moveTo>
                    <a:pt x="591" y="17008"/>
                  </a:moveTo>
                  <a:cubicBezTo>
                    <a:pt x="621" y="17032"/>
                    <a:pt x="621" y="17032"/>
                    <a:pt x="621" y="17032"/>
                  </a:cubicBezTo>
                  <a:cubicBezTo>
                    <a:pt x="595" y="17066"/>
                    <a:pt x="595" y="17066"/>
                    <a:pt x="595" y="17066"/>
                  </a:cubicBezTo>
                  <a:cubicBezTo>
                    <a:pt x="632" y="17095"/>
                    <a:pt x="632" y="17095"/>
                    <a:pt x="632" y="17095"/>
                  </a:cubicBezTo>
                  <a:cubicBezTo>
                    <a:pt x="594" y="17142"/>
                    <a:pt x="594" y="17142"/>
                    <a:pt x="594" y="17142"/>
                  </a:cubicBezTo>
                  <a:cubicBezTo>
                    <a:pt x="531" y="17092"/>
                    <a:pt x="531" y="17092"/>
                    <a:pt x="531" y="17092"/>
                  </a:cubicBezTo>
                  <a:cubicBezTo>
                    <a:pt x="548" y="17068"/>
                    <a:pt x="569" y="17039"/>
                    <a:pt x="591" y="17008"/>
                  </a:cubicBezTo>
                  <a:close/>
                  <a:moveTo>
                    <a:pt x="520" y="17083"/>
                  </a:moveTo>
                  <a:cubicBezTo>
                    <a:pt x="450" y="17028"/>
                    <a:pt x="450" y="17028"/>
                    <a:pt x="450" y="17028"/>
                  </a:cubicBezTo>
                  <a:cubicBezTo>
                    <a:pt x="487" y="16981"/>
                    <a:pt x="487" y="16981"/>
                    <a:pt x="487" y="16981"/>
                  </a:cubicBezTo>
                  <a:cubicBezTo>
                    <a:pt x="524" y="17010"/>
                    <a:pt x="524" y="17010"/>
                    <a:pt x="524" y="17010"/>
                  </a:cubicBezTo>
                  <a:cubicBezTo>
                    <a:pt x="551" y="16976"/>
                    <a:pt x="551" y="16976"/>
                    <a:pt x="551" y="16976"/>
                  </a:cubicBezTo>
                  <a:cubicBezTo>
                    <a:pt x="580" y="17000"/>
                    <a:pt x="580" y="17000"/>
                    <a:pt x="580" y="17000"/>
                  </a:cubicBezTo>
                  <a:cubicBezTo>
                    <a:pt x="558" y="17030"/>
                    <a:pt x="537" y="17060"/>
                    <a:pt x="520" y="17083"/>
                  </a:cubicBezTo>
                  <a:close/>
                  <a:moveTo>
                    <a:pt x="700" y="17319"/>
                  </a:moveTo>
                  <a:cubicBezTo>
                    <a:pt x="503" y="17131"/>
                    <a:pt x="503" y="17131"/>
                    <a:pt x="503" y="17131"/>
                  </a:cubicBezTo>
                  <a:cubicBezTo>
                    <a:pt x="507" y="17124"/>
                    <a:pt x="514" y="17114"/>
                    <a:pt x="523" y="17102"/>
                  </a:cubicBezTo>
                  <a:cubicBezTo>
                    <a:pt x="596" y="17161"/>
                    <a:pt x="596" y="17161"/>
                    <a:pt x="596" y="17161"/>
                  </a:cubicBezTo>
                  <a:cubicBezTo>
                    <a:pt x="650" y="17093"/>
                    <a:pt x="650" y="17093"/>
                    <a:pt x="650" y="17093"/>
                  </a:cubicBezTo>
                  <a:cubicBezTo>
                    <a:pt x="613" y="17064"/>
                    <a:pt x="613" y="17064"/>
                    <a:pt x="613" y="17064"/>
                  </a:cubicBezTo>
                  <a:cubicBezTo>
                    <a:pt x="640" y="17030"/>
                    <a:pt x="640" y="17030"/>
                    <a:pt x="640" y="17030"/>
                  </a:cubicBezTo>
                  <a:cubicBezTo>
                    <a:pt x="599" y="16998"/>
                    <a:pt x="599" y="16998"/>
                    <a:pt x="599" y="16998"/>
                  </a:cubicBezTo>
                  <a:cubicBezTo>
                    <a:pt x="602" y="16994"/>
                    <a:pt x="604" y="16991"/>
                    <a:pt x="606" y="16988"/>
                  </a:cubicBezTo>
                  <a:cubicBezTo>
                    <a:pt x="659" y="16916"/>
                    <a:pt x="714" y="16841"/>
                    <a:pt x="726" y="16828"/>
                  </a:cubicBezTo>
                  <a:cubicBezTo>
                    <a:pt x="727" y="16829"/>
                    <a:pt x="729" y="16829"/>
                    <a:pt x="732" y="16831"/>
                  </a:cubicBezTo>
                  <a:cubicBezTo>
                    <a:pt x="737" y="16833"/>
                    <a:pt x="745" y="16836"/>
                    <a:pt x="753" y="16840"/>
                  </a:cubicBezTo>
                  <a:cubicBezTo>
                    <a:pt x="770" y="16848"/>
                    <a:pt x="791" y="16859"/>
                    <a:pt x="812" y="16870"/>
                  </a:cubicBezTo>
                  <a:cubicBezTo>
                    <a:pt x="852" y="16891"/>
                    <a:pt x="889" y="16911"/>
                    <a:pt x="894" y="16914"/>
                  </a:cubicBezTo>
                  <a:cubicBezTo>
                    <a:pt x="965" y="16971"/>
                    <a:pt x="965" y="16971"/>
                    <a:pt x="965" y="16971"/>
                  </a:cubicBezTo>
                  <a:cubicBezTo>
                    <a:pt x="703" y="17320"/>
                    <a:pt x="703" y="17320"/>
                    <a:pt x="703" y="17320"/>
                  </a:cubicBezTo>
                  <a:lnTo>
                    <a:pt x="700" y="17319"/>
                  </a:lnTo>
                  <a:close/>
                  <a:moveTo>
                    <a:pt x="928" y="17418"/>
                  </a:moveTo>
                  <a:cubicBezTo>
                    <a:pt x="716" y="17326"/>
                    <a:pt x="716" y="17326"/>
                    <a:pt x="716" y="17326"/>
                  </a:cubicBezTo>
                  <a:cubicBezTo>
                    <a:pt x="976" y="16979"/>
                    <a:pt x="976" y="16979"/>
                    <a:pt x="976" y="16979"/>
                  </a:cubicBezTo>
                  <a:cubicBezTo>
                    <a:pt x="1033" y="17025"/>
                    <a:pt x="1033" y="17025"/>
                    <a:pt x="1033" y="17025"/>
                  </a:cubicBezTo>
                  <a:cubicBezTo>
                    <a:pt x="1123" y="17143"/>
                    <a:pt x="1123" y="17143"/>
                    <a:pt x="1123" y="17143"/>
                  </a:cubicBezTo>
                  <a:cubicBezTo>
                    <a:pt x="1121" y="17145"/>
                    <a:pt x="1119" y="17147"/>
                    <a:pt x="1117" y="17150"/>
                  </a:cubicBezTo>
                  <a:cubicBezTo>
                    <a:pt x="1111" y="17157"/>
                    <a:pt x="1104" y="17168"/>
                    <a:pt x="1095" y="17181"/>
                  </a:cubicBezTo>
                  <a:cubicBezTo>
                    <a:pt x="1077" y="17205"/>
                    <a:pt x="1055" y="17238"/>
                    <a:pt x="1032" y="17271"/>
                  </a:cubicBezTo>
                  <a:cubicBezTo>
                    <a:pt x="987" y="17244"/>
                    <a:pt x="987" y="17244"/>
                    <a:pt x="987" y="17244"/>
                  </a:cubicBezTo>
                  <a:cubicBezTo>
                    <a:pt x="965" y="17282"/>
                    <a:pt x="965" y="17282"/>
                    <a:pt x="965" y="17282"/>
                  </a:cubicBezTo>
                  <a:cubicBezTo>
                    <a:pt x="925" y="17258"/>
                    <a:pt x="925" y="17258"/>
                    <a:pt x="925" y="17258"/>
                  </a:cubicBezTo>
                  <a:cubicBezTo>
                    <a:pt x="885" y="17327"/>
                    <a:pt x="885" y="17327"/>
                    <a:pt x="885" y="17327"/>
                  </a:cubicBezTo>
                  <a:cubicBezTo>
                    <a:pt x="881" y="17332"/>
                    <a:pt x="881" y="17332"/>
                    <a:pt x="881" y="17332"/>
                  </a:cubicBezTo>
                  <a:cubicBezTo>
                    <a:pt x="958" y="17377"/>
                    <a:pt x="958" y="17377"/>
                    <a:pt x="958" y="17377"/>
                  </a:cubicBezTo>
                  <a:cubicBezTo>
                    <a:pt x="944" y="17396"/>
                    <a:pt x="934" y="17410"/>
                    <a:pt x="928" y="17418"/>
                  </a:cubicBezTo>
                  <a:close/>
                  <a:moveTo>
                    <a:pt x="1029" y="17300"/>
                  </a:moveTo>
                  <a:cubicBezTo>
                    <a:pt x="1031" y="17296"/>
                    <a:pt x="1034" y="17292"/>
                    <a:pt x="1036" y="17289"/>
                  </a:cubicBezTo>
                  <a:cubicBezTo>
                    <a:pt x="1070" y="17308"/>
                    <a:pt x="1070" y="17308"/>
                    <a:pt x="1070" y="17308"/>
                  </a:cubicBezTo>
                  <a:cubicBezTo>
                    <a:pt x="1048" y="17345"/>
                    <a:pt x="1048" y="17345"/>
                    <a:pt x="1048" y="17345"/>
                  </a:cubicBezTo>
                  <a:cubicBezTo>
                    <a:pt x="1089" y="17369"/>
                    <a:pt x="1089" y="17369"/>
                    <a:pt x="1089" y="17369"/>
                  </a:cubicBezTo>
                  <a:cubicBezTo>
                    <a:pt x="1058" y="17421"/>
                    <a:pt x="1058" y="17421"/>
                    <a:pt x="1058" y="17421"/>
                  </a:cubicBezTo>
                  <a:cubicBezTo>
                    <a:pt x="977" y="17373"/>
                    <a:pt x="977" y="17373"/>
                    <a:pt x="977" y="17373"/>
                  </a:cubicBezTo>
                  <a:cubicBezTo>
                    <a:pt x="993" y="17352"/>
                    <a:pt x="1011" y="17326"/>
                    <a:pt x="1029" y="17300"/>
                  </a:cubicBezTo>
                  <a:close/>
                  <a:moveTo>
                    <a:pt x="965" y="17366"/>
                  </a:moveTo>
                  <a:cubicBezTo>
                    <a:pt x="899" y="17328"/>
                    <a:pt x="899" y="17328"/>
                    <a:pt x="899" y="17328"/>
                  </a:cubicBezTo>
                  <a:cubicBezTo>
                    <a:pt x="930" y="17276"/>
                    <a:pt x="930" y="17276"/>
                    <a:pt x="930" y="17276"/>
                  </a:cubicBezTo>
                  <a:cubicBezTo>
                    <a:pt x="970" y="17300"/>
                    <a:pt x="970" y="17300"/>
                    <a:pt x="970" y="17300"/>
                  </a:cubicBezTo>
                  <a:cubicBezTo>
                    <a:pt x="992" y="17262"/>
                    <a:pt x="992" y="17262"/>
                    <a:pt x="992" y="17262"/>
                  </a:cubicBezTo>
                  <a:cubicBezTo>
                    <a:pt x="1024" y="17282"/>
                    <a:pt x="1024" y="17282"/>
                    <a:pt x="1024" y="17282"/>
                  </a:cubicBezTo>
                  <a:cubicBezTo>
                    <a:pt x="1004" y="17311"/>
                    <a:pt x="983" y="17341"/>
                    <a:pt x="965" y="17366"/>
                  </a:cubicBezTo>
                  <a:close/>
                  <a:moveTo>
                    <a:pt x="1271" y="17563"/>
                  </a:moveTo>
                  <a:cubicBezTo>
                    <a:pt x="1294" y="17509"/>
                    <a:pt x="1294" y="17509"/>
                    <a:pt x="1294" y="17509"/>
                  </a:cubicBezTo>
                  <a:cubicBezTo>
                    <a:pt x="1393" y="17547"/>
                    <a:pt x="1393" y="17547"/>
                    <a:pt x="1393" y="17547"/>
                  </a:cubicBezTo>
                  <a:cubicBezTo>
                    <a:pt x="1424" y="17467"/>
                    <a:pt x="1424" y="17467"/>
                    <a:pt x="1424" y="17467"/>
                  </a:cubicBezTo>
                  <a:cubicBezTo>
                    <a:pt x="1380" y="17450"/>
                    <a:pt x="1380" y="17450"/>
                    <a:pt x="1380" y="17450"/>
                  </a:cubicBezTo>
                  <a:cubicBezTo>
                    <a:pt x="1395" y="17410"/>
                    <a:pt x="1395" y="17410"/>
                    <a:pt x="1395" y="17410"/>
                  </a:cubicBezTo>
                  <a:cubicBezTo>
                    <a:pt x="1346" y="17390"/>
                    <a:pt x="1346" y="17390"/>
                    <a:pt x="1346" y="17390"/>
                  </a:cubicBezTo>
                  <a:cubicBezTo>
                    <a:pt x="1384" y="17302"/>
                    <a:pt x="1384" y="17302"/>
                    <a:pt x="1384" y="17302"/>
                  </a:cubicBezTo>
                  <a:cubicBezTo>
                    <a:pt x="1371" y="17297"/>
                    <a:pt x="1371" y="17297"/>
                    <a:pt x="1371" y="17297"/>
                  </a:cubicBezTo>
                  <a:cubicBezTo>
                    <a:pt x="1332" y="17385"/>
                    <a:pt x="1332" y="17385"/>
                    <a:pt x="1332" y="17385"/>
                  </a:cubicBezTo>
                  <a:cubicBezTo>
                    <a:pt x="1286" y="17368"/>
                    <a:pt x="1286" y="17368"/>
                    <a:pt x="1286" y="17368"/>
                  </a:cubicBezTo>
                  <a:cubicBezTo>
                    <a:pt x="1271" y="17408"/>
                    <a:pt x="1271" y="17408"/>
                    <a:pt x="1271" y="17408"/>
                  </a:cubicBezTo>
                  <a:cubicBezTo>
                    <a:pt x="1227" y="17391"/>
                    <a:pt x="1227" y="17391"/>
                    <a:pt x="1227" y="17391"/>
                  </a:cubicBezTo>
                  <a:cubicBezTo>
                    <a:pt x="1199" y="17466"/>
                    <a:pt x="1199" y="17466"/>
                    <a:pt x="1199" y="17466"/>
                  </a:cubicBezTo>
                  <a:cubicBezTo>
                    <a:pt x="1196" y="17472"/>
                    <a:pt x="1196" y="17472"/>
                    <a:pt x="1196" y="17472"/>
                  </a:cubicBezTo>
                  <a:cubicBezTo>
                    <a:pt x="1281" y="17504"/>
                    <a:pt x="1281" y="17504"/>
                    <a:pt x="1281" y="17504"/>
                  </a:cubicBezTo>
                  <a:cubicBezTo>
                    <a:pt x="1257" y="17560"/>
                    <a:pt x="1257" y="17560"/>
                    <a:pt x="1257" y="17560"/>
                  </a:cubicBezTo>
                  <a:cubicBezTo>
                    <a:pt x="1256" y="17560"/>
                    <a:pt x="1255" y="17560"/>
                    <a:pt x="1255" y="17560"/>
                  </a:cubicBezTo>
                  <a:cubicBezTo>
                    <a:pt x="941" y="17423"/>
                    <a:pt x="941" y="17423"/>
                    <a:pt x="941" y="17423"/>
                  </a:cubicBezTo>
                  <a:cubicBezTo>
                    <a:pt x="941" y="17423"/>
                    <a:pt x="941" y="17423"/>
                    <a:pt x="942" y="17422"/>
                  </a:cubicBezTo>
                  <a:cubicBezTo>
                    <a:pt x="947" y="17415"/>
                    <a:pt x="955" y="17405"/>
                    <a:pt x="964" y="17392"/>
                  </a:cubicBezTo>
                  <a:cubicBezTo>
                    <a:pt x="966" y="17390"/>
                    <a:pt x="968" y="17387"/>
                    <a:pt x="970" y="17384"/>
                  </a:cubicBezTo>
                  <a:cubicBezTo>
                    <a:pt x="1063" y="17439"/>
                    <a:pt x="1063" y="17439"/>
                    <a:pt x="1063" y="17439"/>
                  </a:cubicBezTo>
                  <a:cubicBezTo>
                    <a:pt x="1107" y="17364"/>
                    <a:pt x="1107" y="17364"/>
                    <a:pt x="1107" y="17364"/>
                  </a:cubicBezTo>
                  <a:cubicBezTo>
                    <a:pt x="1066" y="17341"/>
                    <a:pt x="1066" y="17341"/>
                    <a:pt x="1066" y="17341"/>
                  </a:cubicBezTo>
                  <a:cubicBezTo>
                    <a:pt x="1088" y="17303"/>
                    <a:pt x="1088" y="17303"/>
                    <a:pt x="1088" y="17303"/>
                  </a:cubicBezTo>
                  <a:cubicBezTo>
                    <a:pt x="1044" y="17278"/>
                    <a:pt x="1044" y="17278"/>
                    <a:pt x="1044" y="17278"/>
                  </a:cubicBezTo>
                  <a:cubicBezTo>
                    <a:pt x="1082" y="17223"/>
                    <a:pt x="1118" y="17171"/>
                    <a:pt x="1132" y="17154"/>
                  </a:cubicBezTo>
                  <a:cubicBezTo>
                    <a:pt x="1204" y="17248"/>
                    <a:pt x="1204" y="17248"/>
                    <a:pt x="1204" y="17248"/>
                  </a:cubicBezTo>
                  <a:cubicBezTo>
                    <a:pt x="1668" y="17382"/>
                    <a:pt x="1668" y="17382"/>
                    <a:pt x="1668" y="17382"/>
                  </a:cubicBezTo>
                  <a:cubicBezTo>
                    <a:pt x="1580" y="17626"/>
                    <a:pt x="1580" y="17626"/>
                    <a:pt x="1580" y="17626"/>
                  </a:cubicBezTo>
                  <a:cubicBezTo>
                    <a:pt x="1434" y="17596"/>
                    <a:pt x="1313" y="17572"/>
                    <a:pt x="1271" y="17563"/>
                  </a:cubicBezTo>
                  <a:close/>
                  <a:moveTo>
                    <a:pt x="1407" y="17474"/>
                  </a:moveTo>
                  <a:cubicBezTo>
                    <a:pt x="1385" y="17530"/>
                    <a:pt x="1385" y="17530"/>
                    <a:pt x="1385" y="17530"/>
                  </a:cubicBezTo>
                  <a:cubicBezTo>
                    <a:pt x="1299" y="17497"/>
                    <a:pt x="1299" y="17497"/>
                    <a:pt x="1299" y="17497"/>
                  </a:cubicBezTo>
                  <a:cubicBezTo>
                    <a:pt x="1340" y="17403"/>
                    <a:pt x="1340" y="17403"/>
                    <a:pt x="1340" y="17403"/>
                  </a:cubicBezTo>
                  <a:cubicBezTo>
                    <a:pt x="1378" y="17417"/>
                    <a:pt x="1378" y="17417"/>
                    <a:pt x="1378" y="17417"/>
                  </a:cubicBezTo>
                  <a:cubicBezTo>
                    <a:pt x="1363" y="17457"/>
                    <a:pt x="1363" y="17457"/>
                    <a:pt x="1363" y="17457"/>
                  </a:cubicBezTo>
                  <a:lnTo>
                    <a:pt x="1407" y="17474"/>
                  </a:lnTo>
                  <a:close/>
                  <a:moveTo>
                    <a:pt x="1286" y="17492"/>
                  </a:moveTo>
                  <a:cubicBezTo>
                    <a:pt x="1213" y="17464"/>
                    <a:pt x="1213" y="17464"/>
                    <a:pt x="1213" y="17464"/>
                  </a:cubicBezTo>
                  <a:cubicBezTo>
                    <a:pt x="1235" y="17408"/>
                    <a:pt x="1235" y="17408"/>
                    <a:pt x="1235" y="17408"/>
                  </a:cubicBezTo>
                  <a:cubicBezTo>
                    <a:pt x="1279" y="17425"/>
                    <a:pt x="1279" y="17425"/>
                    <a:pt x="1279" y="17425"/>
                  </a:cubicBezTo>
                  <a:cubicBezTo>
                    <a:pt x="1294" y="17385"/>
                    <a:pt x="1294" y="17385"/>
                    <a:pt x="1294" y="17385"/>
                  </a:cubicBezTo>
                  <a:cubicBezTo>
                    <a:pt x="1327" y="17398"/>
                    <a:pt x="1327" y="17398"/>
                    <a:pt x="1327" y="17398"/>
                  </a:cubicBezTo>
                  <a:lnTo>
                    <a:pt x="1286" y="17492"/>
                  </a:lnTo>
                  <a:close/>
                  <a:moveTo>
                    <a:pt x="2518" y="17651"/>
                  </a:moveTo>
                  <a:cubicBezTo>
                    <a:pt x="2494" y="17658"/>
                    <a:pt x="2394" y="17689"/>
                    <a:pt x="2323" y="17774"/>
                  </a:cubicBezTo>
                  <a:cubicBezTo>
                    <a:pt x="2293" y="17769"/>
                    <a:pt x="2037" y="17718"/>
                    <a:pt x="1786" y="17667"/>
                  </a:cubicBezTo>
                  <a:cubicBezTo>
                    <a:pt x="1720" y="17654"/>
                    <a:pt x="1655" y="17641"/>
                    <a:pt x="1594" y="17628"/>
                  </a:cubicBezTo>
                  <a:cubicBezTo>
                    <a:pt x="1682" y="17386"/>
                    <a:pt x="1682" y="17386"/>
                    <a:pt x="1682" y="17386"/>
                  </a:cubicBezTo>
                  <a:cubicBezTo>
                    <a:pt x="1818" y="17425"/>
                    <a:pt x="1818" y="17425"/>
                    <a:pt x="1818" y="17425"/>
                  </a:cubicBezTo>
                  <a:cubicBezTo>
                    <a:pt x="1864" y="17313"/>
                    <a:pt x="1864" y="17313"/>
                    <a:pt x="1864" y="17313"/>
                  </a:cubicBezTo>
                  <a:cubicBezTo>
                    <a:pt x="1866" y="17315"/>
                    <a:pt x="1869" y="17318"/>
                    <a:pt x="1874" y="17320"/>
                  </a:cubicBezTo>
                  <a:cubicBezTo>
                    <a:pt x="1893" y="17282"/>
                    <a:pt x="1893" y="17282"/>
                    <a:pt x="1893" y="17282"/>
                  </a:cubicBezTo>
                  <a:cubicBezTo>
                    <a:pt x="1895" y="17281"/>
                    <a:pt x="1895" y="17281"/>
                    <a:pt x="1895" y="17281"/>
                  </a:cubicBezTo>
                  <a:cubicBezTo>
                    <a:pt x="2521" y="17395"/>
                    <a:pt x="2521" y="17395"/>
                    <a:pt x="2521" y="17395"/>
                  </a:cubicBezTo>
                  <a:lnTo>
                    <a:pt x="2518" y="17651"/>
                  </a:lnTo>
                  <a:close/>
                  <a:moveTo>
                    <a:pt x="2188" y="17320"/>
                  </a:moveTo>
                  <a:cubicBezTo>
                    <a:pt x="2200" y="17177"/>
                    <a:pt x="2200" y="17177"/>
                    <a:pt x="2200" y="17177"/>
                  </a:cubicBezTo>
                  <a:cubicBezTo>
                    <a:pt x="2440" y="17217"/>
                    <a:pt x="2440" y="17217"/>
                    <a:pt x="2440" y="17217"/>
                  </a:cubicBezTo>
                  <a:cubicBezTo>
                    <a:pt x="2441" y="17346"/>
                    <a:pt x="2441" y="17346"/>
                    <a:pt x="2441" y="17346"/>
                  </a:cubicBezTo>
                  <a:cubicBezTo>
                    <a:pt x="2575" y="17340"/>
                    <a:pt x="2575" y="17340"/>
                    <a:pt x="2575" y="17340"/>
                  </a:cubicBezTo>
                  <a:cubicBezTo>
                    <a:pt x="2574" y="17239"/>
                    <a:pt x="2574" y="17239"/>
                    <a:pt x="2574" y="17239"/>
                  </a:cubicBezTo>
                  <a:cubicBezTo>
                    <a:pt x="2578" y="17239"/>
                    <a:pt x="2578" y="17239"/>
                    <a:pt x="2578" y="17239"/>
                  </a:cubicBezTo>
                  <a:cubicBezTo>
                    <a:pt x="2579" y="17293"/>
                    <a:pt x="2580" y="17344"/>
                    <a:pt x="2582" y="17392"/>
                  </a:cubicBezTo>
                  <a:lnTo>
                    <a:pt x="2188" y="17320"/>
                  </a:lnTo>
                  <a:close/>
                  <a:moveTo>
                    <a:pt x="2390" y="15853"/>
                  </a:moveTo>
                  <a:cubicBezTo>
                    <a:pt x="2372" y="15813"/>
                    <a:pt x="2319" y="15715"/>
                    <a:pt x="2208" y="15618"/>
                  </a:cubicBezTo>
                  <a:cubicBezTo>
                    <a:pt x="2231" y="15612"/>
                    <a:pt x="2263" y="15605"/>
                    <a:pt x="2306" y="15595"/>
                  </a:cubicBezTo>
                  <a:cubicBezTo>
                    <a:pt x="2379" y="15580"/>
                    <a:pt x="2453" y="15549"/>
                    <a:pt x="2507" y="15524"/>
                  </a:cubicBezTo>
                  <a:cubicBezTo>
                    <a:pt x="2511" y="15529"/>
                    <a:pt x="2515" y="15535"/>
                    <a:pt x="2519" y="15542"/>
                  </a:cubicBezTo>
                  <a:cubicBezTo>
                    <a:pt x="2535" y="15566"/>
                    <a:pt x="2555" y="15598"/>
                    <a:pt x="2576" y="15629"/>
                  </a:cubicBezTo>
                  <a:cubicBezTo>
                    <a:pt x="2616" y="15689"/>
                    <a:pt x="2658" y="15753"/>
                    <a:pt x="2661" y="15760"/>
                  </a:cubicBezTo>
                  <a:cubicBezTo>
                    <a:pt x="2634" y="15794"/>
                    <a:pt x="2611" y="15835"/>
                    <a:pt x="2595" y="15882"/>
                  </a:cubicBezTo>
                  <a:lnTo>
                    <a:pt x="2390" y="15853"/>
                  </a:lnTo>
                  <a:close/>
                  <a:moveTo>
                    <a:pt x="2638" y="16629"/>
                  </a:moveTo>
                  <a:cubicBezTo>
                    <a:pt x="2638" y="16482"/>
                    <a:pt x="2639" y="16343"/>
                    <a:pt x="2639" y="16231"/>
                  </a:cubicBezTo>
                  <a:cubicBezTo>
                    <a:pt x="3123" y="16217"/>
                    <a:pt x="3123" y="16217"/>
                    <a:pt x="3123" y="16217"/>
                  </a:cubicBezTo>
                  <a:cubicBezTo>
                    <a:pt x="3123" y="16203"/>
                    <a:pt x="3123" y="16203"/>
                    <a:pt x="3123" y="16203"/>
                  </a:cubicBezTo>
                  <a:cubicBezTo>
                    <a:pt x="2640" y="16217"/>
                    <a:pt x="2640" y="16217"/>
                    <a:pt x="2640" y="16217"/>
                  </a:cubicBezTo>
                  <a:cubicBezTo>
                    <a:pt x="2640" y="16124"/>
                    <a:pt x="2641" y="16050"/>
                    <a:pt x="2641" y="16006"/>
                  </a:cubicBezTo>
                  <a:cubicBezTo>
                    <a:pt x="2641" y="15978"/>
                    <a:pt x="2644" y="15952"/>
                    <a:pt x="2650" y="15928"/>
                  </a:cubicBezTo>
                  <a:cubicBezTo>
                    <a:pt x="3150" y="15980"/>
                    <a:pt x="3150" y="15980"/>
                    <a:pt x="3150" y="15980"/>
                  </a:cubicBezTo>
                  <a:cubicBezTo>
                    <a:pt x="3140" y="16076"/>
                    <a:pt x="3124" y="16211"/>
                    <a:pt x="3124" y="16212"/>
                  </a:cubicBezTo>
                  <a:cubicBezTo>
                    <a:pt x="3124" y="16215"/>
                    <a:pt x="3124" y="16215"/>
                    <a:pt x="3124" y="16215"/>
                  </a:cubicBezTo>
                  <a:cubicBezTo>
                    <a:pt x="3182" y="16270"/>
                    <a:pt x="3182" y="16270"/>
                    <a:pt x="3182" y="16270"/>
                  </a:cubicBezTo>
                  <a:cubicBezTo>
                    <a:pt x="3074" y="16627"/>
                    <a:pt x="3074" y="16627"/>
                    <a:pt x="3074" y="16627"/>
                  </a:cubicBezTo>
                  <a:cubicBezTo>
                    <a:pt x="3044" y="16630"/>
                    <a:pt x="3012" y="16634"/>
                    <a:pt x="2981" y="16637"/>
                  </a:cubicBezTo>
                  <a:cubicBezTo>
                    <a:pt x="2842" y="16654"/>
                    <a:pt x="2703" y="16669"/>
                    <a:pt x="2638" y="16676"/>
                  </a:cubicBezTo>
                  <a:cubicBezTo>
                    <a:pt x="2638" y="16660"/>
                    <a:pt x="2638" y="16644"/>
                    <a:pt x="2638" y="16629"/>
                  </a:cubicBezTo>
                  <a:close/>
                  <a:moveTo>
                    <a:pt x="2968" y="16844"/>
                  </a:moveTo>
                  <a:cubicBezTo>
                    <a:pt x="2970" y="16880"/>
                    <a:pt x="2972" y="16916"/>
                    <a:pt x="2974" y="16947"/>
                  </a:cubicBezTo>
                  <a:cubicBezTo>
                    <a:pt x="2922" y="16954"/>
                    <a:pt x="2880" y="16960"/>
                    <a:pt x="2865" y="16962"/>
                  </a:cubicBezTo>
                  <a:cubicBezTo>
                    <a:pt x="2849" y="16855"/>
                    <a:pt x="2849" y="16855"/>
                    <a:pt x="2849" y="16855"/>
                  </a:cubicBezTo>
                  <a:cubicBezTo>
                    <a:pt x="2967" y="16840"/>
                    <a:pt x="2967" y="16840"/>
                    <a:pt x="2967" y="16840"/>
                  </a:cubicBezTo>
                  <a:cubicBezTo>
                    <a:pt x="2967" y="16841"/>
                    <a:pt x="2967" y="16843"/>
                    <a:pt x="2968" y="16844"/>
                  </a:cubicBezTo>
                  <a:close/>
                  <a:moveTo>
                    <a:pt x="2641" y="17070"/>
                  </a:moveTo>
                  <a:cubicBezTo>
                    <a:pt x="2640" y="17020"/>
                    <a:pt x="2640" y="16970"/>
                    <a:pt x="2639" y="16919"/>
                  </a:cubicBezTo>
                  <a:cubicBezTo>
                    <a:pt x="2638" y="16853"/>
                    <a:pt x="2638" y="16787"/>
                    <a:pt x="2638" y="16721"/>
                  </a:cubicBezTo>
                  <a:cubicBezTo>
                    <a:pt x="2696" y="16715"/>
                    <a:pt x="2823" y="16701"/>
                    <a:pt x="2956" y="16686"/>
                  </a:cubicBezTo>
                  <a:cubicBezTo>
                    <a:pt x="2957" y="16695"/>
                    <a:pt x="2958" y="16705"/>
                    <a:pt x="2959" y="16717"/>
                  </a:cubicBezTo>
                  <a:cubicBezTo>
                    <a:pt x="2961" y="16748"/>
                    <a:pt x="2964" y="16787"/>
                    <a:pt x="2966" y="16827"/>
                  </a:cubicBezTo>
                  <a:cubicBezTo>
                    <a:pt x="2834" y="16844"/>
                    <a:pt x="2834" y="16844"/>
                    <a:pt x="2834" y="16844"/>
                  </a:cubicBezTo>
                  <a:cubicBezTo>
                    <a:pt x="2854" y="16977"/>
                    <a:pt x="2854" y="16977"/>
                    <a:pt x="2854" y="16977"/>
                  </a:cubicBezTo>
                  <a:cubicBezTo>
                    <a:pt x="2860" y="16976"/>
                    <a:pt x="2860" y="16976"/>
                    <a:pt x="2860" y="16976"/>
                  </a:cubicBezTo>
                  <a:cubicBezTo>
                    <a:pt x="2860" y="16976"/>
                    <a:pt x="2909" y="16969"/>
                    <a:pt x="2975" y="16960"/>
                  </a:cubicBezTo>
                  <a:cubicBezTo>
                    <a:pt x="2976" y="16982"/>
                    <a:pt x="2977" y="17000"/>
                    <a:pt x="2978" y="17012"/>
                  </a:cubicBezTo>
                  <a:lnTo>
                    <a:pt x="2641" y="17070"/>
                  </a:lnTo>
                  <a:close/>
                  <a:moveTo>
                    <a:pt x="2970" y="16684"/>
                  </a:moveTo>
                  <a:cubicBezTo>
                    <a:pt x="3035" y="16677"/>
                    <a:pt x="3101" y="16669"/>
                    <a:pt x="3161" y="16662"/>
                  </a:cubicBezTo>
                  <a:cubicBezTo>
                    <a:pt x="3161" y="16664"/>
                    <a:pt x="3161" y="16666"/>
                    <a:pt x="3161" y="16668"/>
                  </a:cubicBezTo>
                  <a:cubicBezTo>
                    <a:pt x="3162" y="16682"/>
                    <a:pt x="3162" y="16701"/>
                    <a:pt x="3162" y="16723"/>
                  </a:cubicBezTo>
                  <a:cubicBezTo>
                    <a:pt x="3163" y="16746"/>
                    <a:pt x="3163" y="16773"/>
                    <a:pt x="3163" y="16801"/>
                  </a:cubicBezTo>
                  <a:cubicBezTo>
                    <a:pt x="2980" y="16825"/>
                    <a:pt x="2980" y="16825"/>
                    <a:pt x="2980" y="16825"/>
                  </a:cubicBezTo>
                  <a:cubicBezTo>
                    <a:pt x="2977" y="16768"/>
                    <a:pt x="2973" y="16715"/>
                    <a:pt x="2970" y="16684"/>
                  </a:cubicBezTo>
                  <a:close/>
                  <a:moveTo>
                    <a:pt x="2981" y="16838"/>
                  </a:moveTo>
                  <a:cubicBezTo>
                    <a:pt x="3163" y="16814"/>
                    <a:pt x="3163" y="16814"/>
                    <a:pt x="3163" y="16814"/>
                  </a:cubicBezTo>
                  <a:cubicBezTo>
                    <a:pt x="3163" y="16834"/>
                    <a:pt x="3163" y="16855"/>
                    <a:pt x="3163" y="16874"/>
                  </a:cubicBezTo>
                  <a:cubicBezTo>
                    <a:pt x="3163" y="16891"/>
                    <a:pt x="3163" y="16907"/>
                    <a:pt x="3163" y="16921"/>
                  </a:cubicBezTo>
                  <a:cubicBezTo>
                    <a:pt x="3135" y="16925"/>
                    <a:pt x="3105" y="16929"/>
                    <a:pt x="3075" y="16933"/>
                  </a:cubicBezTo>
                  <a:cubicBezTo>
                    <a:pt x="3045" y="16937"/>
                    <a:pt x="3015" y="16941"/>
                    <a:pt x="2988" y="16945"/>
                  </a:cubicBezTo>
                  <a:cubicBezTo>
                    <a:pt x="2986" y="16913"/>
                    <a:pt x="2983" y="16876"/>
                    <a:pt x="2981" y="16838"/>
                  </a:cubicBezTo>
                  <a:close/>
                  <a:moveTo>
                    <a:pt x="2991" y="17009"/>
                  </a:moveTo>
                  <a:cubicBezTo>
                    <a:pt x="2991" y="16997"/>
                    <a:pt x="2990" y="16980"/>
                    <a:pt x="2988" y="16958"/>
                  </a:cubicBezTo>
                  <a:cubicBezTo>
                    <a:pt x="3043" y="16951"/>
                    <a:pt x="3108" y="16942"/>
                    <a:pt x="3163" y="16934"/>
                  </a:cubicBezTo>
                  <a:cubicBezTo>
                    <a:pt x="3163" y="16953"/>
                    <a:pt x="3163" y="16969"/>
                    <a:pt x="3163" y="16980"/>
                  </a:cubicBezTo>
                  <a:lnTo>
                    <a:pt x="2991" y="17009"/>
                  </a:lnTo>
                  <a:close/>
                  <a:moveTo>
                    <a:pt x="3205" y="17525"/>
                  </a:moveTo>
                  <a:cubicBezTo>
                    <a:pt x="3205" y="17525"/>
                    <a:pt x="3205" y="17525"/>
                    <a:pt x="3205" y="17525"/>
                  </a:cubicBezTo>
                  <a:cubicBezTo>
                    <a:pt x="3208" y="17522"/>
                    <a:pt x="3208" y="17522"/>
                    <a:pt x="3208" y="17522"/>
                  </a:cubicBezTo>
                  <a:lnTo>
                    <a:pt x="3205" y="17525"/>
                  </a:lnTo>
                  <a:close/>
                  <a:moveTo>
                    <a:pt x="3200" y="17519"/>
                  </a:moveTo>
                  <a:cubicBezTo>
                    <a:pt x="3200" y="17519"/>
                    <a:pt x="3200" y="17519"/>
                    <a:pt x="3199" y="17519"/>
                  </a:cubicBezTo>
                  <a:cubicBezTo>
                    <a:pt x="3192" y="17512"/>
                    <a:pt x="3192" y="17512"/>
                    <a:pt x="3192" y="17512"/>
                  </a:cubicBezTo>
                  <a:cubicBezTo>
                    <a:pt x="3074" y="17263"/>
                    <a:pt x="3074" y="17263"/>
                    <a:pt x="3074" y="17263"/>
                  </a:cubicBezTo>
                  <a:cubicBezTo>
                    <a:pt x="3019" y="17050"/>
                    <a:pt x="3019" y="17050"/>
                    <a:pt x="3019" y="17050"/>
                  </a:cubicBezTo>
                  <a:cubicBezTo>
                    <a:pt x="3662" y="16940"/>
                    <a:pt x="3662" y="16940"/>
                    <a:pt x="3662" y="16940"/>
                  </a:cubicBezTo>
                  <a:cubicBezTo>
                    <a:pt x="3713" y="17234"/>
                    <a:pt x="3713" y="17234"/>
                    <a:pt x="3713" y="17234"/>
                  </a:cubicBezTo>
                  <a:cubicBezTo>
                    <a:pt x="3666" y="17259"/>
                    <a:pt x="3230" y="17495"/>
                    <a:pt x="3200" y="17519"/>
                  </a:cubicBezTo>
                  <a:close/>
                  <a:moveTo>
                    <a:pt x="4266" y="17546"/>
                  </a:moveTo>
                  <a:cubicBezTo>
                    <a:pt x="4265" y="17548"/>
                    <a:pt x="4263" y="17545"/>
                    <a:pt x="4261" y="17553"/>
                  </a:cubicBezTo>
                  <a:cubicBezTo>
                    <a:pt x="4261" y="17553"/>
                    <a:pt x="4262" y="17554"/>
                    <a:pt x="4262" y="17554"/>
                  </a:cubicBezTo>
                  <a:cubicBezTo>
                    <a:pt x="4262" y="17555"/>
                    <a:pt x="4261" y="17555"/>
                    <a:pt x="4261" y="17556"/>
                  </a:cubicBezTo>
                  <a:cubicBezTo>
                    <a:pt x="4260" y="17558"/>
                    <a:pt x="4259" y="17561"/>
                    <a:pt x="4258" y="17565"/>
                  </a:cubicBezTo>
                  <a:cubicBezTo>
                    <a:pt x="4256" y="17571"/>
                    <a:pt x="4252" y="17580"/>
                    <a:pt x="4248" y="17591"/>
                  </a:cubicBezTo>
                  <a:cubicBezTo>
                    <a:pt x="4239" y="17612"/>
                    <a:pt x="4227" y="17639"/>
                    <a:pt x="4215" y="17665"/>
                  </a:cubicBezTo>
                  <a:cubicBezTo>
                    <a:pt x="4194" y="17712"/>
                    <a:pt x="4174" y="17756"/>
                    <a:pt x="4169" y="17767"/>
                  </a:cubicBezTo>
                  <a:cubicBezTo>
                    <a:pt x="3847" y="17731"/>
                    <a:pt x="3847" y="17731"/>
                    <a:pt x="3847" y="17731"/>
                  </a:cubicBezTo>
                  <a:cubicBezTo>
                    <a:pt x="3790" y="17407"/>
                    <a:pt x="3790" y="17407"/>
                    <a:pt x="3790" y="17407"/>
                  </a:cubicBezTo>
                  <a:cubicBezTo>
                    <a:pt x="3794" y="17407"/>
                    <a:pt x="3798" y="17407"/>
                    <a:pt x="3803" y="17407"/>
                  </a:cubicBezTo>
                  <a:cubicBezTo>
                    <a:pt x="3826" y="17407"/>
                    <a:pt x="3857" y="17406"/>
                    <a:pt x="3887" y="17405"/>
                  </a:cubicBezTo>
                  <a:cubicBezTo>
                    <a:pt x="3942" y="17404"/>
                    <a:pt x="3997" y="17402"/>
                    <a:pt x="4008" y="17402"/>
                  </a:cubicBezTo>
                  <a:cubicBezTo>
                    <a:pt x="4255" y="17559"/>
                    <a:pt x="4255" y="17559"/>
                    <a:pt x="4255" y="17559"/>
                  </a:cubicBezTo>
                  <a:cubicBezTo>
                    <a:pt x="4255" y="17559"/>
                    <a:pt x="4255" y="17559"/>
                    <a:pt x="4255" y="17559"/>
                  </a:cubicBezTo>
                  <a:cubicBezTo>
                    <a:pt x="4262" y="17547"/>
                    <a:pt x="4262" y="17547"/>
                    <a:pt x="4262" y="17547"/>
                  </a:cubicBezTo>
                  <a:cubicBezTo>
                    <a:pt x="4012" y="17388"/>
                    <a:pt x="4012" y="17388"/>
                    <a:pt x="4012" y="17388"/>
                  </a:cubicBezTo>
                  <a:cubicBezTo>
                    <a:pt x="4010" y="17388"/>
                    <a:pt x="4010" y="17388"/>
                    <a:pt x="4010" y="17388"/>
                  </a:cubicBezTo>
                  <a:cubicBezTo>
                    <a:pt x="4010" y="17388"/>
                    <a:pt x="3850" y="17392"/>
                    <a:pt x="3788" y="17394"/>
                  </a:cubicBezTo>
                  <a:cubicBezTo>
                    <a:pt x="3706" y="16932"/>
                    <a:pt x="3706" y="16932"/>
                    <a:pt x="3706" y="16932"/>
                  </a:cubicBezTo>
                  <a:cubicBezTo>
                    <a:pt x="3968" y="16887"/>
                    <a:pt x="3968" y="16887"/>
                    <a:pt x="3968" y="16887"/>
                  </a:cubicBezTo>
                  <a:cubicBezTo>
                    <a:pt x="3981" y="16984"/>
                    <a:pt x="4013" y="17050"/>
                    <a:pt x="4060" y="17095"/>
                  </a:cubicBezTo>
                  <a:cubicBezTo>
                    <a:pt x="4078" y="17111"/>
                    <a:pt x="4096" y="17124"/>
                    <a:pt x="4116" y="17134"/>
                  </a:cubicBezTo>
                  <a:cubicBezTo>
                    <a:pt x="4006" y="17384"/>
                    <a:pt x="4006" y="17384"/>
                    <a:pt x="4006" y="17384"/>
                  </a:cubicBezTo>
                  <a:cubicBezTo>
                    <a:pt x="4019" y="17390"/>
                    <a:pt x="4019" y="17390"/>
                    <a:pt x="4019" y="17390"/>
                  </a:cubicBezTo>
                  <a:cubicBezTo>
                    <a:pt x="4128" y="17141"/>
                    <a:pt x="4128" y="17141"/>
                    <a:pt x="4128" y="17141"/>
                  </a:cubicBezTo>
                  <a:cubicBezTo>
                    <a:pt x="4173" y="17162"/>
                    <a:pt x="4222" y="17172"/>
                    <a:pt x="4267" y="17181"/>
                  </a:cubicBezTo>
                  <a:cubicBezTo>
                    <a:pt x="4328" y="17191"/>
                    <a:pt x="4399" y="17195"/>
                    <a:pt x="4471" y="17196"/>
                  </a:cubicBezTo>
                  <a:cubicBezTo>
                    <a:pt x="4474" y="17196"/>
                    <a:pt x="4477" y="17197"/>
                    <a:pt x="4481" y="17197"/>
                  </a:cubicBezTo>
                  <a:cubicBezTo>
                    <a:pt x="4481" y="17197"/>
                    <a:pt x="4481" y="17197"/>
                    <a:pt x="4481" y="17197"/>
                  </a:cubicBezTo>
                  <a:cubicBezTo>
                    <a:pt x="4481" y="17196"/>
                    <a:pt x="4481" y="17196"/>
                    <a:pt x="4481" y="17196"/>
                  </a:cubicBezTo>
                  <a:cubicBezTo>
                    <a:pt x="4486" y="17196"/>
                    <a:pt x="4492" y="17196"/>
                    <a:pt x="4497" y="17196"/>
                  </a:cubicBezTo>
                  <a:cubicBezTo>
                    <a:pt x="4503" y="17196"/>
                    <a:pt x="4509" y="17196"/>
                    <a:pt x="4515" y="17196"/>
                  </a:cubicBezTo>
                  <a:cubicBezTo>
                    <a:pt x="4515" y="17202"/>
                    <a:pt x="4514" y="17210"/>
                    <a:pt x="4513" y="17218"/>
                  </a:cubicBezTo>
                  <a:cubicBezTo>
                    <a:pt x="4510" y="17246"/>
                    <a:pt x="4507" y="17282"/>
                    <a:pt x="4504" y="17319"/>
                  </a:cubicBezTo>
                  <a:cubicBezTo>
                    <a:pt x="4498" y="17391"/>
                    <a:pt x="4493" y="17464"/>
                    <a:pt x="4493" y="17464"/>
                  </a:cubicBezTo>
                  <a:cubicBezTo>
                    <a:pt x="4506" y="17465"/>
                    <a:pt x="4506" y="17465"/>
                    <a:pt x="4506" y="17465"/>
                  </a:cubicBezTo>
                  <a:cubicBezTo>
                    <a:pt x="4480" y="17473"/>
                    <a:pt x="4281" y="17537"/>
                    <a:pt x="4266" y="17546"/>
                  </a:cubicBezTo>
                  <a:close/>
                  <a:moveTo>
                    <a:pt x="4721" y="17759"/>
                  </a:moveTo>
                  <a:cubicBezTo>
                    <a:pt x="4513" y="17463"/>
                    <a:pt x="4513" y="17463"/>
                    <a:pt x="4513" y="17463"/>
                  </a:cubicBezTo>
                  <a:cubicBezTo>
                    <a:pt x="4508" y="17464"/>
                    <a:pt x="4508" y="17464"/>
                    <a:pt x="4508" y="17464"/>
                  </a:cubicBezTo>
                  <a:cubicBezTo>
                    <a:pt x="4508" y="17464"/>
                    <a:pt x="4507" y="17465"/>
                    <a:pt x="4507" y="17465"/>
                  </a:cubicBezTo>
                  <a:cubicBezTo>
                    <a:pt x="4507" y="17461"/>
                    <a:pt x="4512" y="17395"/>
                    <a:pt x="4517" y="17327"/>
                  </a:cubicBezTo>
                  <a:cubicBezTo>
                    <a:pt x="4521" y="17276"/>
                    <a:pt x="4526" y="17223"/>
                    <a:pt x="4530" y="17196"/>
                  </a:cubicBezTo>
                  <a:cubicBezTo>
                    <a:pt x="4611" y="17195"/>
                    <a:pt x="4690" y="17191"/>
                    <a:pt x="4751" y="17189"/>
                  </a:cubicBezTo>
                  <a:cubicBezTo>
                    <a:pt x="4787" y="17188"/>
                    <a:pt x="4821" y="17186"/>
                    <a:pt x="4851" y="17186"/>
                  </a:cubicBezTo>
                  <a:cubicBezTo>
                    <a:pt x="4892" y="17185"/>
                    <a:pt x="4925" y="17190"/>
                    <a:pt x="4950" y="17205"/>
                  </a:cubicBezTo>
                  <a:cubicBezTo>
                    <a:pt x="4974" y="17220"/>
                    <a:pt x="4996" y="17246"/>
                    <a:pt x="5013" y="17301"/>
                  </a:cubicBezTo>
                  <a:cubicBezTo>
                    <a:pt x="5020" y="17324"/>
                    <a:pt x="5027" y="17385"/>
                    <a:pt x="5030" y="17461"/>
                  </a:cubicBezTo>
                  <a:cubicBezTo>
                    <a:pt x="5034" y="17535"/>
                    <a:pt x="5035" y="17626"/>
                    <a:pt x="5035" y="17722"/>
                  </a:cubicBezTo>
                  <a:lnTo>
                    <a:pt x="4721" y="17759"/>
                  </a:lnTo>
                  <a:close/>
                  <a:moveTo>
                    <a:pt x="5983" y="17163"/>
                  </a:moveTo>
                  <a:cubicBezTo>
                    <a:pt x="5975" y="17292"/>
                    <a:pt x="5963" y="17408"/>
                    <a:pt x="5958" y="17461"/>
                  </a:cubicBezTo>
                  <a:cubicBezTo>
                    <a:pt x="5876" y="17441"/>
                    <a:pt x="5791" y="17421"/>
                    <a:pt x="5716" y="17406"/>
                  </a:cubicBezTo>
                  <a:cubicBezTo>
                    <a:pt x="5568" y="17376"/>
                    <a:pt x="5146" y="17308"/>
                    <a:pt x="5079" y="17297"/>
                  </a:cubicBezTo>
                  <a:cubicBezTo>
                    <a:pt x="5078" y="17292"/>
                    <a:pt x="5077" y="17286"/>
                    <a:pt x="5076" y="17282"/>
                  </a:cubicBezTo>
                  <a:cubicBezTo>
                    <a:pt x="5056" y="17217"/>
                    <a:pt x="5025" y="17173"/>
                    <a:pt x="4983" y="17149"/>
                  </a:cubicBezTo>
                  <a:cubicBezTo>
                    <a:pt x="4942" y="17125"/>
                    <a:pt x="4897" y="17120"/>
                    <a:pt x="4851" y="17120"/>
                  </a:cubicBezTo>
                  <a:cubicBezTo>
                    <a:pt x="4818" y="17120"/>
                    <a:pt x="4783" y="17123"/>
                    <a:pt x="4749" y="17124"/>
                  </a:cubicBezTo>
                  <a:cubicBezTo>
                    <a:pt x="4680" y="17126"/>
                    <a:pt x="4590" y="17130"/>
                    <a:pt x="4501" y="17130"/>
                  </a:cubicBezTo>
                  <a:cubicBezTo>
                    <a:pt x="4500" y="17120"/>
                    <a:pt x="4499" y="17107"/>
                    <a:pt x="4498" y="17091"/>
                  </a:cubicBezTo>
                  <a:cubicBezTo>
                    <a:pt x="4496" y="17051"/>
                    <a:pt x="4496" y="16999"/>
                    <a:pt x="4492" y="16954"/>
                  </a:cubicBezTo>
                  <a:cubicBezTo>
                    <a:pt x="4491" y="16936"/>
                    <a:pt x="4490" y="16920"/>
                    <a:pt x="4490" y="16902"/>
                  </a:cubicBezTo>
                  <a:cubicBezTo>
                    <a:pt x="4490" y="16837"/>
                    <a:pt x="4503" y="16750"/>
                    <a:pt x="4558" y="16545"/>
                  </a:cubicBezTo>
                  <a:cubicBezTo>
                    <a:pt x="4572" y="16489"/>
                    <a:pt x="4579" y="16438"/>
                    <a:pt x="4579" y="16392"/>
                  </a:cubicBezTo>
                  <a:cubicBezTo>
                    <a:pt x="4578" y="16285"/>
                    <a:pt x="4546" y="16209"/>
                    <a:pt x="4519" y="16165"/>
                  </a:cubicBezTo>
                  <a:cubicBezTo>
                    <a:pt x="5899" y="16153"/>
                    <a:pt x="5899" y="16153"/>
                    <a:pt x="5899" y="16153"/>
                  </a:cubicBezTo>
                  <a:cubicBezTo>
                    <a:pt x="5907" y="16192"/>
                    <a:pt x="5923" y="16269"/>
                    <a:pt x="5939" y="16358"/>
                  </a:cubicBezTo>
                  <a:cubicBezTo>
                    <a:pt x="5962" y="16484"/>
                    <a:pt x="5985" y="16633"/>
                    <a:pt x="5987" y="16717"/>
                  </a:cubicBezTo>
                  <a:cubicBezTo>
                    <a:pt x="5987" y="16756"/>
                    <a:pt x="5989" y="16823"/>
                    <a:pt x="5989" y="16900"/>
                  </a:cubicBezTo>
                  <a:cubicBezTo>
                    <a:pt x="5989" y="16984"/>
                    <a:pt x="5987" y="17081"/>
                    <a:pt x="5983" y="17163"/>
                  </a:cubicBezTo>
                  <a:close/>
                  <a:moveTo>
                    <a:pt x="6195" y="17521"/>
                  </a:moveTo>
                  <a:cubicBezTo>
                    <a:pt x="6150" y="17509"/>
                    <a:pt x="6089" y="17493"/>
                    <a:pt x="6022" y="17477"/>
                  </a:cubicBezTo>
                  <a:cubicBezTo>
                    <a:pt x="6027" y="17428"/>
                    <a:pt x="6040" y="17305"/>
                    <a:pt x="6048" y="17167"/>
                  </a:cubicBezTo>
                  <a:cubicBezTo>
                    <a:pt x="6050" y="17128"/>
                    <a:pt x="6052" y="17087"/>
                    <a:pt x="6053" y="17045"/>
                  </a:cubicBezTo>
                  <a:cubicBezTo>
                    <a:pt x="6244" y="17056"/>
                    <a:pt x="6244" y="17056"/>
                    <a:pt x="6244" y="17056"/>
                  </a:cubicBezTo>
                  <a:cubicBezTo>
                    <a:pt x="6246" y="17055"/>
                    <a:pt x="6246" y="17055"/>
                    <a:pt x="6246" y="17055"/>
                  </a:cubicBezTo>
                  <a:cubicBezTo>
                    <a:pt x="6246" y="17055"/>
                    <a:pt x="6294" y="17026"/>
                    <a:pt x="6304" y="17021"/>
                  </a:cubicBezTo>
                  <a:cubicBezTo>
                    <a:pt x="6312" y="17022"/>
                    <a:pt x="6356" y="17033"/>
                    <a:pt x="6399" y="17044"/>
                  </a:cubicBezTo>
                  <a:cubicBezTo>
                    <a:pt x="6446" y="17056"/>
                    <a:pt x="6491" y="17067"/>
                    <a:pt x="6502" y="17068"/>
                  </a:cubicBezTo>
                  <a:cubicBezTo>
                    <a:pt x="6498" y="17087"/>
                    <a:pt x="6495" y="17106"/>
                    <a:pt x="6491" y="17126"/>
                  </a:cubicBezTo>
                  <a:cubicBezTo>
                    <a:pt x="6478" y="17202"/>
                    <a:pt x="6465" y="17277"/>
                    <a:pt x="6462" y="17296"/>
                  </a:cubicBezTo>
                  <a:cubicBezTo>
                    <a:pt x="6399" y="17318"/>
                    <a:pt x="6399" y="17318"/>
                    <a:pt x="6399" y="17318"/>
                  </a:cubicBezTo>
                  <a:cubicBezTo>
                    <a:pt x="6321" y="17560"/>
                    <a:pt x="6321" y="17560"/>
                    <a:pt x="6321" y="17560"/>
                  </a:cubicBezTo>
                  <a:cubicBezTo>
                    <a:pt x="6274" y="17545"/>
                    <a:pt x="6237" y="17532"/>
                    <a:pt x="6195" y="17521"/>
                  </a:cubicBezTo>
                  <a:close/>
                  <a:moveTo>
                    <a:pt x="6798" y="17642"/>
                  </a:moveTo>
                  <a:cubicBezTo>
                    <a:pt x="6785" y="17641"/>
                    <a:pt x="6773" y="17639"/>
                    <a:pt x="6761" y="17638"/>
                  </a:cubicBezTo>
                  <a:cubicBezTo>
                    <a:pt x="6533" y="17616"/>
                    <a:pt x="6417" y="17589"/>
                    <a:pt x="6335" y="17564"/>
                  </a:cubicBezTo>
                  <a:cubicBezTo>
                    <a:pt x="6410" y="17329"/>
                    <a:pt x="6410" y="17329"/>
                    <a:pt x="6410" y="17329"/>
                  </a:cubicBezTo>
                  <a:cubicBezTo>
                    <a:pt x="6474" y="17306"/>
                    <a:pt x="6474" y="17306"/>
                    <a:pt x="6474" y="17306"/>
                  </a:cubicBezTo>
                  <a:cubicBezTo>
                    <a:pt x="6475" y="17302"/>
                    <a:pt x="6475" y="17302"/>
                    <a:pt x="6475" y="17302"/>
                  </a:cubicBezTo>
                  <a:cubicBezTo>
                    <a:pt x="6475" y="17302"/>
                    <a:pt x="6490" y="17214"/>
                    <a:pt x="6505" y="17126"/>
                  </a:cubicBezTo>
                  <a:cubicBezTo>
                    <a:pt x="6816" y="17194"/>
                    <a:pt x="6816" y="17194"/>
                    <a:pt x="6816" y="17194"/>
                  </a:cubicBezTo>
                  <a:cubicBezTo>
                    <a:pt x="6915" y="17377"/>
                    <a:pt x="6915" y="17377"/>
                    <a:pt x="6915" y="17377"/>
                  </a:cubicBezTo>
                  <a:cubicBezTo>
                    <a:pt x="6860" y="17502"/>
                    <a:pt x="6817" y="17598"/>
                    <a:pt x="6798" y="17642"/>
                  </a:cubicBezTo>
                  <a:close/>
                  <a:moveTo>
                    <a:pt x="8562" y="15399"/>
                  </a:moveTo>
                  <a:cubicBezTo>
                    <a:pt x="8558" y="15450"/>
                    <a:pt x="8543" y="16200"/>
                    <a:pt x="8541" y="16291"/>
                  </a:cubicBezTo>
                  <a:cubicBezTo>
                    <a:pt x="7637" y="17931"/>
                    <a:pt x="7637" y="17931"/>
                    <a:pt x="7637" y="17931"/>
                  </a:cubicBezTo>
                  <a:cubicBezTo>
                    <a:pt x="7631" y="17928"/>
                    <a:pt x="7631" y="17928"/>
                    <a:pt x="7631" y="17928"/>
                  </a:cubicBezTo>
                  <a:cubicBezTo>
                    <a:pt x="7630" y="17927"/>
                    <a:pt x="7630" y="17927"/>
                    <a:pt x="7630" y="17927"/>
                  </a:cubicBezTo>
                  <a:cubicBezTo>
                    <a:pt x="7628" y="17927"/>
                    <a:pt x="7231" y="17718"/>
                    <a:pt x="6865" y="17653"/>
                  </a:cubicBezTo>
                  <a:cubicBezTo>
                    <a:pt x="6869" y="17643"/>
                    <a:pt x="6874" y="17631"/>
                    <a:pt x="6880" y="17619"/>
                  </a:cubicBezTo>
                  <a:cubicBezTo>
                    <a:pt x="6902" y="17570"/>
                    <a:pt x="6932" y="17500"/>
                    <a:pt x="6969" y="17416"/>
                  </a:cubicBezTo>
                  <a:cubicBezTo>
                    <a:pt x="7043" y="17249"/>
                    <a:pt x="7141" y="17027"/>
                    <a:pt x="7238" y="16805"/>
                  </a:cubicBezTo>
                  <a:cubicBezTo>
                    <a:pt x="7434" y="16361"/>
                    <a:pt x="7629" y="15917"/>
                    <a:pt x="7629" y="15917"/>
                  </a:cubicBezTo>
                  <a:cubicBezTo>
                    <a:pt x="7630" y="15913"/>
                    <a:pt x="7630" y="15913"/>
                    <a:pt x="7630" y="15913"/>
                  </a:cubicBezTo>
                  <a:cubicBezTo>
                    <a:pt x="7854" y="14548"/>
                    <a:pt x="7854" y="14548"/>
                    <a:pt x="7854" y="14548"/>
                  </a:cubicBezTo>
                  <a:cubicBezTo>
                    <a:pt x="7864" y="14555"/>
                    <a:pt x="7874" y="14562"/>
                    <a:pt x="7884" y="14570"/>
                  </a:cubicBezTo>
                  <a:cubicBezTo>
                    <a:pt x="7982" y="14638"/>
                    <a:pt x="8111" y="14729"/>
                    <a:pt x="8241" y="14819"/>
                  </a:cubicBezTo>
                  <a:cubicBezTo>
                    <a:pt x="8444" y="14961"/>
                    <a:pt x="8646" y="15101"/>
                    <a:pt x="8725" y="15156"/>
                  </a:cubicBezTo>
                  <a:cubicBezTo>
                    <a:pt x="8652" y="15192"/>
                    <a:pt x="8576" y="15266"/>
                    <a:pt x="8562" y="15399"/>
                  </a:cubicBezTo>
                  <a:close/>
                  <a:moveTo>
                    <a:pt x="8838" y="16417"/>
                  </a:moveTo>
                  <a:cubicBezTo>
                    <a:pt x="8734" y="16358"/>
                    <a:pt x="8643" y="16303"/>
                    <a:pt x="8607" y="16281"/>
                  </a:cubicBezTo>
                  <a:cubicBezTo>
                    <a:pt x="8608" y="16225"/>
                    <a:pt x="8612" y="16041"/>
                    <a:pt x="8616" y="15856"/>
                  </a:cubicBezTo>
                  <a:cubicBezTo>
                    <a:pt x="8665" y="15868"/>
                    <a:pt x="8765" y="15892"/>
                    <a:pt x="8863" y="15916"/>
                  </a:cubicBezTo>
                  <a:cubicBezTo>
                    <a:pt x="8999" y="15950"/>
                    <a:pt x="9133" y="15984"/>
                    <a:pt x="9134" y="15984"/>
                  </a:cubicBezTo>
                  <a:cubicBezTo>
                    <a:pt x="9136" y="15984"/>
                    <a:pt x="9136" y="15984"/>
                    <a:pt x="9136" y="15984"/>
                  </a:cubicBezTo>
                  <a:cubicBezTo>
                    <a:pt x="9138" y="15983"/>
                    <a:pt x="9138" y="15983"/>
                    <a:pt x="9138" y="15983"/>
                  </a:cubicBezTo>
                  <a:cubicBezTo>
                    <a:pt x="9135" y="16059"/>
                    <a:pt x="9105" y="16434"/>
                    <a:pt x="9099" y="16555"/>
                  </a:cubicBezTo>
                  <a:cubicBezTo>
                    <a:pt x="9023" y="16520"/>
                    <a:pt x="8926" y="16467"/>
                    <a:pt x="8838" y="16417"/>
                  </a:cubicBezTo>
                  <a:close/>
                  <a:moveTo>
                    <a:pt x="9195" y="16594"/>
                  </a:moveTo>
                  <a:cubicBezTo>
                    <a:pt x="9174" y="16589"/>
                    <a:pt x="9145" y="16577"/>
                    <a:pt x="9112" y="16562"/>
                  </a:cubicBezTo>
                  <a:cubicBezTo>
                    <a:pt x="9118" y="16445"/>
                    <a:pt x="9151" y="16035"/>
                    <a:pt x="9153" y="15976"/>
                  </a:cubicBezTo>
                  <a:cubicBezTo>
                    <a:pt x="9520" y="15800"/>
                    <a:pt x="9520" y="15800"/>
                    <a:pt x="9520" y="15800"/>
                  </a:cubicBezTo>
                  <a:cubicBezTo>
                    <a:pt x="9852" y="15905"/>
                    <a:pt x="9852" y="15905"/>
                    <a:pt x="9852" y="15905"/>
                  </a:cubicBezTo>
                  <a:cubicBezTo>
                    <a:pt x="9846" y="15935"/>
                    <a:pt x="9755" y="16375"/>
                    <a:pt x="9703" y="16611"/>
                  </a:cubicBezTo>
                  <a:cubicBezTo>
                    <a:pt x="9691" y="16668"/>
                    <a:pt x="9680" y="16714"/>
                    <a:pt x="9674" y="16737"/>
                  </a:cubicBezTo>
                  <a:cubicBezTo>
                    <a:pt x="9525" y="16677"/>
                    <a:pt x="9344" y="16638"/>
                    <a:pt x="9195" y="16594"/>
                  </a:cubicBezTo>
                  <a:close/>
                  <a:moveTo>
                    <a:pt x="9822" y="16901"/>
                  </a:moveTo>
                  <a:cubicBezTo>
                    <a:pt x="9826" y="16892"/>
                    <a:pt x="9826" y="16892"/>
                    <a:pt x="9826" y="16892"/>
                  </a:cubicBezTo>
                  <a:cubicBezTo>
                    <a:pt x="9826" y="16892"/>
                    <a:pt x="9826" y="16892"/>
                    <a:pt x="9826" y="16892"/>
                  </a:cubicBezTo>
                  <a:lnTo>
                    <a:pt x="9822" y="16901"/>
                  </a:lnTo>
                  <a:close/>
                  <a:moveTo>
                    <a:pt x="10162" y="17083"/>
                  </a:moveTo>
                  <a:cubicBezTo>
                    <a:pt x="10159" y="17076"/>
                    <a:pt x="10155" y="17069"/>
                    <a:pt x="10151" y="17063"/>
                  </a:cubicBezTo>
                  <a:cubicBezTo>
                    <a:pt x="10120" y="17023"/>
                    <a:pt x="10045" y="16963"/>
                    <a:pt x="9956" y="16900"/>
                  </a:cubicBezTo>
                  <a:cubicBezTo>
                    <a:pt x="9867" y="16837"/>
                    <a:pt x="9766" y="16775"/>
                    <a:pt x="9688" y="16743"/>
                  </a:cubicBezTo>
                  <a:cubicBezTo>
                    <a:pt x="9688" y="16742"/>
                    <a:pt x="9687" y="16742"/>
                    <a:pt x="9687" y="16742"/>
                  </a:cubicBezTo>
                  <a:cubicBezTo>
                    <a:pt x="9688" y="16737"/>
                    <a:pt x="9690" y="16730"/>
                    <a:pt x="9692" y="16722"/>
                  </a:cubicBezTo>
                  <a:cubicBezTo>
                    <a:pt x="9698" y="16699"/>
                    <a:pt x="9705" y="16665"/>
                    <a:pt x="9714" y="16625"/>
                  </a:cubicBezTo>
                  <a:cubicBezTo>
                    <a:pt x="9732" y="16545"/>
                    <a:pt x="9755" y="16438"/>
                    <a:pt x="9777" y="16332"/>
                  </a:cubicBezTo>
                  <a:cubicBezTo>
                    <a:pt x="9819" y="16134"/>
                    <a:pt x="9860" y="15936"/>
                    <a:pt x="9865" y="15909"/>
                  </a:cubicBezTo>
                  <a:cubicBezTo>
                    <a:pt x="10130" y="15993"/>
                    <a:pt x="10130" y="15993"/>
                    <a:pt x="10130" y="15993"/>
                  </a:cubicBezTo>
                  <a:cubicBezTo>
                    <a:pt x="10481" y="16369"/>
                    <a:pt x="10481" y="16369"/>
                    <a:pt x="10481" y="16369"/>
                  </a:cubicBezTo>
                  <a:cubicBezTo>
                    <a:pt x="10267" y="16653"/>
                    <a:pt x="10267" y="16653"/>
                    <a:pt x="10267" y="16653"/>
                  </a:cubicBezTo>
                  <a:cubicBezTo>
                    <a:pt x="10415" y="16882"/>
                    <a:pt x="10415" y="16882"/>
                    <a:pt x="10415" y="16882"/>
                  </a:cubicBezTo>
                  <a:cubicBezTo>
                    <a:pt x="10417" y="16884"/>
                    <a:pt x="10417" y="16884"/>
                    <a:pt x="10417" y="16884"/>
                  </a:cubicBezTo>
                  <a:cubicBezTo>
                    <a:pt x="10297" y="16977"/>
                    <a:pt x="10203" y="17051"/>
                    <a:pt x="10162" y="17083"/>
                  </a:cubicBezTo>
                  <a:close/>
                  <a:moveTo>
                    <a:pt x="10428" y="16875"/>
                  </a:moveTo>
                  <a:cubicBezTo>
                    <a:pt x="10426" y="16873"/>
                    <a:pt x="10426" y="16873"/>
                    <a:pt x="10426" y="16873"/>
                  </a:cubicBezTo>
                  <a:cubicBezTo>
                    <a:pt x="10284" y="16654"/>
                    <a:pt x="10284" y="16654"/>
                    <a:pt x="10284" y="16654"/>
                  </a:cubicBezTo>
                  <a:cubicBezTo>
                    <a:pt x="10493" y="16377"/>
                    <a:pt x="10493" y="16377"/>
                    <a:pt x="10493" y="16377"/>
                  </a:cubicBezTo>
                  <a:cubicBezTo>
                    <a:pt x="10863" y="16535"/>
                    <a:pt x="10863" y="16535"/>
                    <a:pt x="10863" y="16535"/>
                  </a:cubicBezTo>
                  <a:cubicBezTo>
                    <a:pt x="10824" y="16565"/>
                    <a:pt x="10785" y="16595"/>
                    <a:pt x="10746" y="16626"/>
                  </a:cubicBezTo>
                  <a:cubicBezTo>
                    <a:pt x="10635" y="16713"/>
                    <a:pt x="10524" y="16800"/>
                    <a:pt x="10428" y="16875"/>
                  </a:cubicBezTo>
                  <a:close/>
                  <a:moveTo>
                    <a:pt x="11530" y="17045"/>
                  </a:moveTo>
                  <a:cubicBezTo>
                    <a:pt x="11488" y="17045"/>
                    <a:pt x="11488" y="17045"/>
                    <a:pt x="11488" y="17045"/>
                  </a:cubicBezTo>
                  <a:cubicBezTo>
                    <a:pt x="11489" y="17061"/>
                    <a:pt x="11489" y="17078"/>
                    <a:pt x="11490" y="17095"/>
                  </a:cubicBezTo>
                  <a:cubicBezTo>
                    <a:pt x="10844" y="17242"/>
                    <a:pt x="10844" y="17242"/>
                    <a:pt x="10844" y="17242"/>
                  </a:cubicBezTo>
                  <a:cubicBezTo>
                    <a:pt x="10462" y="16905"/>
                    <a:pt x="10462" y="16905"/>
                    <a:pt x="10462" y="16905"/>
                  </a:cubicBezTo>
                  <a:cubicBezTo>
                    <a:pt x="10551" y="16836"/>
                    <a:pt x="10651" y="16757"/>
                    <a:pt x="10753" y="16678"/>
                  </a:cubicBezTo>
                  <a:cubicBezTo>
                    <a:pt x="10804" y="16638"/>
                    <a:pt x="10856" y="16597"/>
                    <a:pt x="10907" y="16558"/>
                  </a:cubicBezTo>
                  <a:cubicBezTo>
                    <a:pt x="11529" y="16976"/>
                    <a:pt x="11529" y="16976"/>
                    <a:pt x="11529" y="16976"/>
                  </a:cubicBezTo>
                  <a:cubicBezTo>
                    <a:pt x="11529" y="16984"/>
                    <a:pt x="11530" y="17003"/>
                    <a:pt x="11530" y="17022"/>
                  </a:cubicBezTo>
                  <a:cubicBezTo>
                    <a:pt x="11530" y="17030"/>
                    <a:pt x="11530" y="17038"/>
                    <a:pt x="11530" y="17045"/>
                  </a:cubicBezTo>
                  <a:close/>
                  <a:moveTo>
                    <a:pt x="10918" y="16549"/>
                  </a:moveTo>
                  <a:cubicBezTo>
                    <a:pt x="11121" y="16391"/>
                    <a:pt x="11302" y="16250"/>
                    <a:pt x="11366" y="16202"/>
                  </a:cubicBezTo>
                  <a:cubicBezTo>
                    <a:pt x="11576" y="16369"/>
                    <a:pt x="11667" y="16531"/>
                    <a:pt x="11686" y="16570"/>
                  </a:cubicBezTo>
                  <a:cubicBezTo>
                    <a:pt x="11689" y="16576"/>
                    <a:pt x="11690" y="16578"/>
                    <a:pt x="11690" y="16578"/>
                  </a:cubicBezTo>
                  <a:cubicBezTo>
                    <a:pt x="11810" y="16858"/>
                    <a:pt x="11810" y="16858"/>
                    <a:pt x="11810" y="16858"/>
                  </a:cubicBezTo>
                  <a:cubicBezTo>
                    <a:pt x="11803" y="16861"/>
                    <a:pt x="11796" y="16864"/>
                    <a:pt x="11787" y="16867"/>
                  </a:cubicBezTo>
                  <a:cubicBezTo>
                    <a:pt x="11758" y="16879"/>
                    <a:pt x="11720" y="16894"/>
                    <a:pt x="11683" y="16908"/>
                  </a:cubicBezTo>
                  <a:cubicBezTo>
                    <a:pt x="11617" y="16934"/>
                    <a:pt x="11552" y="16959"/>
                    <a:pt x="11537" y="16965"/>
                  </a:cubicBezTo>
                  <a:lnTo>
                    <a:pt x="10918" y="16549"/>
                  </a:lnTo>
                  <a:close/>
                  <a:moveTo>
                    <a:pt x="12099" y="17532"/>
                  </a:moveTo>
                  <a:cubicBezTo>
                    <a:pt x="11787" y="17980"/>
                    <a:pt x="11787" y="17980"/>
                    <a:pt x="11787" y="17980"/>
                  </a:cubicBezTo>
                  <a:cubicBezTo>
                    <a:pt x="11761" y="17947"/>
                    <a:pt x="11724" y="17893"/>
                    <a:pt x="11680" y="17806"/>
                  </a:cubicBezTo>
                  <a:cubicBezTo>
                    <a:pt x="11636" y="17723"/>
                    <a:pt x="11603" y="17563"/>
                    <a:pt x="11584" y="17413"/>
                  </a:cubicBezTo>
                  <a:cubicBezTo>
                    <a:pt x="11565" y="17271"/>
                    <a:pt x="11556" y="17136"/>
                    <a:pt x="11554" y="17045"/>
                  </a:cubicBezTo>
                  <a:cubicBezTo>
                    <a:pt x="11544" y="17045"/>
                    <a:pt x="11544" y="17045"/>
                    <a:pt x="11544" y="17045"/>
                  </a:cubicBezTo>
                  <a:cubicBezTo>
                    <a:pt x="11544" y="17038"/>
                    <a:pt x="11544" y="17030"/>
                    <a:pt x="11544" y="17022"/>
                  </a:cubicBezTo>
                  <a:cubicBezTo>
                    <a:pt x="11544" y="17004"/>
                    <a:pt x="11543" y="16986"/>
                    <a:pt x="11543" y="16977"/>
                  </a:cubicBezTo>
                  <a:cubicBezTo>
                    <a:pt x="11571" y="16967"/>
                    <a:pt x="11714" y="16911"/>
                    <a:pt x="11792" y="16880"/>
                  </a:cubicBezTo>
                  <a:cubicBezTo>
                    <a:pt x="11801" y="16877"/>
                    <a:pt x="11809" y="16874"/>
                    <a:pt x="11816" y="16871"/>
                  </a:cubicBezTo>
                  <a:lnTo>
                    <a:pt x="12099" y="17532"/>
                  </a:lnTo>
                  <a:close/>
                  <a:moveTo>
                    <a:pt x="13616" y="15820"/>
                  </a:moveTo>
                  <a:cubicBezTo>
                    <a:pt x="13616" y="15940"/>
                    <a:pt x="13626" y="16007"/>
                    <a:pt x="13631" y="16033"/>
                  </a:cubicBezTo>
                  <a:cubicBezTo>
                    <a:pt x="12624" y="16067"/>
                    <a:pt x="12624" y="16067"/>
                    <a:pt x="12624" y="16067"/>
                  </a:cubicBezTo>
                  <a:cubicBezTo>
                    <a:pt x="12621" y="16067"/>
                    <a:pt x="12621" y="16067"/>
                    <a:pt x="12621" y="16067"/>
                  </a:cubicBezTo>
                  <a:cubicBezTo>
                    <a:pt x="12619" y="16068"/>
                    <a:pt x="12580" y="16076"/>
                    <a:pt x="12539" y="16104"/>
                  </a:cubicBezTo>
                  <a:cubicBezTo>
                    <a:pt x="12498" y="16132"/>
                    <a:pt x="12454" y="16184"/>
                    <a:pt x="12455" y="16264"/>
                  </a:cubicBezTo>
                  <a:cubicBezTo>
                    <a:pt x="12455" y="16267"/>
                    <a:pt x="12455" y="16269"/>
                    <a:pt x="12455" y="16271"/>
                  </a:cubicBezTo>
                  <a:cubicBezTo>
                    <a:pt x="12455" y="16280"/>
                    <a:pt x="12455" y="16289"/>
                    <a:pt x="12455" y="16297"/>
                  </a:cubicBezTo>
                  <a:cubicBezTo>
                    <a:pt x="12455" y="16353"/>
                    <a:pt x="12448" y="16375"/>
                    <a:pt x="12434" y="16391"/>
                  </a:cubicBezTo>
                  <a:cubicBezTo>
                    <a:pt x="12419" y="16409"/>
                    <a:pt x="12386" y="16427"/>
                    <a:pt x="12328" y="16456"/>
                  </a:cubicBezTo>
                  <a:cubicBezTo>
                    <a:pt x="12270" y="16485"/>
                    <a:pt x="12134" y="16540"/>
                    <a:pt x="12015" y="16587"/>
                  </a:cubicBezTo>
                  <a:cubicBezTo>
                    <a:pt x="11916" y="16626"/>
                    <a:pt x="11828" y="16660"/>
                    <a:pt x="11801" y="16670"/>
                  </a:cubicBezTo>
                  <a:cubicBezTo>
                    <a:pt x="11750" y="16551"/>
                    <a:pt x="11750" y="16551"/>
                    <a:pt x="11750" y="16551"/>
                  </a:cubicBezTo>
                  <a:cubicBezTo>
                    <a:pt x="11749" y="16548"/>
                    <a:pt x="11666" y="16365"/>
                    <a:pt x="11431" y="16170"/>
                  </a:cubicBezTo>
                  <a:cubicBezTo>
                    <a:pt x="11841" y="15383"/>
                    <a:pt x="11841" y="15383"/>
                    <a:pt x="11841" y="15383"/>
                  </a:cubicBezTo>
                  <a:cubicBezTo>
                    <a:pt x="11846" y="15375"/>
                    <a:pt x="11889" y="15297"/>
                    <a:pt x="11889" y="15195"/>
                  </a:cubicBezTo>
                  <a:cubicBezTo>
                    <a:pt x="11891" y="15088"/>
                    <a:pt x="11837" y="14956"/>
                    <a:pt x="11656" y="14868"/>
                  </a:cubicBezTo>
                  <a:cubicBezTo>
                    <a:pt x="11635" y="14496"/>
                    <a:pt x="11635" y="14496"/>
                    <a:pt x="11635" y="14496"/>
                  </a:cubicBezTo>
                  <a:cubicBezTo>
                    <a:pt x="11635" y="14493"/>
                    <a:pt x="11636" y="14487"/>
                    <a:pt x="11637" y="14477"/>
                  </a:cubicBezTo>
                  <a:cubicBezTo>
                    <a:pt x="11639" y="14464"/>
                    <a:pt x="11642" y="14445"/>
                    <a:pt x="11647" y="14425"/>
                  </a:cubicBezTo>
                  <a:cubicBezTo>
                    <a:pt x="11657" y="14385"/>
                    <a:pt x="11677" y="14338"/>
                    <a:pt x="11707" y="14310"/>
                  </a:cubicBezTo>
                  <a:cubicBezTo>
                    <a:pt x="11728" y="14292"/>
                    <a:pt x="11752" y="14281"/>
                    <a:pt x="11787" y="14280"/>
                  </a:cubicBezTo>
                  <a:cubicBezTo>
                    <a:pt x="11795" y="14280"/>
                    <a:pt x="11803" y="14281"/>
                    <a:pt x="11812" y="14282"/>
                  </a:cubicBezTo>
                  <a:cubicBezTo>
                    <a:pt x="11912" y="14298"/>
                    <a:pt x="12112" y="14333"/>
                    <a:pt x="12286" y="14364"/>
                  </a:cubicBezTo>
                  <a:cubicBezTo>
                    <a:pt x="12460" y="14395"/>
                    <a:pt x="12608" y="14422"/>
                    <a:pt x="12609" y="14422"/>
                  </a:cubicBezTo>
                  <a:cubicBezTo>
                    <a:pt x="12657" y="14431"/>
                    <a:pt x="12657" y="14431"/>
                    <a:pt x="12657" y="14431"/>
                  </a:cubicBezTo>
                  <a:cubicBezTo>
                    <a:pt x="12601" y="14177"/>
                    <a:pt x="12601" y="14177"/>
                    <a:pt x="12601" y="14177"/>
                  </a:cubicBezTo>
                  <a:cubicBezTo>
                    <a:pt x="12785" y="13896"/>
                    <a:pt x="12785" y="13896"/>
                    <a:pt x="12785" y="13896"/>
                  </a:cubicBezTo>
                  <a:cubicBezTo>
                    <a:pt x="12855" y="13693"/>
                    <a:pt x="12855" y="13693"/>
                    <a:pt x="12855" y="13693"/>
                  </a:cubicBezTo>
                  <a:cubicBezTo>
                    <a:pt x="12858" y="13687"/>
                    <a:pt x="12862" y="13676"/>
                    <a:pt x="12862" y="13661"/>
                  </a:cubicBezTo>
                  <a:cubicBezTo>
                    <a:pt x="12863" y="13625"/>
                    <a:pt x="12836" y="13577"/>
                    <a:pt x="12759" y="13545"/>
                  </a:cubicBezTo>
                  <a:cubicBezTo>
                    <a:pt x="12710" y="13523"/>
                    <a:pt x="12528" y="13415"/>
                    <a:pt x="12363" y="13314"/>
                  </a:cubicBezTo>
                  <a:cubicBezTo>
                    <a:pt x="12210" y="13221"/>
                    <a:pt x="12069" y="13133"/>
                    <a:pt x="12048" y="13119"/>
                  </a:cubicBezTo>
                  <a:cubicBezTo>
                    <a:pt x="12036" y="13108"/>
                    <a:pt x="11979" y="13054"/>
                    <a:pt x="11913" y="12989"/>
                  </a:cubicBezTo>
                  <a:cubicBezTo>
                    <a:pt x="11851" y="12928"/>
                    <a:pt x="11781" y="12857"/>
                    <a:pt x="11731" y="12802"/>
                  </a:cubicBezTo>
                  <a:cubicBezTo>
                    <a:pt x="14181" y="12117"/>
                    <a:pt x="14181" y="12117"/>
                    <a:pt x="14181" y="12117"/>
                  </a:cubicBezTo>
                  <a:cubicBezTo>
                    <a:pt x="14120" y="12485"/>
                    <a:pt x="13755" y="14693"/>
                    <a:pt x="13671" y="15225"/>
                  </a:cubicBezTo>
                  <a:cubicBezTo>
                    <a:pt x="13627" y="15497"/>
                    <a:pt x="13616" y="15690"/>
                    <a:pt x="13616" y="15820"/>
                  </a:cubicBezTo>
                  <a:close/>
                  <a:moveTo>
                    <a:pt x="13707" y="16103"/>
                  </a:moveTo>
                  <a:cubicBezTo>
                    <a:pt x="13707" y="16103"/>
                    <a:pt x="13707" y="16103"/>
                    <a:pt x="13706" y="16103"/>
                  </a:cubicBezTo>
                  <a:cubicBezTo>
                    <a:pt x="13703" y="16103"/>
                    <a:pt x="13694" y="16103"/>
                    <a:pt x="13680" y="16098"/>
                  </a:cubicBezTo>
                  <a:cubicBezTo>
                    <a:pt x="13680" y="16098"/>
                    <a:pt x="13679" y="16098"/>
                    <a:pt x="13679" y="16097"/>
                  </a:cubicBezTo>
                  <a:cubicBezTo>
                    <a:pt x="13685" y="16097"/>
                    <a:pt x="13685" y="16097"/>
                    <a:pt x="13685" y="16097"/>
                  </a:cubicBezTo>
                  <a:cubicBezTo>
                    <a:pt x="13683" y="16044"/>
                    <a:pt x="13683" y="16044"/>
                    <a:pt x="13683" y="16044"/>
                  </a:cubicBezTo>
                  <a:cubicBezTo>
                    <a:pt x="13707" y="16043"/>
                    <a:pt x="13707" y="16043"/>
                    <a:pt x="13707" y="16043"/>
                  </a:cubicBezTo>
                  <a:lnTo>
                    <a:pt x="13707" y="16103"/>
                  </a:lnTo>
                  <a:close/>
                  <a:moveTo>
                    <a:pt x="13718" y="16042"/>
                  </a:moveTo>
                  <a:cubicBezTo>
                    <a:pt x="13718" y="16042"/>
                    <a:pt x="13718" y="16042"/>
                    <a:pt x="13718" y="16042"/>
                  </a:cubicBezTo>
                  <a:cubicBezTo>
                    <a:pt x="13750" y="16090"/>
                    <a:pt x="13750" y="16090"/>
                    <a:pt x="13750" y="16090"/>
                  </a:cubicBezTo>
                  <a:lnTo>
                    <a:pt x="13718" y="16042"/>
                  </a:lnTo>
                  <a:close/>
                  <a:moveTo>
                    <a:pt x="15453" y="13276"/>
                  </a:moveTo>
                  <a:cubicBezTo>
                    <a:pt x="15456" y="13274"/>
                    <a:pt x="15459" y="13272"/>
                    <a:pt x="15461" y="13270"/>
                  </a:cubicBezTo>
                  <a:cubicBezTo>
                    <a:pt x="15466" y="13264"/>
                    <a:pt x="15469" y="13258"/>
                    <a:pt x="15472" y="13251"/>
                  </a:cubicBezTo>
                  <a:cubicBezTo>
                    <a:pt x="15473" y="13247"/>
                    <a:pt x="15475" y="13244"/>
                    <a:pt x="15476" y="13240"/>
                  </a:cubicBezTo>
                  <a:cubicBezTo>
                    <a:pt x="15671" y="13288"/>
                    <a:pt x="16111" y="13429"/>
                    <a:pt x="16463" y="13776"/>
                  </a:cubicBezTo>
                  <a:cubicBezTo>
                    <a:pt x="16972" y="14277"/>
                    <a:pt x="17143" y="14912"/>
                    <a:pt x="17176" y="15061"/>
                  </a:cubicBezTo>
                  <a:cubicBezTo>
                    <a:pt x="17181" y="15082"/>
                    <a:pt x="17183" y="15093"/>
                    <a:pt x="17183" y="15093"/>
                  </a:cubicBezTo>
                  <a:cubicBezTo>
                    <a:pt x="17184" y="15095"/>
                    <a:pt x="17184" y="15095"/>
                    <a:pt x="17184" y="15095"/>
                  </a:cubicBezTo>
                  <a:cubicBezTo>
                    <a:pt x="17184" y="15097"/>
                    <a:pt x="17184" y="15097"/>
                    <a:pt x="17184" y="15097"/>
                  </a:cubicBezTo>
                  <a:cubicBezTo>
                    <a:pt x="17235" y="15256"/>
                    <a:pt x="17254" y="15406"/>
                    <a:pt x="17254" y="15543"/>
                  </a:cubicBezTo>
                  <a:cubicBezTo>
                    <a:pt x="17254" y="15925"/>
                    <a:pt x="17104" y="16204"/>
                    <a:pt x="17068" y="16265"/>
                  </a:cubicBezTo>
                  <a:cubicBezTo>
                    <a:pt x="17067" y="16267"/>
                    <a:pt x="17067" y="16268"/>
                    <a:pt x="17066" y="16269"/>
                  </a:cubicBezTo>
                  <a:cubicBezTo>
                    <a:pt x="16896" y="16224"/>
                    <a:pt x="16760" y="16221"/>
                    <a:pt x="16708" y="16221"/>
                  </a:cubicBezTo>
                  <a:cubicBezTo>
                    <a:pt x="16700" y="16221"/>
                    <a:pt x="16694" y="16221"/>
                    <a:pt x="16690" y="16221"/>
                  </a:cubicBezTo>
                  <a:cubicBezTo>
                    <a:pt x="16690" y="16221"/>
                    <a:pt x="16689" y="16221"/>
                    <a:pt x="16689" y="16221"/>
                  </a:cubicBezTo>
                  <a:cubicBezTo>
                    <a:pt x="16688" y="16221"/>
                    <a:pt x="16687" y="16221"/>
                    <a:pt x="16687" y="16221"/>
                  </a:cubicBezTo>
                  <a:cubicBezTo>
                    <a:pt x="16686" y="16221"/>
                    <a:pt x="16685" y="16221"/>
                    <a:pt x="16684" y="16221"/>
                  </a:cubicBezTo>
                  <a:cubicBezTo>
                    <a:pt x="16677" y="16221"/>
                    <a:pt x="16677" y="16221"/>
                    <a:pt x="16677" y="16221"/>
                  </a:cubicBezTo>
                  <a:cubicBezTo>
                    <a:pt x="16559" y="16221"/>
                    <a:pt x="15369" y="16239"/>
                    <a:pt x="14552" y="16251"/>
                  </a:cubicBezTo>
                  <a:cubicBezTo>
                    <a:pt x="14550" y="16242"/>
                    <a:pt x="14549" y="16230"/>
                    <a:pt x="14547" y="16215"/>
                  </a:cubicBezTo>
                  <a:cubicBezTo>
                    <a:pt x="14544" y="16181"/>
                    <a:pt x="14540" y="16134"/>
                    <a:pt x="14540" y="16079"/>
                  </a:cubicBezTo>
                  <a:cubicBezTo>
                    <a:pt x="14540" y="15957"/>
                    <a:pt x="14558" y="15800"/>
                    <a:pt x="14626" y="15678"/>
                  </a:cubicBezTo>
                  <a:cubicBezTo>
                    <a:pt x="14766" y="15424"/>
                    <a:pt x="14796" y="15191"/>
                    <a:pt x="14796" y="15189"/>
                  </a:cubicBezTo>
                  <a:cubicBezTo>
                    <a:pt x="14796" y="15188"/>
                    <a:pt x="14796" y="15188"/>
                    <a:pt x="14796" y="15188"/>
                  </a:cubicBezTo>
                  <a:cubicBezTo>
                    <a:pt x="14796" y="15187"/>
                    <a:pt x="14796" y="15187"/>
                    <a:pt x="14796" y="15187"/>
                  </a:cubicBezTo>
                  <a:cubicBezTo>
                    <a:pt x="14796" y="15187"/>
                    <a:pt x="14804" y="15067"/>
                    <a:pt x="14818" y="14903"/>
                  </a:cubicBezTo>
                  <a:cubicBezTo>
                    <a:pt x="14832" y="14739"/>
                    <a:pt x="14852" y="14531"/>
                    <a:pt x="14875" y="14355"/>
                  </a:cubicBezTo>
                  <a:cubicBezTo>
                    <a:pt x="14917" y="14028"/>
                    <a:pt x="14993" y="13933"/>
                    <a:pt x="14997" y="13929"/>
                  </a:cubicBezTo>
                  <a:cubicBezTo>
                    <a:pt x="14997" y="13929"/>
                    <a:pt x="14997" y="13929"/>
                    <a:pt x="14997" y="13929"/>
                  </a:cubicBezTo>
                  <a:cubicBezTo>
                    <a:pt x="15000" y="13926"/>
                    <a:pt x="15000" y="13926"/>
                    <a:pt x="15000" y="13926"/>
                  </a:cubicBezTo>
                  <a:cubicBezTo>
                    <a:pt x="15002" y="13922"/>
                    <a:pt x="15002" y="13922"/>
                    <a:pt x="15002" y="13922"/>
                  </a:cubicBezTo>
                  <a:cubicBezTo>
                    <a:pt x="15057" y="13818"/>
                    <a:pt x="15225" y="13595"/>
                    <a:pt x="15332" y="13456"/>
                  </a:cubicBezTo>
                  <a:cubicBezTo>
                    <a:pt x="15403" y="13364"/>
                    <a:pt x="15440" y="13301"/>
                    <a:pt x="15453" y="13276"/>
                  </a:cubicBezTo>
                  <a:close/>
                  <a:moveTo>
                    <a:pt x="15385" y="13219"/>
                  </a:moveTo>
                  <a:cubicBezTo>
                    <a:pt x="15390" y="13220"/>
                    <a:pt x="15397" y="13222"/>
                    <a:pt x="15407" y="13224"/>
                  </a:cubicBezTo>
                  <a:cubicBezTo>
                    <a:pt x="15401" y="13235"/>
                    <a:pt x="15401" y="13235"/>
                    <a:pt x="15401" y="13235"/>
                  </a:cubicBezTo>
                  <a:cubicBezTo>
                    <a:pt x="15401" y="13235"/>
                    <a:pt x="15399" y="13238"/>
                    <a:pt x="15395" y="13246"/>
                  </a:cubicBezTo>
                  <a:cubicBezTo>
                    <a:pt x="15391" y="13254"/>
                    <a:pt x="15384" y="13265"/>
                    <a:pt x="15374" y="13281"/>
                  </a:cubicBezTo>
                  <a:cubicBezTo>
                    <a:pt x="15355" y="13312"/>
                    <a:pt x="15325" y="13358"/>
                    <a:pt x="15280" y="13416"/>
                  </a:cubicBezTo>
                  <a:cubicBezTo>
                    <a:pt x="15173" y="13556"/>
                    <a:pt x="15008" y="13773"/>
                    <a:pt x="14945" y="13888"/>
                  </a:cubicBezTo>
                  <a:cubicBezTo>
                    <a:pt x="14928" y="13910"/>
                    <a:pt x="14852" y="14020"/>
                    <a:pt x="14810" y="14347"/>
                  </a:cubicBezTo>
                  <a:cubicBezTo>
                    <a:pt x="14765" y="14690"/>
                    <a:pt x="14733" y="15152"/>
                    <a:pt x="14731" y="15181"/>
                  </a:cubicBezTo>
                  <a:cubicBezTo>
                    <a:pt x="14731" y="15184"/>
                    <a:pt x="14729" y="15196"/>
                    <a:pt x="14725" y="15218"/>
                  </a:cubicBezTo>
                  <a:cubicBezTo>
                    <a:pt x="14720" y="15243"/>
                    <a:pt x="14712" y="15278"/>
                    <a:pt x="14700" y="15321"/>
                  </a:cubicBezTo>
                  <a:cubicBezTo>
                    <a:pt x="14676" y="15408"/>
                    <a:pt x="14635" y="15525"/>
                    <a:pt x="14568" y="15646"/>
                  </a:cubicBezTo>
                  <a:cubicBezTo>
                    <a:pt x="14492" y="15785"/>
                    <a:pt x="14475" y="15951"/>
                    <a:pt x="14475" y="16079"/>
                  </a:cubicBezTo>
                  <a:cubicBezTo>
                    <a:pt x="14475" y="16156"/>
                    <a:pt x="14481" y="16219"/>
                    <a:pt x="14486" y="16252"/>
                  </a:cubicBezTo>
                  <a:cubicBezTo>
                    <a:pt x="14141" y="16258"/>
                    <a:pt x="13875" y="16262"/>
                    <a:pt x="13802" y="16263"/>
                  </a:cubicBezTo>
                  <a:cubicBezTo>
                    <a:pt x="13794" y="16173"/>
                    <a:pt x="13788" y="16104"/>
                    <a:pt x="13785" y="16063"/>
                  </a:cubicBezTo>
                  <a:cubicBezTo>
                    <a:pt x="13784" y="16049"/>
                    <a:pt x="13784" y="16037"/>
                    <a:pt x="13783" y="16032"/>
                  </a:cubicBezTo>
                  <a:cubicBezTo>
                    <a:pt x="13784" y="16029"/>
                    <a:pt x="13784" y="16024"/>
                    <a:pt x="13783" y="16018"/>
                  </a:cubicBezTo>
                  <a:cubicBezTo>
                    <a:pt x="13783" y="16015"/>
                    <a:pt x="13782" y="16012"/>
                    <a:pt x="13781" y="16008"/>
                  </a:cubicBezTo>
                  <a:cubicBezTo>
                    <a:pt x="13781" y="16008"/>
                    <a:pt x="13781" y="16008"/>
                    <a:pt x="13781" y="16008"/>
                  </a:cubicBezTo>
                  <a:cubicBezTo>
                    <a:pt x="13781" y="16007"/>
                    <a:pt x="13780" y="16005"/>
                    <a:pt x="13780" y="16001"/>
                  </a:cubicBezTo>
                  <a:cubicBezTo>
                    <a:pt x="13779" y="15995"/>
                    <a:pt x="13777" y="15985"/>
                    <a:pt x="13775" y="15970"/>
                  </a:cubicBezTo>
                  <a:cubicBezTo>
                    <a:pt x="13772" y="15939"/>
                    <a:pt x="13768" y="15891"/>
                    <a:pt x="13768" y="15820"/>
                  </a:cubicBezTo>
                  <a:cubicBezTo>
                    <a:pt x="13768" y="15699"/>
                    <a:pt x="13779" y="15514"/>
                    <a:pt x="13821" y="15249"/>
                  </a:cubicBezTo>
                  <a:cubicBezTo>
                    <a:pt x="13877" y="14894"/>
                    <a:pt x="14060" y="13789"/>
                    <a:pt x="14192" y="12985"/>
                  </a:cubicBezTo>
                  <a:lnTo>
                    <a:pt x="15385" y="13219"/>
                  </a:lnTo>
                  <a:close/>
                  <a:moveTo>
                    <a:pt x="13843" y="9995"/>
                  </a:moveTo>
                  <a:cubicBezTo>
                    <a:pt x="13888" y="10006"/>
                    <a:pt x="13935" y="10015"/>
                    <a:pt x="13984" y="10027"/>
                  </a:cubicBezTo>
                  <a:cubicBezTo>
                    <a:pt x="14063" y="10047"/>
                    <a:pt x="14142" y="10073"/>
                    <a:pt x="14206" y="10114"/>
                  </a:cubicBezTo>
                  <a:cubicBezTo>
                    <a:pt x="14326" y="10188"/>
                    <a:pt x="14402" y="10327"/>
                    <a:pt x="14408" y="10340"/>
                  </a:cubicBezTo>
                  <a:cubicBezTo>
                    <a:pt x="14408" y="10341"/>
                    <a:pt x="14408" y="10341"/>
                    <a:pt x="14408" y="10341"/>
                  </a:cubicBezTo>
                  <a:cubicBezTo>
                    <a:pt x="14412" y="10349"/>
                    <a:pt x="14412" y="10349"/>
                    <a:pt x="14412" y="10349"/>
                  </a:cubicBezTo>
                  <a:cubicBezTo>
                    <a:pt x="14418" y="10356"/>
                    <a:pt x="14418" y="10356"/>
                    <a:pt x="14418" y="10356"/>
                  </a:cubicBezTo>
                  <a:cubicBezTo>
                    <a:pt x="14419" y="10356"/>
                    <a:pt x="14730" y="10734"/>
                    <a:pt x="14857" y="10873"/>
                  </a:cubicBezTo>
                  <a:cubicBezTo>
                    <a:pt x="14875" y="10893"/>
                    <a:pt x="14889" y="10908"/>
                    <a:pt x="14902" y="10920"/>
                  </a:cubicBezTo>
                  <a:cubicBezTo>
                    <a:pt x="14936" y="10951"/>
                    <a:pt x="14964" y="10972"/>
                    <a:pt x="14983" y="10986"/>
                  </a:cubicBezTo>
                  <a:cubicBezTo>
                    <a:pt x="14700" y="11374"/>
                    <a:pt x="14700" y="11374"/>
                    <a:pt x="14700" y="11374"/>
                  </a:cubicBezTo>
                  <a:cubicBezTo>
                    <a:pt x="14697" y="11385"/>
                    <a:pt x="14697" y="11385"/>
                    <a:pt x="14697" y="11385"/>
                  </a:cubicBezTo>
                  <a:cubicBezTo>
                    <a:pt x="14697" y="11385"/>
                    <a:pt x="14696" y="11387"/>
                    <a:pt x="14694" y="11393"/>
                  </a:cubicBezTo>
                  <a:cubicBezTo>
                    <a:pt x="14692" y="11398"/>
                    <a:pt x="14689" y="11406"/>
                    <a:pt x="14685" y="11416"/>
                  </a:cubicBezTo>
                  <a:cubicBezTo>
                    <a:pt x="14677" y="11437"/>
                    <a:pt x="14665" y="11466"/>
                    <a:pt x="14649" y="11501"/>
                  </a:cubicBezTo>
                  <a:cubicBezTo>
                    <a:pt x="14617" y="11569"/>
                    <a:pt x="14571" y="11658"/>
                    <a:pt x="14514" y="11737"/>
                  </a:cubicBezTo>
                  <a:cubicBezTo>
                    <a:pt x="14416" y="11872"/>
                    <a:pt x="14264" y="11985"/>
                    <a:pt x="14229" y="12008"/>
                  </a:cubicBezTo>
                  <a:cubicBezTo>
                    <a:pt x="14224" y="12012"/>
                    <a:pt x="14222" y="12013"/>
                    <a:pt x="14222" y="12013"/>
                  </a:cubicBezTo>
                  <a:cubicBezTo>
                    <a:pt x="14195" y="12032"/>
                    <a:pt x="14195" y="12032"/>
                    <a:pt x="14195" y="12032"/>
                  </a:cubicBezTo>
                  <a:cubicBezTo>
                    <a:pt x="14193" y="12045"/>
                    <a:pt x="14193" y="12045"/>
                    <a:pt x="14193" y="12045"/>
                  </a:cubicBezTo>
                  <a:cubicBezTo>
                    <a:pt x="10984" y="12942"/>
                    <a:pt x="10984" y="12942"/>
                    <a:pt x="10984" y="12942"/>
                  </a:cubicBezTo>
                  <a:cubicBezTo>
                    <a:pt x="9677" y="13371"/>
                    <a:pt x="9677" y="13371"/>
                    <a:pt x="9677" y="13371"/>
                  </a:cubicBezTo>
                  <a:cubicBezTo>
                    <a:pt x="8788" y="13673"/>
                    <a:pt x="8788" y="13673"/>
                    <a:pt x="8788" y="13673"/>
                  </a:cubicBezTo>
                  <a:cubicBezTo>
                    <a:pt x="8788" y="13673"/>
                    <a:pt x="8788" y="13673"/>
                    <a:pt x="8788" y="13673"/>
                  </a:cubicBezTo>
                  <a:cubicBezTo>
                    <a:pt x="8789" y="13677"/>
                    <a:pt x="8789" y="13677"/>
                    <a:pt x="8789" y="13677"/>
                  </a:cubicBezTo>
                  <a:cubicBezTo>
                    <a:pt x="8781" y="13676"/>
                    <a:pt x="8775" y="13676"/>
                    <a:pt x="8770" y="13676"/>
                  </a:cubicBezTo>
                  <a:cubicBezTo>
                    <a:pt x="9407" y="12294"/>
                    <a:pt x="9407" y="12294"/>
                    <a:pt x="9407" y="12294"/>
                  </a:cubicBezTo>
                  <a:cubicBezTo>
                    <a:pt x="9457" y="12189"/>
                    <a:pt x="9457" y="12189"/>
                    <a:pt x="9457" y="12189"/>
                  </a:cubicBezTo>
                  <a:cubicBezTo>
                    <a:pt x="9470" y="12196"/>
                    <a:pt x="9487" y="12205"/>
                    <a:pt x="9508" y="12214"/>
                  </a:cubicBezTo>
                  <a:cubicBezTo>
                    <a:pt x="9502" y="12228"/>
                    <a:pt x="9494" y="12246"/>
                    <a:pt x="9485" y="12268"/>
                  </a:cubicBezTo>
                  <a:cubicBezTo>
                    <a:pt x="9481" y="12269"/>
                    <a:pt x="9481" y="12269"/>
                    <a:pt x="9481" y="12269"/>
                  </a:cubicBezTo>
                  <a:cubicBezTo>
                    <a:pt x="9482" y="12273"/>
                    <a:pt x="9482" y="12273"/>
                    <a:pt x="9482" y="12273"/>
                  </a:cubicBezTo>
                  <a:cubicBezTo>
                    <a:pt x="9464" y="12316"/>
                    <a:pt x="9439" y="12372"/>
                    <a:pt x="9413" y="12432"/>
                  </a:cubicBezTo>
                  <a:cubicBezTo>
                    <a:pt x="9357" y="12561"/>
                    <a:pt x="9293" y="12705"/>
                    <a:pt x="9262" y="12768"/>
                  </a:cubicBezTo>
                  <a:cubicBezTo>
                    <a:pt x="9255" y="12783"/>
                    <a:pt x="9249" y="12794"/>
                    <a:pt x="9247" y="12797"/>
                  </a:cubicBezTo>
                  <a:cubicBezTo>
                    <a:pt x="9244" y="12798"/>
                    <a:pt x="9244" y="12799"/>
                    <a:pt x="9243" y="12800"/>
                  </a:cubicBezTo>
                  <a:cubicBezTo>
                    <a:pt x="9242" y="12802"/>
                    <a:pt x="9240" y="12804"/>
                    <a:pt x="9239" y="12807"/>
                  </a:cubicBezTo>
                  <a:cubicBezTo>
                    <a:pt x="9236" y="12812"/>
                    <a:pt x="9232" y="12819"/>
                    <a:pt x="9227" y="12828"/>
                  </a:cubicBezTo>
                  <a:cubicBezTo>
                    <a:pt x="9217" y="12846"/>
                    <a:pt x="9204" y="12872"/>
                    <a:pt x="9189" y="12903"/>
                  </a:cubicBezTo>
                  <a:cubicBezTo>
                    <a:pt x="9158" y="12964"/>
                    <a:pt x="9119" y="13047"/>
                    <a:pt x="9080" y="13129"/>
                  </a:cubicBezTo>
                  <a:cubicBezTo>
                    <a:pt x="9001" y="13294"/>
                    <a:pt x="8924" y="13459"/>
                    <a:pt x="8924" y="13459"/>
                  </a:cubicBezTo>
                  <a:cubicBezTo>
                    <a:pt x="8921" y="13465"/>
                    <a:pt x="8921" y="13465"/>
                    <a:pt x="8921" y="13465"/>
                  </a:cubicBezTo>
                  <a:cubicBezTo>
                    <a:pt x="8928" y="13468"/>
                    <a:pt x="8928" y="13468"/>
                    <a:pt x="8928" y="13468"/>
                  </a:cubicBezTo>
                  <a:cubicBezTo>
                    <a:pt x="8928" y="13468"/>
                    <a:pt x="8973" y="13487"/>
                    <a:pt x="8988" y="13494"/>
                  </a:cubicBezTo>
                  <a:cubicBezTo>
                    <a:pt x="8988" y="13495"/>
                    <a:pt x="8988" y="13495"/>
                    <a:pt x="8988" y="13495"/>
                  </a:cubicBezTo>
                  <a:cubicBezTo>
                    <a:pt x="8993" y="13496"/>
                    <a:pt x="8993" y="13496"/>
                    <a:pt x="8993" y="13496"/>
                  </a:cubicBezTo>
                  <a:cubicBezTo>
                    <a:pt x="8994" y="13496"/>
                    <a:pt x="8994" y="13497"/>
                    <a:pt x="8996" y="13497"/>
                  </a:cubicBezTo>
                  <a:cubicBezTo>
                    <a:pt x="9000" y="13496"/>
                    <a:pt x="9000" y="13495"/>
                    <a:pt x="9001" y="13494"/>
                  </a:cubicBezTo>
                  <a:cubicBezTo>
                    <a:pt x="9003" y="13494"/>
                    <a:pt x="9006" y="13492"/>
                    <a:pt x="9011" y="13491"/>
                  </a:cubicBezTo>
                  <a:cubicBezTo>
                    <a:pt x="9020" y="13488"/>
                    <a:pt x="9033" y="13483"/>
                    <a:pt x="9050" y="13478"/>
                  </a:cubicBezTo>
                  <a:cubicBezTo>
                    <a:pt x="9084" y="13466"/>
                    <a:pt x="9133" y="13450"/>
                    <a:pt x="9193" y="13430"/>
                  </a:cubicBezTo>
                  <a:cubicBezTo>
                    <a:pt x="9315" y="13390"/>
                    <a:pt x="9483" y="13336"/>
                    <a:pt x="9670" y="13275"/>
                  </a:cubicBezTo>
                  <a:cubicBezTo>
                    <a:pt x="9970" y="13178"/>
                    <a:pt x="10317" y="13066"/>
                    <a:pt x="10597" y="12976"/>
                  </a:cubicBezTo>
                  <a:cubicBezTo>
                    <a:pt x="10598" y="12979"/>
                    <a:pt x="10599" y="12981"/>
                    <a:pt x="10599" y="12981"/>
                  </a:cubicBezTo>
                  <a:cubicBezTo>
                    <a:pt x="10599" y="12981"/>
                    <a:pt x="10599" y="12981"/>
                    <a:pt x="10599" y="12981"/>
                  </a:cubicBezTo>
                  <a:cubicBezTo>
                    <a:pt x="10612" y="12976"/>
                    <a:pt x="10612" y="12976"/>
                    <a:pt x="10612" y="12976"/>
                  </a:cubicBezTo>
                  <a:cubicBezTo>
                    <a:pt x="10612" y="12976"/>
                    <a:pt x="10611" y="12974"/>
                    <a:pt x="10611" y="12972"/>
                  </a:cubicBezTo>
                  <a:cubicBezTo>
                    <a:pt x="10675" y="12951"/>
                    <a:pt x="10737" y="12931"/>
                    <a:pt x="10792" y="12913"/>
                  </a:cubicBezTo>
                  <a:cubicBezTo>
                    <a:pt x="10992" y="12849"/>
                    <a:pt x="11125" y="12806"/>
                    <a:pt x="11125" y="12806"/>
                  </a:cubicBezTo>
                  <a:cubicBezTo>
                    <a:pt x="11125" y="12806"/>
                    <a:pt x="11125" y="12806"/>
                    <a:pt x="11125" y="12806"/>
                  </a:cubicBezTo>
                  <a:cubicBezTo>
                    <a:pt x="11182" y="12786"/>
                    <a:pt x="11182" y="12786"/>
                    <a:pt x="11182" y="12786"/>
                  </a:cubicBezTo>
                  <a:cubicBezTo>
                    <a:pt x="11176" y="12771"/>
                    <a:pt x="11176" y="12771"/>
                    <a:pt x="11176" y="12771"/>
                  </a:cubicBezTo>
                  <a:cubicBezTo>
                    <a:pt x="11039" y="12378"/>
                    <a:pt x="11039" y="12378"/>
                    <a:pt x="11039" y="12378"/>
                  </a:cubicBezTo>
                  <a:cubicBezTo>
                    <a:pt x="12029" y="12063"/>
                    <a:pt x="12029" y="12063"/>
                    <a:pt x="12029" y="12063"/>
                  </a:cubicBezTo>
                  <a:cubicBezTo>
                    <a:pt x="12109" y="12231"/>
                    <a:pt x="12204" y="12432"/>
                    <a:pt x="12234" y="12490"/>
                  </a:cubicBezTo>
                  <a:cubicBezTo>
                    <a:pt x="12295" y="12466"/>
                    <a:pt x="12295" y="12466"/>
                    <a:pt x="12295" y="12466"/>
                  </a:cubicBezTo>
                  <a:cubicBezTo>
                    <a:pt x="12292" y="12460"/>
                    <a:pt x="12269" y="12409"/>
                    <a:pt x="12265" y="12401"/>
                  </a:cubicBezTo>
                  <a:cubicBezTo>
                    <a:pt x="12254" y="12378"/>
                    <a:pt x="12238" y="12346"/>
                    <a:pt x="12219" y="12308"/>
                  </a:cubicBezTo>
                  <a:cubicBezTo>
                    <a:pt x="12184" y="12234"/>
                    <a:pt x="12137" y="12136"/>
                    <a:pt x="12090" y="12037"/>
                  </a:cubicBezTo>
                  <a:cubicBezTo>
                    <a:pt x="12419" y="11841"/>
                    <a:pt x="12419" y="11841"/>
                    <a:pt x="12419" y="11841"/>
                  </a:cubicBezTo>
                  <a:cubicBezTo>
                    <a:pt x="12475" y="11701"/>
                    <a:pt x="12475" y="11701"/>
                    <a:pt x="12475" y="11701"/>
                  </a:cubicBezTo>
                  <a:cubicBezTo>
                    <a:pt x="12475" y="11701"/>
                    <a:pt x="12475" y="11701"/>
                    <a:pt x="12475" y="11701"/>
                  </a:cubicBezTo>
                  <a:cubicBezTo>
                    <a:pt x="12475" y="11701"/>
                    <a:pt x="12475" y="11700"/>
                    <a:pt x="12475" y="11700"/>
                  </a:cubicBezTo>
                  <a:cubicBezTo>
                    <a:pt x="12535" y="11552"/>
                    <a:pt x="12535" y="11552"/>
                    <a:pt x="12535" y="11552"/>
                  </a:cubicBezTo>
                  <a:cubicBezTo>
                    <a:pt x="12533" y="11549"/>
                    <a:pt x="12533" y="11549"/>
                    <a:pt x="12533" y="11549"/>
                  </a:cubicBezTo>
                  <a:cubicBezTo>
                    <a:pt x="12533" y="11548"/>
                    <a:pt x="12400" y="11342"/>
                    <a:pt x="12350" y="11274"/>
                  </a:cubicBezTo>
                  <a:cubicBezTo>
                    <a:pt x="12368" y="11256"/>
                    <a:pt x="12386" y="11239"/>
                    <a:pt x="12405" y="11221"/>
                  </a:cubicBezTo>
                  <a:cubicBezTo>
                    <a:pt x="12550" y="11080"/>
                    <a:pt x="12684" y="10946"/>
                    <a:pt x="12697" y="10933"/>
                  </a:cubicBezTo>
                  <a:lnTo>
                    <a:pt x="13843" y="9995"/>
                  </a:lnTo>
                  <a:close/>
                  <a:moveTo>
                    <a:pt x="13518" y="9830"/>
                  </a:moveTo>
                  <a:cubicBezTo>
                    <a:pt x="13600" y="9894"/>
                    <a:pt x="13686" y="9946"/>
                    <a:pt x="13758" y="9971"/>
                  </a:cubicBezTo>
                  <a:cubicBezTo>
                    <a:pt x="13760" y="9972"/>
                    <a:pt x="13763" y="9973"/>
                    <a:pt x="13766" y="9974"/>
                  </a:cubicBezTo>
                  <a:cubicBezTo>
                    <a:pt x="12685" y="10858"/>
                    <a:pt x="12685" y="10858"/>
                    <a:pt x="12685" y="10858"/>
                  </a:cubicBezTo>
                  <a:cubicBezTo>
                    <a:pt x="12013" y="10291"/>
                    <a:pt x="12013" y="10291"/>
                    <a:pt x="12013" y="10291"/>
                  </a:cubicBezTo>
                  <a:cubicBezTo>
                    <a:pt x="12011" y="10290"/>
                    <a:pt x="12011" y="10290"/>
                    <a:pt x="12011" y="10290"/>
                  </a:cubicBezTo>
                  <a:cubicBezTo>
                    <a:pt x="12008" y="10288"/>
                    <a:pt x="11969" y="10264"/>
                    <a:pt x="11912" y="10263"/>
                  </a:cubicBezTo>
                  <a:cubicBezTo>
                    <a:pt x="11872" y="10263"/>
                    <a:pt x="11822" y="10277"/>
                    <a:pt x="11776" y="10317"/>
                  </a:cubicBezTo>
                  <a:cubicBezTo>
                    <a:pt x="11731" y="10357"/>
                    <a:pt x="11703" y="10378"/>
                    <a:pt x="11688" y="10388"/>
                  </a:cubicBezTo>
                  <a:cubicBezTo>
                    <a:pt x="11413" y="10042"/>
                    <a:pt x="11413" y="10042"/>
                    <a:pt x="11413" y="10042"/>
                  </a:cubicBezTo>
                  <a:cubicBezTo>
                    <a:pt x="11411" y="10040"/>
                    <a:pt x="11411" y="10040"/>
                    <a:pt x="11411" y="10040"/>
                  </a:cubicBezTo>
                  <a:cubicBezTo>
                    <a:pt x="11410" y="10039"/>
                    <a:pt x="11287" y="9932"/>
                    <a:pt x="11085" y="9800"/>
                  </a:cubicBezTo>
                  <a:cubicBezTo>
                    <a:pt x="10942" y="9707"/>
                    <a:pt x="10796" y="9610"/>
                    <a:pt x="10724" y="9562"/>
                  </a:cubicBezTo>
                  <a:cubicBezTo>
                    <a:pt x="10810" y="9485"/>
                    <a:pt x="10986" y="9325"/>
                    <a:pt x="11095" y="9210"/>
                  </a:cubicBezTo>
                  <a:cubicBezTo>
                    <a:pt x="11214" y="9082"/>
                    <a:pt x="11239" y="8893"/>
                    <a:pt x="11245" y="8804"/>
                  </a:cubicBezTo>
                  <a:cubicBezTo>
                    <a:pt x="11264" y="8805"/>
                    <a:pt x="11291" y="8807"/>
                    <a:pt x="11323" y="8809"/>
                  </a:cubicBezTo>
                  <a:cubicBezTo>
                    <a:pt x="11393" y="8814"/>
                    <a:pt x="11488" y="8821"/>
                    <a:pt x="11589" y="8827"/>
                  </a:cubicBezTo>
                  <a:cubicBezTo>
                    <a:pt x="11793" y="8841"/>
                    <a:pt x="12021" y="8855"/>
                    <a:pt x="12127" y="8860"/>
                  </a:cubicBezTo>
                  <a:cubicBezTo>
                    <a:pt x="12336" y="8869"/>
                    <a:pt x="12594" y="8878"/>
                    <a:pt x="12880" y="8947"/>
                  </a:cubicBezTo>
                  <a:cubicBezTo>
                    <a:pt x="13022" y="8981"/>
                    <a:pt x="13125" y="9024"/>
                    <a:pt x="13194" y="9071"/>
                  </a:cubicBezTo>
                  <a:cubicBezTo>
                    <a:pt x="13264" y="9120"/>
                    <a:pt x="13301" y="9170"/>
                    <a:pt x="13320" y="9228"/>
                  </a:cubicBezTo>
                  <a:cubicBezTo>
                    <a:pt x="13333" y="9265"/>
                    <a:pt x="13338" y="9316"/>
                    <a:pt x="13338" y="9366"/>
                  </a:cubicBezTo>
                  <a:cubicBezTo>
                    <a:pt x="13338" y="9409"/>
                    <a:pt x="13334" y="9451"/>
                    <a:pt x="13330" y="9484"/>
                  </a:cubicBezTo>
                  <a:cubicBezTo>
                    <a:pt x="13325" y="9517"/>
                    <a:pt x="13319" y="9544"/>
                    <a:pt x="13318" y="9549"/>
                  </a:cubicBezTo>
                  <a:cubicBezTo>
                    <a:pt x="13318" y="9549"/>
                    <a:pt x="13318" y="9549"/>
                    <a:pt x="13318" y="9549"/>
                  </a:cubicBezTo>
                  <a:cubicBezTo>
                    <a:pt x="13318" y="9548"/>
                    <a:pt x="13318" y="9548"/>
                    <a:pt x="13318" y="9548"/>
                  </a:cubicBezTo>
                  <a:cubicBezTo>
                    <a:pt x="13315" y="9580"/>
                    <a:pt x="13315" y="9580"/>
                    <a:pt x="13315" y="9580"/>
                  </a:cubicBezTo>
                  <a:cubicBezTo>
                    <a:pt x="13319" y="9615"/>
                    <a:pt x="13319" y="9615"/>
                    <a:pt x="13319" y="9615"/>
                  </a:cubicBezTo>
                  <a:cubicBezTo>
                    <a:pt x="13361" y="9694"/>
                    <a:pt x="13437" y="9766"/>
                    <a:pt x="13518" y="9830"/>
                  </a:cubicBezTo>
                  <a:close/>
                  <a:moveTo>
                    <a:pt x="16000" y="4788"/>
                  </a:moveTo>
                  <a:cubicBezTo>
                    <a:pt x="16015" y="4848"/>
                    <a:pt x="16029" y="4933"/>
                    <a:pt x="16029" y="5035"/>
                  </a:cubicBezTo>
                  <a:cubicBezTo>
                    <a:pt x="16029" y="5110"/>
                    <a:pt x="16021" y="5194"/>
                    <a:pt x="16000" y="5285"/>
                  </a:cubicBezTo>
                  <a:cubicBezTo>
                    <a:pt x="15922" y="5619"/>
                    <a:pt x="15662" y="5831"/>
                    <a:pt x="15557" y="6081"/>
                  </a:cubicBezTo>
                  <a:cubicBezTo>
                    <a:pt x="15483" y="6261"/>
                    <a:pt x="15418" y="6393"/>
                    <a:pt x="15418" y="6641"/>
                  </a:cubicBezTo>
                  <a:cubicBezTo>
                    <a:pt x="15418" y="6718"/>
                    <a:pt x="15424" y="6805"/>
                    <a:pt x="15437" y="6908"/>
                  </a:cubicBezTo>
                  <a:cubicBezTo>
                    <a:pt x="15465" y="7126"/>
                    <a:pt x="15510" y="7484"/>
                    <a:pt x="15548" y="7789"/>
                  </a:cubicBezTo>
                  <a:cubicBezTo>
                    <a:pt x="15575" y="8009"/>
                    <a:pt x="15599" y="8200"/>
                    <a:pt x="15610" y="8289"/>
                  </a:cubicBezTo>
                  <a:cubicBezTo>
                    <a:pt x="15577" y="8303"/>
                    <a:pt x="15544" y="8318"/>
                    <a:pt x="15530" y="8324"/>
                  </a:cubicBezTo>
                  <a:cubicBezTo>
                    <a:pt x="15523" y="8327"/>
                    <a:pt x="15520" y="8329"/>
                    <a:pt x="15512" y="8333"/>
                  </a:cubicBezTo>
                  <a:cubicBezTo>
                    <a:pt x="15506" y="8337"/>
                    <a:pt x="15497" y="8342"/>
                    <a:pt x="15486" y="8347"/>
                  </a:cubicBezTo>
                  <a:cubicBezTo>
                    <a:pt x="15465" y="8359"/>
                    <a:pt x="15436" y="8376"/>
                    <a:pt x="15401" y="8395"/>
                  </a:cubicBezTo>
                  <a:cubicBezTo>
                    <a:pt x="15332" y="8434"/>
                    <a:pt x="15240" y="8485"/>
                    <a:pt x="15141" y="8539"/>
                  </a:cubicBezTo>
                  <a:cubicBezTo>
                    <a:pt x="14944" y="8646"/>
                    <a:pt x="14717" y="8763"/>
                    <a:pt x="14605" y="8804"/>
                  </a:cubicBezTo>
                  <a:cubicBezTo>
                    <a:pt x="14433" y="8866"/>
                    <a:pt x="14274" y="8918"/>
                    <a:pt x="14192" y="8943"/>
                  </a:cubicBezTo>
                  <a:cubicBezTo>
                    <a:pt x="14168" y="8950"/>
                    <a:pt x="14149" y="8955"/>
                    <a:pt x="14143" y="8957"/>
                  </a:cubicBezTo>
                  <a:cubicBezTo>
                    <a:pt x="14141" y="8957"/>
                    <a:pt x="14140" y="8957"/>
                    <a:pt x="14139" y="8957"/>
                  </a:cubicBezTo>
                  <a:cubicBezTo>
                    <a:pt x="14137" y="8957"/>
                    <a:pt x="14136" y="8958"/>
                    <a:pt x="14134" y="8958"/>
                  </a:cubicBezTo>
                  <a:cubicBezTo>
                    <a:pt x="14131" y="8958"/>
                    <a:pt x="14128" y="8959"/>
                    <a:pt x="14125" y="8960"/>
                  </a:cubicBezTo>
                  <a:cubicBezTo>
                    <a:pt x="14118" y="8961"/>
                    <a:pt x="14109" y="8963"/>
                    <a:pt x="14098" y="8966"/>
                  </a:cubicBezTo>
                  <a:cubicBezTo>
                    <a:pt x="14076" y="8971"/>
                    <a:pt x="14046" y="8978"/>
                    <a:pt x="14011" y="8986"/>
                  </a:cubicBezTo>
                  <a:cubicBezTo>
                    <a:pt x="13940" y="9003"/>
                    <a:pt x="13847" y="9025"/>
                    <a:pt x="13754" y="9047"/>
                  </a:cubicBezTo>
                  <a:cubicBezTo>
                    <a:pt x="13631" y="9077"/>
                    <a:pt x="13509" y="9107"/>
                    <a:pt x="13441" y="9123"/>
                  </a:cubicBezTo>
                  <a:cubicBezTo>
                    <a:pt x="13407" y="9055"/>
                    <a:pt x="13353" y="8995"/>
                    <a:pt x="13281" y="8946"/>
                  </a:cubicBezTo>
                  <a:cubicBezTo>
                    <a:pt x="13189" y="8883"/>
                    <a:pt x="13069" y="8835"/>
                    <a:pt x="12916" y="8798"/>
                  </a:cubicBezTo>
                  <a:cubicBezTo>
                    <a:pt x="12786" y="8767"/>
                    <a:pt x="12662" y="8748"/>
                    <a:pt x="12546" y="8735"/>
                  </a:cubicBezTo>
                  <a:cubicBezTo>
                    <a:pt x="12078" y="7212"/>
                    <a:pt x="12078" y="7212"/>
                    <a:pt x="12078" y="7212"/>
                  </a:cubicBezTo>
                  <a:cubicBezTo>
                    <a:pt x="12078" y="7212"/>
                    <a:pt x="12078" y="7212"/>
                    <a:pt x="12078" y="7212"/>
                  </a:cubicBezTo>
                  <a:cubicBezTo>
                    <a:pt x="12074" y="7198"/>
                    <a:pt x="12042" y="7088"/>
                    <a:pt x="11934" y="7034"/>
                  </a:cubicBezTo>
                  <a:cubicBezTo>
                    <a:pt x="11948" y="7006"/>
                    <a:pt x="11961" y="6978"/>
                    <a:pt x="11971" y="6950"/>
                  </a:cubicBezTo>
                  <a:cubicBezTo>
                    <a:pt x="12019" y="6827"/>
                    <a:pt x="12035" y="6712"/>
                    <a:pt x="12035" y="6711"/>
                  </a:cubicBezTo>
                  <a:cubicBezTo>
                    <a:pt x="12311" y="4826"/>
                    <a:pt x="12311" y="4826"/>
                    <a:pt x="12311" y="4826"/>
                  </a:cubicBezTo>
                  <a:cubicBezTo>
                    <a:pt x="12310" y="4823"/>
                    <a:pt x="12310" y="4823"/>
                    <a:pt x="12310" y="4823"/>
                  </a:cubicBezTo>
                  <a:cubicBezTo>
                    <a:pt x="12310" y="4823"/>
                    <a:pt x="12308" y="4781"/>
                    <a:pt x="12307" y="4751"/>
                  </a:cubicBezTo>
                  <a:cubicBezTo>
                    <a:pt x="12313" y="4751"/>
                    <a:pt x="12313" y="4751"/>
                    <a:pt x="12313" y="4751"/>
                  </a:cubicBezTo>
                  <a:cubicBezTo>
                    <a:pt x="12312" y="4747"/>
                    <a:pt x="12312" y="4747"/>
                    <a:pt x="12312" y="4747"/>
                  </a:cubicBezTo>
                  <a:cubicBezTo>
                    <a:pt x="12353" y="4749"/>
                    <a:pt x="12423" y="4755"/>
                    <a:pt x="12502" y="4762"/>
                  </a:cubicBezTo>
                  <a:cubicBezTo>
                    <a:pt x="12630" y="4775"/>
                    <a:pt x="12783" y="4795"/>
                    <a:pt x="12879" y="4821"/>
                  </a:cubicBezTo>
                  <a:cubicBezTo>
                    <a:pt x="13567" y="5021"/>
                    <a:pt x="13567" y="5021"/>
                    <a:pt x="13567" y="5021"/>
                  </a:cubicBezTo>
                  <a:cubicBezTo>
                    <a:pt x="14055" y="5138"/>
                    <a:pt x="14055" y="5138"/>
                    <a:pt x="14055" y="5138"/>
                  </a:cubicBezTo>
                  <a:cubicBezTo>
                    <a:pt x="15986" y="4735"/>
                    <a:pt x="15986" y="4735"/>
                    <a:pt x="15986" y="4735"/>
                  </a:cubicBezTo>
                  <a:cubicBezTo>
                    <a:pt x="15990" y="4750"/>
                    <a:pt x="15995" y="4767"/>
                    <a:pt x="16000" y="4788"/>
                  </a:cubicBezTo>
                  <a:close/>
                  <a:moveTo>
                    <a:pt x="15890" y="1942"/>
                  </a:moveTo>
                  <a:cubicBezTo>
                    <a:pt x="15794" y="2067"/>
                    <a:pt x="15692" y="2215"/>
                    <a:pt x="15660" y="2329"/>
                  </a:cubicBezTo>
                  <a:cubicBezTo>
                    <a:pt x="15627" y="2453"/>
                    <a:pt x="15596" y="2671"/>
                    <a:pt x="15595" y="2932"/>
                  </a:cubicBezTo>
                  <a:cubicBezTo>
                    <a:pt x="15595" y="3119"/>
                    <a:pt x="15612" y="3328"/>
                    <a:pt x="15656" y="3537"/>
                  </a:cubicBezTo>
                  <a:cubicBezTo>
                    <a:pt x="15745" y="3958"/>
                    <a:pt x="15910" y="4497"/>
                    <a:pt x="15954" y="4651"/>
                  </a:cubicBezTo>
                  <a:cubicBezTo>
                    <a:pt x="15956" y="4660"/>
                    <a:pt x="15958" y="4668"/>
                    <a:pt x="15960" y="4674"/>
                  </a:cubicBezTo>
                  <a:cubicBezTo>
                    <a:pt x="14056" y="5070"/>
                    <a:pt x="14056" y="5070"/>
                    <a:pt x="14056" y="5070"/>
                  </a:cubicBezTo>
                  <a:cubicBezTo>
                    <a:pt x="13584" y="4958"/>
                    <a:pt x="13584" y="4958"/>
                    <a:pt x="13584" y="4958"/>
                  </a:cubicBezTo>
                  <a:cubicBezTo>
                    <a:pt x="13122" y="4823"/>
                    <a:pt x="13122" y="4823"/>
                    <a:pt x="13122" y="4823"/>
                  </a:cubicBezTo>
                  <a:cubicBezTo>
                    <a:pt x="13153" y="4773"/>
                    <a:pt x="13212" y="4672"/>
                    <a:pt x="13282" y="4523"/>
                  </a:cubicBezTo>
                  <a:cubicBezTo>
                    <a:pt x="13320" y="4442"/>
                    <a:pt x="13333" y="4369"/>
                    <a:pt x="13333" y="4309"/>
                  </a:cubicBezTo>
                  <a:cubicBezTo>
                    <a:pt x="13333" y="4197"/>
                    <a:pt x="13289" y="4130"/>
                    <a:pt x="13287" y="4127"/>
                  </a:cubicBezTo>
                  <a:cubicBezTo>
                    <a:pt x="12544" y="2998"/>
                    <a:pt x="12544" y="2998"/>
                    <a:pt x="12544" y="2998"/>
                  </a:cubicBezTo>
                  <a:cubicBezTo>
                    <a:pt x="12541" y="2995"/>
                    <a:pt x="12541" y="2995"/>
                    <a:pt x="12541" y="2995"/>
                  </a:cubicBezTo>
                  <a:cubicBezTo>
                    <a:pt x="12519" y="2975"/>
                    <a:pt x="12496" y="2960"/>
                    <a:pt x="12472" y="2948"/>
                  </a:cubicBezTo>
                  <a:cubicBezTo>
                    <a:pt x="12489" y="2909"/>
                    <a:pt x="12522" y="2832"/>
                    <a:pt x="12537" y="2799"/>
                  </a:cubicBezTo>
                  <a:cubicBezTo>
                    <a:pt x="12537" y="2799"/>
                    <a:pt x="12538" y="2799"/>
                    <a:pt x="12539" y="2797"/>
                  </a:cubicBezTo>
                  <a:cubicBezTo>
                    <a:pt x="12540" y="2796"/>
                    <a:pt x="12541" y="2793"/>
                    <a:pt x="12543" y="2791"/>
                  </a:cubicBezTo>
                  <a:cubicBezTo>
                    <a:pt x="12546" y="2785"/>
                    <a:pt x="12551" y="2778"/>
                    <a:pt x="12557" y="2770"/>
                  </a:cubicBezTo>
                  <a:cubicBezTo>
                    <a:pt x="12570" y="2753"/>
                    <a:pt x="12586" y="2731"/>
                    <a:pt x="12605" y="2706"/>
                  </a:cubicBezTo>
                  <a:cubicBezTo>
                    <a:pt x="12644" y="2656"/>
                    <a:pt x="12694" y="2593"/>
                    <a:pt x="12743" y="2532"/>
                  </a:cubicBezTo>
                  <a:cubicBezTo>
                    <a:pt x="12842" y="2409"/>
                    <a:pt x="12938" y="2292"/>
                    <a:pt x="12938" y="2292"/>
                  </a:cubicBezTo>
                  <a:cubicBezTo>
                    <a:pt x="12939" y="2290"/>
                    <a:pt x="12939" y="2290"/>
                    <a:pt x="12939" y="2290"/>
                  </a:cubicBezTo>
                  <a:cubicBezTo>
                    <a:pt x="12940" y="2289"/>
                    <a:pt x="12940" y="2289"/>
                    <a:pt x="12940" y="2289"/>
                  </a:cubicBezTo>
                  <a:cubicBezTo>
                    <a:pt x="12940" y="2289"/>
                    <a:pt x="12967" y="2248"/>
                    <a:pt x="13005" y="2196"/>
                  </a:cubicBezTo>
                  <a:cubicBezTo>
                    <a:pt x="13042" y="2144"/>
                    <a:pt x="13090" y="2080"/>
                    <a:pt x="13129" y="2035"/>
                  </a:cubicBezTo>
                  <a:cubicBezTo>
                    <a:pt x="13201" y="1955"/>
                    <a:pt x="13292" y="1953"/>
                    <a:pt x="13369" y="1950"/>
                  </a:cubicBezTo>
                  <a:cubicBezTo>
                    <a:pt x="13398" y="1951"/>
                    <a:pt x="14002" y="1964"/>
                    <a:pt x="14459" y="1964"/>
                  </a:cubicBezTo>
                  <a:cubicBezTo>
                    <a:pt x="14693" y="1964"/>
                    <a:pt x="14885" y="1961"/>
                    <a:pt x="14950" y="1949"/>
                  </a:cubicBezTo>
                  <a:cubicBezTo>
                    <a:pt x="15100" y="1923"/>
                    <a:pt x="15565" y="1885"/>
                    <a:pt x="16019" y="1786"/>
                  </a:cubicBezTo>
                  <a:cubicBezTo>
                    <a:pt x="15984" y="1826"/>
                    <a:pt x="15938" y="1881"/>
                    <a:pt x="15890" y="1942"/>
                  </a:cubicBezTo>
                  <a:close/>
                  <a:moveTo>
                    <a:pt x="16115" y="1764"/>
                  </a:moveTo>
                  <a:cubicBezTo>
                    <a:pt x="16115" y="1764"/>
                    <a:pt x="16115" y="1764"/>
                    <a:pt x="16115" y="1764"/>
                  </a:cubicBezTo>
                  <a:cubicBezTo>
                    <a:pt x="16119" y="1772"/>
                    <a:pt x="16119" y="1772"/>
                    <a:pt x="16119" y="1772"/>
                  </a:cubicBezTo>
                  <a:lnTo>
                    <a:pt x="16115" y="1764"/>
                  </a:lnTo>
                  <a:close/>
                  <a:moveTo>
                    <a:pt x="4" y="16455"/>
                  </a:moveTo>
                  <a:cubicBezTo>
                    <a:pt x="29" y="16428"/>
                    <a:pt x="29" y="16428"/>
                    <a:pt x="29" y="16428"/>
                  </a:cubicBezTo>
                  <a:cubicBezTo>
                    <a:pt x="4" y="16377"/>
                    <a:pt x="4" y="16377"/>
                    <a:pt x="4" y="16377"/>
                  </a:cubicBezTo>
                  <a:cubicBezTo>
                    <a:pt x="4" y="16345"/>
                    <a:pt x="4" y="16345"/>
                    <a:pt x="4" y="16345"/>
                  </a:cubicBezTo>
                  <a:cubicBezTo>
                    <a:pt x="46" y="16430"/>
                    <a:pt x="46" y="16430"/>
                    <a:pt x="46" y="16430"/>
                  </a:cubicBezTo>
                  <a:cubicBezTo>
                    <a:pt x="4" y="16476"/>
                    <a:pt x="4" y="16476"/>
                    <a:pt x="4" y="16476"/>
                  </a:cubicBezTo>
                  <a:lnTo>
                    <a:pt x="4" y="16455"/>
                  </a:lnTo>
                  <a:close/>
                  <a:moveTo>
                    <a:pt x="10539" y="213"/>
                  </a:moveTo>
                  <a:cubicBezTo>
                    <a:pt x="10519" y="0"/>
                    <a:pt x="10519" y="0"/>
                    <a:pt x="10519" y="0"/>
                  </a:cubicBezTo>
                  <a:cubicBezTo>
                    <a:pt x="10533" y="0"/>
                    <a:pt x="10533" y="0"/>
                    <a:pt x="10533" y="0"/>
                  </a:cubicBezTo>
                  <a:cubicBezTo>
                    <a:pt x="10553" y="211"/>
                    <a:pt x="10553" y="211"/>
                    <a:pt x="10553" y="211"/>
                  </a:cubicBezTo>
                  <a:lnTo>
                    <a:pt x="10539" y="213"/>
                  </a:lnTo>
                  <a:close/>
                  <a:moveTo>
                    <a:pt x="4358" y="14296"/>
                  </a:moveTo>
                  <a:cubicBezTo>
                    <a:pt x="4358" y="14296"/>
                    <a:pt x="4358" y="14296"/>
                    <a:pt x="4358" y="14296"/>
                  </a:cubicBezTo>
                  <a:cubicBezTo>
                    <a:pt x="4358" y="14295"/>
                    <a:pt x="4358" y="14295"/>
                    <a:pt x="4358" y="14295"/>
                  </a:cubicBezTo>
                  <a:lnTo>
                    <a:pt x="4358" y="14296"/>
                  </a:lnTo>
                  <a:close/>
                  <a:moveTo>
                    <a:pt x="481" y="14602"/>
                  </a:moveTo>
                  <a:cubicBezTo>
                    <a:pt x="481" y="14602"/>
                    <a:pt x="481" y="14602"/>
                    <a:pt x="481" y="14602"/>
                  </a:cubicBezTo>
                  <a:cubicBezTo>
                    <a:pt x="481" y="14602"/>
                    <a:pt x="481" y="14602"/>
                    <a:pt x="481" y="14602"/>
                  </a:cubicBezTo>
                  <a:close/>
                </a:path>
              </a:pathLst>
            </a:custGeom>
            <a:gradFill>
              <a:gsLst>
                <a:gs pos="40000">
                  <a:srgbClr val="FFFFFF"/>
                </a:gs>
                <a:gs pos="100000">
                  <a:srgbClr val="B0AA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sp>
          <p:nvSpPr>
            <p:cNvPr id="25" name="Wit">
              <a:extLst>
                <a:ext uri="{FF2B5EF4-FFF2-40B4-BE49-F238E27FC236}">
                  <a16:creationId xmlns:a16="http://schemas.microsoft.com/office/drawing/2014/main" id="{A3D7C808-3880-480B-AAB6-98D7EA7EC918}"/>
                </a:ext>
              </a:extLst>
            </p:cNvPr>
            <p:cNvSpPr>
              <a:spLocks/>
            </p:cNvSpPr>
            <p:nvPr userDrawn="1"/>
          </p:nvSpPr>
          <p:spPr bwMode="gray">
            <a:xfrm>
              <a:off x="4077" y="1"/>
              <a:ext cx="3603" cy="4315"/>
            </a:xfrm>
            <a:custGeom>
              <a:avLst/>
              <a:gdLst>
                <a:gd name="T0" fmla="*/ 11592 w 18011"/>
                <a:gd name="T1" fmla="*/ 21032 h 21600"/>
                <a:gd name="T2" fmla="*/ 4580 w 18011"/>
                <a:gd name="T3" fmla="*/ 21600 h 21600"/>
                <a:gd name="T4" fmla="*/ 2355 w 18011"/>
                <a:gd name="T5" fmla="*/ 18261 h 21600"/>
                <a:gd name="T6" fmla="*/ 6418 w 18011"/>
                <a:gd name="T7" fmla="*/ 18456 h 21600"/>
                <a:gd name="T8" fmla="*/ 11965 w 18011"/>
                <a:gd name="T9" fmla="*/ 18643 h 21600"/>
                <a:gd name="T10" fmla="*/ 3130 w 18011"/>
                <a:gd name="T11" fmla="*/ 19682 h 21600"/>
                <a:gd name="T12" fmla="*/ 4466 w 18011"/>
                <a:gd name="T13" fmla="*/ 19921 h 21600"/>
                <a:gd name="T14" fmla="*/ 7193 w 18011"/>
                <a:gd name="T15" fmla="*/ 19942 h 21600"/>
                <a:gd name="T16" fmla="*/ 9923 w 18011"/>
                <a:gd name="T17" fmla="*/ 20256 h 21600"/>
                <a:gd name="T18" fmla="*/ 555 w 18011"/>
                <a:gd name="T19" fmla="*/ 9449 h 21600"/>
                <a:gd name="T20" fmla="*/ 15983 w 18011"/>
                <a:gd name="T21" fmla="*/ 4559 h 21600"/>
                <a:gd name="T22" fmla="*/ 15078 w 18011"/>
                <a:gd name="T23" fmla="*/ 10886 h 21600"/>
                <a:gd name="T24" fmla="*/ 13685 w 18011"/>
                <a:gd name="T25" fmla="*/ 16424 h 21600"/>
                <a:gd name="T26" fmla="*/ 7659 w 18011"/>
                <a:gd name="T27" fmla="*/ 18002 h 21600"/>
                <a:gd name="T28" fmla="*/ 1565 w 18011"/>
                <a:gd name="T29" fmla="*/ 18000 h 21600"/>
                <a:gd name="T30" fmla="*/ 1241 w 18011"/>
                <a:gd name="T31" fmla="*/ 15804 h 21600"/>
                <a:gd name="T32" fmla="*/ 297 w 18011"/>
                <a:gd name="T33" fmla="*/ 12959 h 21600"/>
                <a:gd name="T34" fmla="*/ 32 w 18011"/>
                <a:gd name="T35" fmla="*/ 10923 h 21600"/>
                <a:gd name="T36" fmla="*/ 1999 w 18011"/>
                <a:gd name="T37" fmla="*/ 11727 h 21600"/>
                <a:gd name="T38" fmla="*/ 2504 w 18011"/>
                <a:gd name="T39" fmla="*/ 7951 h 21600"/>
                <a:gd name="T40" fmla="*/ 107 w 18011"/>
                <a:gd name="T41" fmla="*/ 9324 h 21600"/>
                <a:gd name="T42" fmla="*/ 1054 w 18011"/>
                <a:gd name="T43" fmla="*/ 7261 h 21600"/>
                <a:gd name="T44" fmla="*/ 677 w 18011"/>
                <a:gd name="T45" fmla="*/ 1813 h 21600"/>
                <a:gd name="T46" fmla="*/ 5950 w 18011"/>
                <a:gd name="T47" fmla="*/ 180 h 21600"/>
                <a:gd name="T48" fmla="*/ 11347 w 18011"/>
                <a:gd name="T49" fmla="*/ 1421 h 21600"/>
                <a:gd name="T50" fmla="*/ 14990 w 18011"/>
                <a:gd name="T51" fmla="*/ 687 h 21600"/>
                <a:gd name="T52" fmla="*/ 13110 w 18011"/>
                <a:gd name="T53" fmla="*/ 4749 h 21600"/>
                <a:gd name="T54" fmla="*/ 11915 w 18011"/>
                <a:gd name="T55" fmla="*/ 10314 h 21600"/>
                <a:gd name="T56" fmla="*/ 12812 w 18011"/>
                <a:gd name="T57" fmla="*/ 13672 h 21600"/>
                <a:gd name="T58" fmla="*/ 6854 w 18011"/>
                <a:gd name="T59" fmla="*/ 13836 h 21600"/>
                <a:gd name="T60" fmla="*/ 4965 w 18011"/>
                <a:gd name="T61" fmla="*/ 14020 h 21600"/>
                <a:gd name="T62" fmla="*/ 1623 w 18011"/>
                <a:gd name="T63" fmla="*/ 13335 h 21600"/>
                <a:gd name="T64" fmla="*/ 2509 w 18011"/>
                <a:gd name="T65" fmla="*/ 11727 h 21600"/>
                <a:gd name="T66" fmla="*/ 4222 w 18011"/>
                <a:gd name="T67" fmla="*/ 12082 h 21600"/>
                <a:gd name="T68" fmla="*/ 6013 w 18011"/>
                <a:gd name="T69" fmla="*/ 2729 h 21600"/>
                <a:gd name="T70" fmla="*/ 8089 w 18011"/>
                <a:gd name="T71" fmla="*/ 4922 h 21600"/>
                <a:gd name="T72" fmla="*/ 8607 w 18011"/>
                <a:gd name="T73" fmla="*/ 7852 h 21600"/>
                <a:gd name="T74" fmla="*/ 4242 w 18011"/>
                <a:gd name="T75" fmla="*/ 12083 h 21600"/>
                <a:gd name="T76" fmla="*/ 3965 w 18011"/>
                <a:gd name="T77" fmla="*/ 11081 h 21600"/>
                <a:gd name="T78" fmla="*/ 5985 w 18011"/>
                <a:gd name="T79" fmla="*/ 11398 h 21600"/>
                <a:gd name="T80" fmla="*/ 8090 w 18011"/>
                <a:gd name="T81" fmla="*/ 8114 h 21600"/>
                <a:gd name="T82" fmla="*/ 4197 w 18011"/>
                <a:gd name="T83" fmla="*/ 9277 h 21600"/>
                <a:gd name="T84" fmla="*/ 9437 w 18011"/>
                <a:gd name="T85" fmla="*/ 12119 h 21600"/>
                <a:gd name="T86" fmla="*/ 10040 w 18011"/>
                <a:gd name="T87" fmla="*/ 6750 h 21600"/>
                <a:gd name="T88" fmla="*/ 12821 w 18011"/>
                <a:gd name="T89" fmla="*/ 792 h 21600"/>
                <a:gd name="T90" fmla="*/ 7788 w 18011"/>
                <a:gd name="T91" fmla="*/ 1156 h 21600"/>
                <a:gd name="T92" fmla="*/ 4281 w 18011"/>
                <a:gd name="T93" fmla="*/ 3554 h 21600"/>
                <a:gd name="T94" fmla="*/ 1291 w 18011"/>
                <a:gd name="T95" fmla="*/ 4143 h 21600"/>
                <a:gd name="T96" fmla="*/ 3005 w 18011"/>
                <a:gd name="T97" fmla="*/ 6542 h 21600"/>
                <a:gd name="T98" fmla="*/ 4069 w 18011"/>
                <a:gd name="T99" fmla="*/ 8038 h 21600"/>
                <a:gd name="T100" fmla="*/ 4346 w 18011"/>
                <a:gd name="T101" fmla="*/ 8168 h 21600"/>
                <a:gd name="T102" fmla="*/ 2899 w 18011"/>
                <a:gd name="T103" fmla="*/ 10798 h 21600"/>
                <a:gd name="T104" fmla="*/ 1345 w 18011"/>
                <a:gd name="T105" fmla="*/ 11012 h 21600"/>
                <a:gd name="T106" fmla="*/ 861 w 18011"/>
                <a:gd name="T107" fmla="*/ 12038 h 21600"/>
                <a:gd name="T108" fmla="*/ 643 w 18011"/>
                <a:gd name="T109" fmla="*/ 13723 h 21600"/>
                <a:gd name="T110" fmla="*/ 718 w 18011"/>
                <a:gd name="T111" fmla="*/ 14568 h 21600"/>
                <a:gd name="T112" fmla="*/ 3379 w 18011"/>
                <a:gd name="T113" fmla="*/ 16783 h 21600"/>
                <a:gd name="T114" fmla="*/ 6244 w 18011"/>
                <a:gd name="T115" fmla="*/ 16650 h 21600"/>
                <a:gd name="T116" fmla="*/ 14863 w 18011"/>
                <a:gd name="T117" fmla="*/ 14353 h 21600"/>
                <a:gd name="T118" fmla="*/ 11707 w 18011"/>
                <a:gd name="T119" fmla="*/ 12794 h 21600"/>
                <a:gd name="T120" fmla="*/ 8749 w 18011"/>
                <a:gd name="T121" fmla="*/ 13692 h 21600"/>
                <a:gd name="T122" fmla="*/ 13339 w 18011"/>
                <a:gd name="T123" fmla="*/ 9606 h 21600"/>
                <a:gd name="T124" fmla="*/ 12534 w 18011"/>
                <a:gd name="T125" fmla="*/ 3006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21600">
                  <a:moveTo>
                    <a:pt x="105" y="18543"/>
                  </a:moveTo>
                  <a:cubicBezTo>
                    <a:pt x="71" y="18555"/>
                    <a:pt x="39" y="18566"/>
                    <a:pt x="7" y="18577"/>
                  </a:cubicBezTo>
                  <a:cubicBezTo>
                    <a:pt x="7" y="18549"/>
                    <a:pt x="7" y="18549"/>
                    <a:pt x="7" y="18549"/>
                  </a:cubicBezTo>
                  <a:cubicBezTo>
                    <a:pt x="36" y="18539"/>
                    <a:pt x="65" y="18529"/>
                    <a:pt x="96" y="18518"/>
                  </a:cubicBezTo>
                  <a:cubicBezTo>
                    <a:pt x="347" y="18430"/>
                    <a:pt x="394" y="18327"/>
                    <a:pt x="396" y="18146"/>
                  </a:cubicBezTo>
                  <a:cubicBezTo>
                    <a:pt x="396" y="18102"/>
                    <a:pt x="393" y="18053"/>
                    <a:pt x="389" y="18000"/>
                  </a:cubicBezTo>
                  <a:cubicBezTo>
                    <a:pt x="415" y="18000"/>
                    <a:pt x="415" y="18000"/>
                    <a:pt x="415" y="18000"/>
                  </a:cubicBezTo>
                  <a:cubicBezTo>
                    <a:pt x="419" y="18053"/>
                    <a:pt x="422" y="18101"/>
                    <a:pt x="422" y="18146"/>
                  </a:cubicBezTo>
                  <a:cubicBezTo>
                    <a:pt x="424" y="18333"/>
                    <a:pt x="361" y="18457"/>
                    <a:pt x="105" y="18543"/>
                  </a:cubicBezTo>
                  <a:close/>
                  <a:moveTo>
                    <a:pt x="18011" y="19930"/>
                  </a:moveTo>
                  <a:cubicBezTo>
                    <a:pt x="17783" y="20116"/>
                    <a:pt x="17548" y="20305"/>
                    <a:pt x="17462" y="20374"/>
                  </a:cubicBezTo>
                  <a:cubicBezTo>
                    <a:pt x="17585" y="20498"/>
                    <a:pt x="17760" y="20645"/>
                    <a:pt x="18011" y="20758"/>
                  </a:cubicBezTo>
                  <a:cubicBezTo>
                    <a:pt x="18011" y="20797"/>
                    <a:pt x="18011" y="20797"/>
                    <a:pt x="18011" y="20797"/>
                  </a:cubicBezTo>
                  <a:cubicBezTo>
                    <a:pt x="17746" y="20681"/>
                    <a:pt x="17561" y="20525"/>
                    <a:pt x="17433" y="20397"/>
                  </a:cubicBezTo>
                  <a:cubicBezTo>
                    <a:pt x="17429" y="20400"/>
                    <a:pt x="17427" y="20402"/>
                    <a:pt x="17427" y="20402"/>
                  </a:cubicBezTo>
                  <a:cubicBezTo>
                    <a:pt x="17427" y="20402"/>
                    <a:pt x="17401" y="20425"/>
                    <a:pt x="17360" y="20465"/>
                  </a:cubicBezTo>
                  <a:cubicBezTo>
                    <a:pt x="17236" y="20583"/>
                    <a:pt x="16982" y="20852"/>
                    <a:pt x="16927" y="21070"/>
                  </a:cubicBezTo>
                  <a:cubicBezTo>
                    <a:pt x="16889" y="21218"/>
                    <a:pt x="16894" y="21344"/>
                    <a:pt x="16862" y="21468"/>
                  </a:cubicBezTo>
                  <a:cubicBezTo>
                    <a:pt x="16851" y="21512"/>
                    <a:pt x="16835" y="21556"/>
                    <a:pt x="16810" y="21600"/>
                  </a:cubicBezTo>
                  <a:cubicBezTo>
                    <a:pt x="16768" y="21600"/>
                    <a:pt x="16768" y="21600"/>
                    <a:pt x="16768" y="21600"/>
                  </a:cubicBezTo>
                  <a:cubicBezTo>
                    <a:pt x="16797" y="21553"/>
                    <a:pt x="16815" y="21507"/>
                    <a:pt x="16827" y="21459"/>
                  </a:cubicBezTo>
                  <a:cubicBezTo>
                    <a:pt x="16857" y="21342"/>
                    <a:pt x="16853" y="21215"/>
                    <a:pt x="16892" y="21061"/>
                  </a:cubicBezTo>
                  <a:cubicBezTo>
                    <a:pt x="16973" y="20749"/>
                    <a:pt x="17403" y="20376"/>
                    <a:pt x="17404" y="20375"/>
                  </a:cubicBezTo>
                  <a:cubicBezTo>
                    <a:pt x="17404" y="20375"/>
                    <a:pt x="17405" y="20373"/>
                    <a:pt x="17408" y="20371"/>
                  </a:cubicBezTo>
                  <a:cubicBezTo>
                    <a:pt x="17354" y="20315"/>
                    <a:pt x="17310" y="20266"/>
                    <a:pt x="17276" y="20229"/>
                  </a:cubicBezTo>
                  <a:cubicBezTo>
                    <a:pt x="17275" y="20229"/>
                    <a:pt x="17246" y="20195"/>
                    <a:pt x="17193" y="20138"/>
                  </a:cubicBezTo>
                  <a:cubicBezTo>
                    <a:pt x="17032" y="19968"/>
                    <a:pt x="16651" y="19591"/>
                    <a:pt x="16182" y="19314"/>
                  </a:cubicBezTo>
                  <a:cubicBezTo>
                    <a:pt x="15992" y="19202"/>
                    <a:pt x="15754" y="19060"/>
                    <a:pt x="15515" y="18933"/>
                  </a:cubicBezTo>
                  <a:cubicBezTo>
                    <a:pt x="15243" y="18788"/>
                    <a:pt x="14969" y="18650"/>
                    <a:pt x="14763" y="18548"/>
                  </a:cubicBezTo>
                  <a:cubicBezTo>
                    <a:pt x="14661" y="18497"/>
                    <a:pt x="14575" y="18455"/>
                    <a:pt x="14515" y="18425"/>
                  </a:cubicBezTo>
                  <a:cubicBezTo>
                    <a:pt x="14485" y="18410"/>
                    <a:pt x="14461" y="18398"/>
                    <a:pt x="14445" y="18390"/>
                  </a:cubicBezTo>
                  <a:cubicBezTo>
                    <a:pt x="14437" y="18386"/>
                    <a:pt x="14430" y="18382"/>
                    <a:pt x="14426" y="18380"/>
                  </a:cubicBezTo>
                  <a:cubicBezTo>
                    <a:pt x="14424" y="18379"/>
                    <a:pt x="14423" y="18378"/>
                    <a:pt x="14422" y="18378"/>
                  </a:cubicBezTo>
                  <a:cubicBezTo>
                    <a:pt x="13967" y="18328"/>
                    <a:pt x="13967" y="18328"/>
                    <a:pt x="13967" y="18328"/>
                  </a:cubicBezTo>
                  <a:cubicBezTo>
                    <a:pt x="13261" y="20358"/>
                    <a:pt x="13261" y="20358"/>
                    <a:pt x="13261" y="20358"/>
                  </a:cubicBezTo>
                  <a:cubicBezTo>
                    <a:pt x="13264" y="20361"/>
                    <a:pt x="13267" y="20365"/>
                    <a:pt x="13271" y="20369"/>
                  </a:cubicBezTo>
                  <a:cubicBezTo>
                    <a:pt x="13339" y="20407"/>
                    <a:pt x="13430" y="20475"/>
                    <a:pt x="13493" y="20583"/>
                  </a:cubicBezTo>
                  <a:cubicBezTo>
                    <a:pt x="13600" y="20767"/>
                    <a:pt x="13638" y="20829"/>
                    <a:pt x="13844" y="20923"/>
                  </a:cubicBezTo>
                  <a:cubicBezTo>
                    <a:pt x="14051" y="21016"/>
                    <a:pt x="15276" y="21531"/>
                    <a:pt x="15296" y="21539"/>
                  </a:cubicBezTo>
                  <a:cubicBezTo>
                    <a:pt x="15303" y="21542"/>
                    <a:pt x="15309" y="21546"/>
                    <a:pt x="15323" y="21555"/>
                  </a:cubicBezTo>
                  <a:cubicBezTo>
                    <a:pt x="15338" y="21566"/>
                    <a:pt x="15360" y="21582"/>
                    <a:pt x="15386" y="21600"/>
                  </a:cubicBezTo>
                  <a:cubicBezTo>
                    <a:pt x="15324" y="21600"/>
                    <a:pt x="15324" y="21600"/>
                    <a:pt x="15324" y="21600"/>
                  </a:cubicBezTo>
                  <a:cubicBezTo>
                    <a:pt x="15315" y="21594"/>
                    <a:pt x="15306" y="21588"/>
                    <a:pt x="15300" y="21583"/>
                  </a:cubicBezTo>
                  <a:cubicBezTo>
                    <a:pt x="15295" y="21580"/>
                    <a:pt x="15290" y="21577"/>
                    <a:pt x="15287" y="21575"/>
                  </a:cubicBezTo>
                  <a:cubicBezTo>
                    <a:pt x="15285" y="21574"/>
                    <a:pt x="15284" y="21573"/>
                    <a:pt x="15283" y="21572"/>
                  </a:cubicBezTo>
                  <a:cubicBezTo>
                    <a:pt x="15283" y="21572"/>
                    <a:pt x="15283" y="21572"/>
                    <a:pt x="15282" y="21572"/>
                  </a:cubicBezTo>
                  <a:cubicBezTo>
                    <a:pt x="15252" y="21560"/>
                    <a:pt x="14038" y="21049"/>
                    <a:pt x="13829" y="20956"/>
                  </a:cubicBezTo>
                  <a:cubicBezTo>
                    <a:pt x="13619" y="20862"/>
                    <a:pt x="13567" y="20785"/>
                    <a:pt x="13462" y="20601"/>
                  </a:cubicBezTo>
                  <a:cubicBezTo>
                    <a:pt x="13411" y="20513"/>
                    <a:pt x="13338" y="20452"/>
                    <a:pt x="13277" y="20414"/>
                  </a:cubicBezTo>
                  <a:cubicBezTo>
                    <a:pt x="13269" y="20409"/>
                    <a:pt x="13260" y="20404"/>
                    <a:pt x="13252" y="20399"/>
                  </a:cubicBezTo>
                  <a:cubicBezTo>
                    <a:pt x="13245" y="20397"/>
                    <a:pt x="13245" y="20397"/>
                    <a:pt x="13245" y="20397"/>
                  </a:cubicBezTo>
                  <a:cubicBezTo>
                    <a:pt x="13195" y="20503"/>
                    <a:pt x="12952" y="21022"/>
                    <a:pt x="12678" y="21593"/>
                  </a:cubicBezTo>
                  <a:cubicBezTo>
                    <a:pt x="12688" y="21600"/>
                    <a:pt x="12688" y="21600"/>
                    <a:pt x="12688" y="21600"/>
                  </a:cubicBezTo>
                  <a:cubicBezTo>
                    <a:pt x="12674" y="21600"/>
                    <a:pt x="12674" y="21600"/>
                    <a:pt x="12674" y="21600"/>
                  </a:cubicBezTo>
                  <a:cubicBezTo>
                    <a:pt x="12547" y="21600"/>
                    <a:pt x="12547" y="21600"/>
                    <a:pt x="12547" y="21600"/>
                  </a:cubicBezTo>
                  <a:cubicBezTo>
                    <a:pt x="12479" y="21600"/>
                    <a:pt x="12479" y="21600"/>
                    <a:pt x="12479" y="21600"/>
                  </a:cubicBezTo>
                  <a:cubicBezTo>
                    <a:pt x="11592" y="21032"/>
                    <a:pt x="11592" y="21032"/>
                    <a:pt x="11592" y="21032"/>
                  </a:cubicBezTo>
                  <a:cubicBezTo>
                    <a:pt x="11447" y="20939"/>
                    <a:pt x="10874" y="20619"/>
                    <a:pt x="10724" y="20552"/>
                  </a:cubicBezTo>
                  <a:cubicBezTo>
                    <a:pt x="10651" y="20519"/>
                    <a:pt x="10574" y="20497"/>
                    <a:pt x="10515" y="20485"/>
                  </a:cubicBezTo>
                  <a:cubicBezTo>
                    <a:pt x="10486" y="20478"/>
                    <a:pt x="10462" y="20474"/>
                    <a:pt x="10445" y="20471"/>
                  </a:cubicBezTo>
                  <a:cubicBezTo>
                    <a:pt x="10428" y="20468"/>
                    <a:pt x="10419" y="20468"/>
                    <a:pt x="10419" y="20467"/>
                  </a:cubicBezTo>
                  <a:cubicBezTo>
                    <a:pt x="10418" y="20467"/>
                    <a:pt x="10418" y="20467"/>
                    <a:pt x="10418" y="20467"/>
                  </a:cubicBezTo>
                  <a:cubicBezTo>
                    <a:pt x="10417" y="20467"/>
                    <a:pt x="10417" y="20467"/>
                    <a:pt x="10417" y="20467"/>
                  </a:cubicBezTo>
                  <a:cubicBezTo>
                    <a:pt x="10416" y="20467"/>
                    <a:pt x="10263" y="20444"/>
                    <a:pt x="10032" y="20410"/>
                  </a:cubicBezTo>
                  <a:cubicBezTo>
                    <a:pt x="9338" y="20307"/>
                    <a:pt x="7939" y="20098"/>
                    <a:pt x="7874" y="20089"/>
                  </a:cubicBezTo>
                  <a:cubicBezTo>
                    <a:pt x="7843" y="20085"/>
                    <a:pt x="7807" y="20082"/>
                    <a:pt x="7775" y="20080"/>
                  </a:cubicBezTo>
                  <a:cubicBezTo>
                    <a:pt x="7768" y="20098"/>
                    <a:pt x="7768" y="20098"/>
                    <a:pt x="7768" y="20098"/>
                  </a:cubicBezTo>
                  <a:cubicBezTo>
                    <a:pt x="7468" y="21457"/>
                    <a:pt x="7468" y="21457"/>
                    <a:pt x="7468" y="21457"/>
                  </a:cubicBezTo>
                  <a:cubicBezTo>
                    <a:pt x="7468" y="21458"/>
                    <a:pt x="7468" y="21459"/>
                    <a:pt x="7467" y="21463"/>
                  </a:cubicBezTo>
                  <a:cubicBezTo>
                    <a:pt x="7467" y="21466"/>
                    <a:pt x="7466" y="21472"/>
                    <a:pt x="7466" y="21479"/>
                  </a:cubicBezTo>
                  <a:cubicBezTo>
                    <a:pt x="7466" y="21503"/>
                    <a:pt x="7472" y="21542"/>
                    <a:pt x="7508" y="21581"/>
                  </a:cubicBezTo>
                  <a:cubicBezTo>
                    <a:pt x="7514" y="21588"/>
                    <a:pt x="7521" y="21594"/>
                    <a:pt x="7529" y="21600"/>
                  </a:cubicBezTo>
                  <a:cubicBezTo>
                    <a:pt x="7477" y="21600"/>
                    <a:pt x="7477" y="21600"/>
                    <a:pt x="7477" y="21600"/>
                  </a:cubicBezTo>
                  <a:cubicBezTo>
                    <a:pt x="7438" y="21555"/>
                    <a:pt x="7430" y="21508"/>
                    <a:pt x="7430" y="21479"/>
                  </a:cubicBezTo>
                  <a:cubicBezTo>
                    <a:pt x="7430" y="21461"/>
                    <a:pt x="7433" y="21450"/>
                    <a:pt x="7433" y="21449"/>
                  </a:cubicBezTo>
                  <a:cubicBezTo>
                    <a:pt x="7734" y="20088"/>
                    <a:pt x="7734" y="20088"/>
                    <a:pt x="7734" y="20088"/>
                  </a:cubicBezTo>
                  <a:cubicBezTo>
                    <a:pt x="7734" y="20077"/>
                    <a:pt x="7734" y="20077"/>
                    <a:pt x="7734" y="20077"/>
                  </a:cubicBezTo>
                  <a:cubicBezTo>
                    <a:pt x="7721" y="20076"/>
                    <a:pt x="7709" y="20076"/>
                    <a:pt x="7701" y="20075"/>
                  </a:cubicBezTo>
                  <a:cubicBezTo>
                    <a:pt x="7695" y="20075"/>
                    <a:pt x="7690" y="20075"/>
                    <a:pt x="7687" y="20075"/>
                  </a:cubicBezTo>
                  <a:cubicBezTo>
                    <a:pt x="7686" y="20075"/>
                    <a:pt x="7684" y="20075"/>
                    <a:pt x="7683" y="20075"/>
                  </a:cubicBezTo>
                  <a:cubicBezTo>
                    <a:pt x="7683" y="20075"/>
                    <a:pt x="7682" y="20075"/>
                    <a:pt x="7681" y="20075"/>
                  </a:cubicBezTo>
                  <a:cubicBezTo>
                    <a:pt x="7681" y="20075"/>
                    <a:pt x="7681" y="20075"/>
                    <a:pt x="7680" y="20074"/>
                  </a:cubicBezTo>
                  <a:cubicBezTo>
                    <a:pt x="7642" y="20073"/>
                    <a:pt x="7283" y="20060"/>
                    <a:pt x="6882" y="20046"/>
                  </a:cubicBezTo>
                  <a:cubicBezTo>
                    <a:pt x="6881" y="20048"/>
                    <a:pt x="6880" y="20051"/>
                    <a:pt x="6879" y="20053"/>
                  </a:cubicBezTo>
                  <a:cubicBezTo>
                    <a:pt x="6336" y="21600"/>
                    <a:pt x="6336" y="21600"/>
                    <a:pt x="6336" y="21600"/>
                  </a:cubicBezTo>
                  <a:cubicBezTo>
                    <a:pt x="6308" y="21600"/>
                    <a:pt x="6308" y="21600"/>
                    <a:pt x="6308" y="21600"/>
                  </a:cubicBezTo>
                  <a:cubicBezTo>
                    <a:pt x="6850" y="20057"/>
                    <a:pt x="6850" y="20057"/>
                    <a:pt x="6850" y="20057"/>
                  </a:cubicBezTo>
                  <a:cubicBezTo>
                    <a:pt x="6849" y="20045"/>
                    <a:pt x="6849" y="20045"/>
                    <a:pt x="6849" y="20045"/>
                  </a:cubicBezTo>
                  <a:cubicBezTo>
                    <a:pt x="6365" y="20027"/>
                    <a:pt x="5832" y="20008"/>
                    <a:pt x="5729" y="20005"/>
                  </a:cubicBezTo>
                  <a:cubicBezTo>
                    <a:pt x="5728" y="20008"/>
                    <a:pt x="5727" y="20011"/>
                    <a:pt x="5727" y="20014"/>
                  </a:cubicBezTo>
                  <a:cubicBezTo>
                    <a:pt x="5572" y="21540"/>
                    <a:pt x="5572" y="21540"/>
                    <a:pt x="5572" y="21540"/>
                  </a:cubicBezTo>
                  <a:cubicBezTo>
                    <a:pt x="5579" y="21542"/>
                    <a:pt x="5579" y="21542"/>
                    <a:pt x="5579" y="21542"/>
                  </a:cubicBezTo>
                  <a:cubicBezTo>
                    <a:pt x="5626" y="21551"/>
                    <a:pt x="5785" y="21573"/>
                    <a:pt x="5938" y="21594"/>
                  </a:cubicBezTo>
                  <a:cubicBezTo>
                    <a:pt x="5952" y="21596"/>
                    <a:pt x="5966" y="21598"/>
                    <a:pt x="5980" y="21600"/>
                  </a:cubicBezTo>
                  <a:cubicBezTo>
                    <a:pt x="5790" y="21600"/>
                    <a:pt x="5790" y="21600"/>
                    <a:pt x="5790" y="21600"/>
                  </a:cubicBezTo>
                  <a:cubicBezTo>
                    <a:pt x="5749" y="21595"/>
                    <a:pt x="5711" y="21589"/>
                    <a:pt x="5679" y="21584"/>
                  </a:cubicBezTo>
                  <a:cubicBezTo>
                    <a:pt x="5644" y="21579"/>
                    <a:pt x="5615" y="21575"/>
                    <a:pt x="5594" y="21572"/>
                  </a:cubicBezTo>
                  <a:cubicBezTo>
                    <a:pt x="5587" y="21570"/>
                    <a:pt x="5580" y="21569"/>
                    <a:pt x="5575" y="21568"/>
                  </a:cubicBezTo>
                  <a:cubicBezTo>
                    <a:pt x="5569" y="21568"/>
                    <a:pt x="5569" y="21568"/>
                    <a:pt x="5569" y="21568"/>
                  </a:cubicBezTo>
                  <a:cubicBezTo>
                    <a:pt x="5565" y="21600"/>
                    <a:pt x="5565" y="21600"/>
                    <a:pt x="5565" y="21600"/>
                  </a:cubicBezTo>
                  <a:cubicBezTo>
                    <a:pt x="5529" y="21600"/>
                    <a:pt x="5529" y="21600"/>
                    <a:pt x="5529" y="21600"/>
                  </a:cubicBezTo>
                  <a:cubicBezTo>
                    <a:pt x="5689" y="20029"/>
                    <a:pt x="5689" y="20029"/>
                    <a:pt x="5689" y="20029"/>
                  </a:cubicBezTo>
                  <a:cubicBezTo>
                    <a:pt x="5688" y="20029"/>
                    <a:pt x="5688" y="20029"/>
                    <a:pt x="5688" y="20029"/>
                  </a:cubicBezTo>
                  <a:cubicBezTo>
                    <a:pt x="5687" y="20002"/>
                    <a:pt x="5687" y="20002"/>
                    <a:pt x="5687" y="20002"/>
                  </a:cubicBezTo>
                  <a:cubicBezTo>
                    <a:pt x="5684" y="19998"/>
                    <a:pt x="5684" y="19998"/>
                    <a:pt x="5684" y="19998"/>
                  </a:cubicBezTo>
                  <a:cubicBezTo>
                    <a:pt x="5666" y="19994"/>
                    <a:pt x="5633" y="19986"/>
                    <a:pt x="5592" y="19977"/>
                  </a:cubicBezTo>
                  <a:cubicBezTo>
                    <a:pt x="5460" y="19947"/>
                    <a:pt x="5241" y="19898"/>
                    <a:pt x="5132" y="19873"/>
                  </a:cubicBezTo>
                  <a:cubicBezTo>
                    <a:pt x="5109" y="20051"/>
                    <a:pt x="5018" y="20777"/>
                    <a:pt x="4913" y="21600"/>
                  </a:cubicBezTo>
                  <a:cubicBezTo>
                    <a:pt x="4797" y="21600"/>
                    <a:pt x="4797" y="21600"/>
                    <a:pt x="4797" y="21600"/>
                  </a:cubicBezTo>
                  <a:cubicBezTo>
                    <a:pt x="4852" y="21168"/>
                    <a:pt x="4904" y="20762"/>
                    <a:pt x="4944" y="20447"/>
                  </a:cubicBezTo>
                  <a:cubicBezTo>
                    <a:pt x="4979" y="20170"/>
                    <a:pt x="5005" y="19965"/>
                    <a:pt x="5016" y="19872"/>
                  </a:cubicBezTo>
                  <a:cubicBezTo>
                    <a:pt x="4913" y="19891"/>
                    <a:pt x="4913" y="19891"/>
                    <a:pt x="4913" y="19891"/>
                  </a:cubicBezTo>
                  <a:cubicBezTo>
                    <a:pt x="4695" y="21600"/>
                    <a:pt x="4695" y="21600"/>
                    <a:pt x="4695" y="21600"/>
                  </a:cubicBezTo>
                  <a:cubicBezTo>
                    <a:pt x="4580" y="21600"/>
                    <a:pt x="4580" y="21600"/>
                    <a:pt x="4580" y="21600"/>
                  </a:cubicBezTo>
                  <a:cubicBezTo>
                    <a:pt x="4648" y="21064"/>
                    <a:pt x="4648" y="21064"/>
                    <a:pt x="4648" y="21064"/>
                  </a:cubicBezTo>
                  <a:cubicBezTo>
                    <a:pt x="4644" y="21062"/>
                    <a:pt x="4640" y="21058"/>
                    <a:pt x="4636" y="21055"/>
                  </a:cubicBezTo>
                  <a:cubicBezTo>
                    <a:pt x="4623" y="21049"/>
                    <a:pt x="4605" y="21040"/>
                    <a:pt x="4582" y="21029"/>
                  </a:cubicBezTo>
                  <a:cubicBezTo>
                    <a:pt x="4443" y="20964"/>
                    <a:pt x="4131" y="20833"/>
                    <a:pt x="3866" y="20834"/>
                  </a:cubicBezTo>
                  <a:cubicBezTo>
                    <a:pt x="3852" y="20834"/>
                    <a:pt x="3838" y="20834"/>
                    <a:pt x="3824" y="20835"/>
                  </a:cubicBezTo>
                  <a:cubicBezTo>
                    <a:pt x="3641" y="20845"/>
                    <a:pt x="3514" y="20855"/>
                    <a:pt x="3434" y="20863"/>
                  </a:cubicBezTo>
                  <a:cubicBezTo>
                    <a:pt x="3354" y="20870"/>
                    <a:pt x="3320" y="20875"/>
                    <a:pt x="3320" y="20875"/>
                  </a:cubicBezTo>
                  <a:cubicBezTo>
                    <a:pt x="3314" y="20840"/>
                    <a:pt x="3314" y="20840"/>
                    <a:pt x="3314" y="20840"/>
                  </a:cubicBezTo>
                  <a:cubicBezTo>
                    <a:pt x="3315" y="20840"/>
                    <a:pt x="3454" y="20819"/>
                    <a:pt x="3822" y="20799"/>
                  </a:cubicBezTo>
                  <a:cubicBezTo>
                    <a:pt x="3830" y="20798"/>
                    <a:pt x="3838" y="20798"/>
                    <a:pt x="3846" y="20798"/>
                  </a:cubicBezTo>
                  <a:cubicBezTo>
                    <a:pt x="3757" y="20400"/>
                    <a:pt x="3757" y="20400"/>
                    <a:pt x="3757" y="20400"/>
                  </a:cubicBezTo>
                  <a:cubicBezTo>
                    <a:pt x="3677" y="20413"/>
                    <a:pt x="3609" y="20416"/>
                    <a:pt x="3494" y="20427"/>
                  </a:cubicBezTo>
                  <a:cubicBezTo>
                    <a:pt x="3353" y="20440"/>
                    <a:pt x="3195" y="20453"/>
                    <a:pt x="3072" y="20463"/>
                  </a:cubicBezTo>
                  <a:cubicBezTo>
                    <a:pt x="3010" y="20468"/>
                    <a:pt x="2958" y="20472"/>
                    <a:pt x="2920" y="20475"/>
                  </a:cubicBezTo>
                  <a:cubicBezTo>
                    <a:pt x="2905" y="20476"/>
                    <a:pt x="2892" y="20477"/>
                    <a:pt x="2883" y="20478"/>
                  </a:cubicBezTo>
                  <a:cubicBezTo>
                    <a:pt x="3120" y="21600"/>
                    <a:pt x="3120" y="21600"/>
                    <a:pt x="3120" y="21600"/>
                  </a:cubicBezTo>
                  <a:cubicBezTo>
                    <a:pt x="3083" y="21600"/>
                    <a:pt x="3083" y="21600"/>
                    <a:pt x="3083" y="21600"/>
                  </a:cubicBezTo>
                  <a:cubicBezTo>
                    <a:pt x="3073" y="21554"/>
                    <a:pt x="3073" y="21554"/>
                    <a:pt x="3073" y="21554"/>
                  </a:cubicBezTo>
                  <a:cubicBezTo>
                    <a:pt x="3070" y="21554"/>
                    <a:pt x="3070" y="21554"/>
                    <a:pt x="3070" y="21554"/>
                  </a:cubicBezTo>
                  <a:cubicBezTo>
                    <a:pt x="2197" y="21600"/>
                    <a:pt x="2197" y="21600"/>
                    <a:pt x="2197" y="21600"/>
                  </a:cubicBezTo>
                  <a:cubicBezTo>
                    <a:pt x="1706" y="21600"/>
                    <a:pt x="1706" y="21600"/>
                    <a:pt x="1706" y="21600"/>
                  </a:cubicBezTo>
                  <a:cubicBezTo>
                    <a:pt x="3049" y="21528"/>
                    <a:pt x="3049" y="21528"/>
                    <a:pt x="3049" y="21528"/>
                  </a:cubicBezTo>
                  <a:cubicBezTo>
                    <a:pt x="3067" y="21525"/>
                    <a:pt x="3067" y="21525"/>
                    <a:pt x="3067" y="21525"/>
                  </a:cubicBezTo>
                  <a:cubicBezTo>
                    <a:pt x="2844" y="20471"/>
                    <a:pt x="2844" y="20471"/>
                    <a:pt x="2844" y="20471"/>
                  </a:cubicBezTo>
                  <a:cubicBezTo>
                    <a:pt x="2843" y="20469"/>
                    <a:pt x="2842" y="20466"/>
                    <a:pt x="2842" y="20462"/>
                  </a:cubicBezTo>
                  <a:cubicBezTo>
                    <a:pt x="2842" y="20461"/>
                    <a:pt x="2842" y="20460"/>
                    <a:pt x="2842" y="20459"/>
                  </a:cubicBezTo>
                  <a:cubicBezTo>
                    <a:pt x="2734" y="19946"/>
                    <a:pt x="2734" y="19946"/>
                    <a:pt x="2734" y="19946"/>
                  </a:cubicBezTo>
                  <a:cubicBezTo>
                    <a:pt x="2663" y="19950"/>
                    <a:pt x="2595" y="19951"/>
                    <a:pt x="2555" y="19953"/>
                  </a:cubicBezTo>
                  <a:cubicBezTo>
                    <a:pt x="2549" y="19954"/>
                    <a:pt x="2543" y="19954"/>
                    <a:pt x="2538" y="19954"/>
                  </a:cubicBezTo>
                  <a:cubicBezTo>
                    <a:pt x="2537" y="19954"/>
                    <a:pt x="2537" y="19954"/>
                    <a:pt x="2537" y="19954"/>
                  </a:cubicBezTo>
                  <a:cubicBezTo>
                    <a:pt x="2456" y="19954"/>
                    <a:pt x="2389" y="19924"/>
                    <a:pt x="2362" y="19865"/>
                  </a:cubicBezTo>
                  <a:cubicBezTo>
                    <a:pt x="2351" y="19841"/>
                    <a:pt x="2341" y="19798"/>
                    <a:pt x="2332" y="19752"/>
                  </a:cubicBezTo>
                  <a:cubicBezTo>
                    <a:pt x="773" y="20146"/>
                    <a:pt x="773" y="20146"/>
                    <a:pt x="773" y="20146"/>
                  </a:cubicBezTo>
                  <a:cubicBezTo>
                    <a:pt x="950" y="20534"/>
                    <a:pt x="1163" y="21005"/>
                    <a:pt x="1182" y="21052"/>
                  </a:cubicBezTo>
                  <a:cubicBezTo>
                    <a:pt x="1204" y="21107"/>
                    <a:pt x="1276" y="21369"/>
                    <a:pt x="1329" y="21600"/>
                  </a:cubicBezTo>
                  <a:cubicBezTo>
                    <a:pt x="1292" y="21600"/>
                    <a:pt x="1292" y="21600"/>
                    <a:pt x="1292" y="21600"/>
                  </a:cubicBezTo>
                  <a:cubicBezTo>
                    <a:pt x="1239" y="21372"/>
                    <a:pt x="1169" y="21115"/>
                    <a:pt x="1149" y="21065"/>
                  </a:cubicBezTo>
                  <a:cubicBezTo>
                    <a:pt x="1133" y="21027"/>
                    <a:pt x="971" y="20669"/>
                    <a:pt x="814" y="20322"/>
                  </a:cubicBezTo>
                  <a:cubicBezTo>
                    <a:pt x="735" y="20149"/>
                    <a:pt x="657" y="19978"/>
                    <a:pt x="599" y="19850"/>
                  </a:cubicBezTo>
                  <a:cubicBezTo>
                    <a:pt x="561" y="19766"/>
                    <a:pt x="531" y="19702"/>
                    <a:pt x="516" y="19667"/>
                  </a:cubicBezTo>
                  <a:cubicBezTo>
                    <a:pt x="505" y="19655"/>
                    <a:pt x="505" y="19655"/>
                    <a:pt x="505" y="19655"/>
                  </a:cubicBezTo>
                  <a:cubicBezTo>
                    <a:pt x="444" y="19682"/>
                    <a:pt x="405" y="19701"/>
                    <a:pt x="405" y="19701"/>
                  </a:cubicBezTo>
                  <a:cubicBezTo>
                    <a:pt x="405" y="19700"/>
                    <a:pt x="271" y="19765"/>
                    <a:pt x="68" y="19862"/>
                  </a:cubicBezTo>
                  <a:cubicBezTo>
                    <a:pt x="48" y="19872"/>
                    <a:pt x="28" y="19882"/>
                    <a:pt x="7" y="19892"/>
                  </a:cubicBezTo>
                  <a:cubicBezTo>
                    <a:pt x="7" y="19764"/>
                    <a:pt x="7" y="19764"/>
                    <a:pt x="7" y="19764"/>
                  </a:cubicBezTo>
                  <a:cubicBezTo>
                    <a:pt x="216" y="19664"/>
                    <a:pt x="355" y="19597"/>
                    <a:pt x="356" y="19597"/>
                  </a:cubicBezTo>
                  <a:cubicBezTo>
                    <a:pt x="357" y="19596"/>
                    <a:pt x="695" y="19439"/>
                    <a:pt x="931" y="19346"/>
                  </a:cubicBezTo>
                  <a:cubicBezTo>
                    <a:pt x="1048" y="19300"/>
                    <a:pt x="1275" y="19213"/>
                    <a:pt x="1486" y="19127"/>
                  </a:cubicBezTo>
                  <a:cubicBezTo>
                    <a:pt x="1592" y="19083"/>
                    <a:pt x="1693" y="19041"/>
                    <a:pt x="1775" y="19004"/>
                  </a:cubicBezTo>
                  <a:cubicBezTo>
                    <a:pt x="1856" y="18968"/>
                    <a:pt x="1919" y="18935"/>
                    <a:pt x="1937" y="18921"/>
                  </a:cubicBezTo>
                  <a:cubicBezTo>
                    <a:pt x="1957" y="18907"/>
                    <a:pt x="2002" y="18859"/>
                    <a:pt x="2053" y="18801"/>
                  </a:cubicBezTo>
                  <a:cubicBezTo>
                    <a:pt x="2129" y="18713"/>
                    <a:pt x="2222" y="18596"/>
                    <a:pt x="2296" y="18502"/>
                  </a:cubicBezTo>
                  <a:cubicBezTo>
                    <a:pt x="2346" y="18438"/>
                    <a:pt x="2386" y="18385"/>
                    <a:pt x="2407" y="18357"/>
                  </a:cubicBezTo>
                  <a:cubicBezTo>
                    <a:pt x="2407" y="18357"/>
                    <a:pt x="2407" y="18357"/>
                    <a:pt x="2407" y="18357"/>
                  </a:cubicBezTo>
                  <a:cubicBezTo>
                    <a:pt x="2407" y="18357"/>
                    <a:pt x="2409" y="18355"/>
                    <a:pt x="2412" y="18352"/>
                  </a:cubicBezTo>
                  <a:cubicBezTo>
                    <a:pt x="2415" y="18347"/>
                    <a:pt x="2418" y="18343"/>
                    <a:pt x="2420" y="18340"/>
                  </a:cubicBezTo>
                  <a:cubicBezTo>
                    <a:pt x="2395" y="18317"/>
                    <a:pt x="2373" y="18291"/>
                    <a:pt x="2355" y="18261"/>
                  </a:cubicBezTo>
                  <a:cubicBezTo>
                    <a:pt x="2353" y="18261"/>
                    <a:pt x="2350" y="18261"/>
                    <a:pt x="2347" y="18260"/>
                  </a:cubicBezTo>
                  <a:cubicBezTo>
                    <a:pt x="2346" y="18262"/>
                    <a:pt x="2346" y="18262"/>
                    <a:pt x="2346" y="18262"/>
                  </a:cubicBezTo>
                  <a:cubicBezTo>
                    <a:pt x="2342" y="18261"/>
                    <a:pt x="1818" y="18184"/>
                    <a:pt x="1633" y="18141"/>
                  </a:cubicBezTo>
                  <a:cubicBezTo>
                    <a:pt x="1503" y="18110"/>
                    <a:pt x="1403" y="18059"/>
                    <a:pt x="1302" y="18000"/>
                  </a:cubicBezTo>
                  <a:cubicBezTo>
                    <a:pt x="1565" y="18000"/>
                    <a:pt x="1565" y="18000"/>
                    <a:pt x="1565" y="18000"/>
                  </a:cubicBezTo>
                  <a:cubicBezTo>
                    <a:pt x="1595" y="18011"/>
                    <a:pt x="1626" y="18021"/>
                    <a:pt x="1659" y="18029"/>
                  </a:cubicBezTo>
                  <a:cubicBezTo>
                    <a:pt x="1745" y="18049"/>
                    <a:pt x="1923" y="18080"/>
                    <a:pt x="2077" y="18104"/>
                  </a:cubicBezTo>
                  <a:cubicBezTo>
                    <a:pt x="2161" y="18118"/>
                    <a:pt x="2238" y="18129"/>
                    <a:pt x="2291" y="18137"/>
                  </a:cubicBezTo>
                  <a:cubicBezTo>
                    <a:pt x="2293" y="18138"/>
                    <a:pt x="2302" y="18139"/>
                    <a:pt x="2310" y="18140"/>
                  </a:cubicBezTo>
                  <a:cubicBezTo>
                    <a:pt x="2307" y="18121"/>
                    <a:pt x="2305" y="18103"/>
                    <a:pt x="2305" y="18083"/>
                  </a:cubicBezTo>
                  <a:cubicBezTo>
                    <a:pt x="2305" y="18055"/>
                    <a:pt x="2309" y="18027"/>
                    <a:pt x="2316" y="18000"/>
                  </a:cubicBezTo>
                  <a:cubicBezTo>
                    <a:pt x="2442" y="18000"/>
                    <a:pt x="2442" y="18000"/>
                    <a:pt x="2442" y="18000"/>
                  </a:cubicBezTo>
                  <a:cubicBezTo>
                    <a:pt x="2431" y="18026"/>
                    <a:pt x="2426" y="18054"/>
                    <a:pt x="2426" y="18083"/>
                  </a:cubicBezTo>
                  <a:cubicBezTo>
                    <a:pt x="2426" y="18207"/>
                    <a:pt x="2526" y="18308"/>
                    <a:pt x="2651" y="18308"/>
                  </a:cubicBezTo>
                  <a:cubicBezTo>
                    <a:pt x="2775" y="18308"/>
                    <a:pt x="2876" y="18207"/>
                    <a:pt x="2876" y="18083"/>
                  </a:cubicBezTo>
                  <a:cubicBezTo>
                    <a:pt x="2876" y="18054"/>
                    <a:pt x="2870" y="18026"/>
                    <a:pt x="2860" y="18000"/>
                  </a:cubicBezTo>
                  <a:cubicBezTo>
                    <a:pt x="2986" y="18000"/>
                    <a:pt x="2986" y="18000"/>
                    <a:pt x="2986" y="18000"/>
                  </a:cubicBezTo>
                  <a:cubicBezTo>
                    <a:pt x="2992" y="18027"/>
                    <a:pt x="2996" y="18055"/>
                    <a:pt x="2996" y="18083"/>
                  </a:cubicBezTo>
                  <a:cubicBezTo>
                    <a:pt x="2996" y="18088"/>
                    <a:pt x="2996" y="18093"/>
                    <a:pt x="2995" y="18098"/>
                  </a:cubicBezTo>
                  <a:cubicBezTo>
                    <a:pt x="2998" y="18099"/>
                    <a:pt x="3001" y="18101"/>
                    <a:pt x="3003" y="18102"/>
                  </a:cubicBezTo>
                  <a:cubicBezTo>
                    <a:pt x="3003" y="18102"/>
                    <a:pt x="3003" y="18102"/>
                    <a:pt x="3003" y="18102"/>
                  </a:cubicBezTo>
                  <a:cubicBezTo>
                    <a:pt x="3003" y="18102"/>
                    <a:pt x="3003" y="18102"/>
                    <a:pt x="3003" y="18102"/>
                  </a:cubicBezTo>
                  <a:cubicBezTo>
                    <a:pt x="3003" y="18102"/>
                    <a:pt x="3004" y="18103"/>
                    <a:pt x="3005" y="18103"/>
                  </a:cubicBezTo>
                  <a:cubicBezTo>
                    <a:pt x="3011" y="18106"/>
                    <a:pt x="3016" y="18109"/>
                    <a:pt x="3015" y="18108"/>
                  </a:cubicBezTo>
                  <a:cubicBezTo>
                    <a:pt x="3015" y="18108"/>
                    <a:pt x="3016" y="18109"/>
                    <a:pt x="3016" y="18109"/>
                  </a:cubicBezTo>
                  <a:cubicBezTo>
                    <a:pt x="3052" y="18129"/>
                    <a:pt x="3160" y="18189"/>
                    <a:pt x="3277" y="18260"/>
                  </a:cubicBezTo>
                  <a:cubicBezTo>
                    <a:pt x="3348" y="18304"/>
                    <a:pt x="3423" y="18353"/>
                    <a:pt x="3486" y="18399"/>
                  </a:cubicBezTo>
                  <a:cubicBezTo>
                    <a:pt x="3549" y="18447"/>
                    <a:pt x="3601" y="18490"/>
                    <a:pt x="3632" y="18536"/>
                  </a:cubicBezTo>
                  <a:cubicBezTo>
                    <a:pt x="3723" y="18677"/>
                    <a:pt x="3743" y="18893"/>
                    <a:pt x="3744" y="19000"/>
                  </a:cubicBezTo>
                  <a:cubicBezTo>
                    <a:pt x="3744" y="19013"/>
                    <a:pt x="3744" y="19025"/>
                    <a:pt x="3743" y="19036"/>
                  </a:cubicBezTo>
                  <a:cubicBezTo>
                    <a:pt x="3737" y="19103"/>
                    <a:pt x="3728" y="19280"/>
                    <a:pt x="3726" y="19330"/>
                  </a:cubicBezTo>
                  <a:cubicBezTo>
                    <a:pt x="3749" y="19386"/>
                    <a:pt x="3772" y="19440"/>
                    <a:pt x="3792" y="19486"/>
                  </a:cubicBezTo>
                  <a:cubicBezTo>
                    <a:pt x="3816" y="19542"/>
                    <a:pt x="3837" y="19587"/>
                    <a:pt x="3846" y="19602"/>
                  </a:cubicBezTo>
                  <a:cubicBezTo>
                    <a:pt x="3869" y="19641"/>
                    <a:pt x="3896" y="19687"/>
                    <a:pt x="3924" y="19726"/>
                  </a:cubicBezTo>
                  <a:cubicBezTo>
                    <a:pt x="3951" y="19764"/>
                    <a:pt x="3982" y="19795"/>
                    <a:pt x="3995" y="19801"/>
                  </a:cubicBezTo>
                  <a:cubicBezTo>
                    <a:pt x="4004" y="19806"/>
                    <a:pt x="4029" y="19813"/>
                    <a:pt x="4057" y="19816"/>
                  </a:cubicBezTo>
                  <a:cubicBezTo>
                    <a:pt x="4086" y="19820"/>
                    <a:pt x="4120" y="19822"/>
                    <a:pt x="4151" y="19822"/>
                  </a:cubicBezTo>
                  <a:cubicBezTo>
                    <a:pt x="4174" y="19822"/>
                    <a:pt x="4196" y="19821"/>
                    <a:pt x="4215" y="19820"/>
                  </a:cubicBezTo>
                  <a:cubicBezTo>
                    <a:pt x="4217" y="19816"/>
                    <a:pt x="4218" y="19812"/>
                    <a:pt x="4220" y="19809"/>
                  </a:cubicBezTo>
                  <a:cubicBezTo>
                    <a:pt x="4583" y="18733"/>
                    <a:pt x="4583" y="18733"/>
                    <a:pt x="4583" y="18733"/>
                  </a:cubicBezTo>
                  <a:cubicBezTo>
                    <a:pt x="4264" y="18140"/>
                    <a:pt x="4264" y="18140"/>
                    <a:pt x="4264" y="18140"/>
                  </a:cubicBezTo>
                  <a:cubicBezTo>
                    <a:pt x="4278" y="18000"/>
                    <a:pt x="4278" y="18000"/>
                    <a:pt x="4278" y="18000"/>
                  </a:cubicBezTo>
                  <a:cubicBezTo>
                    <a:pt x="4304" y="18000"/>
                    <a:pt x="4304" y="18000"/>
                    <a:pt x="4304" y="18000"/>
                  </a:cubicBezTo>
                  <a:cubicBezTo>
                    <a:pt x="4291" y="18134"/>
                    <a:pt x="4291" y="18134"/>
                    <a:pt x="4291" y="18134"/>
                  </a:cubicBezTo>
                  <a:cubicBezTo>
                    <a:pt x="4607" y="18722"/>
                    <a:pt x="4607" y="18722"/>
                    <a:pt x="4607" y="18722"/>
                  </a:cubicBezTo>
                  <a:cubicBezTo>
                    <a:pt x="5088" y="19038"/>
                    <a:pt x="5088" y="19038"/>
                    <a:pt x="5088" y="19038"/>
                  </a:cubicBezTo>
                  <a:cubicBezTo>
                    <a:pt x="5093" y="19039"/>
                    <a:pt x="5099" y="19040"/>
                    <a:pt x="5104" y="19041"/>
                  </a:cubicBezTo>
                  <a:cubicBezTo>
                    <a:pt x="5037" y="18459"/>
                    <a:pt x="5037" y="18459"/>
                    <a:pt x="5037" y="18459"/>
                  </a:cubicBezTo>
                  <a:cubicBezTo>
                    <a:pt x="5037" y="18457"/>
                    <a:pt x="5037" y="18457"/>
                    <a:pt x="5037" y="18457"/>
                  </a:cubicBezTo>
                  <a:cubicBezTo>
                    <a:pt x="5037" y="18457"/>
                    <a:pt x="5046" y="18245"/>
                    <a:pt x="5050" y="18000"/>
                  </a:cubicBezTo>
                  <a:cubicBezTo>
                    <a:pt x="5086" y="18000"/>
                    <a:pt x="5086" y="18000"/>
                    <a:pt x="5086" y="18000"/>
                  </a:cubicBezTo>
                  <a:cubicBezTo>
                    <a:pt x="5085" y="18053"/>
                    <a:pt x="5084" y="18104"/>
                    <a:pt x="5083" y="18152"/>
                  </a:cubicBezTo>
                  <a:cubicBezTo>
                    <a:pt x="5084" y="18147"/>
                    <a:pt x="5084" y="18147"/>
                    <a:pt x="5084" y="18147"/>
                  </a:cubicBezTo>
                  <a:cubicBezTo>
                    <a:pt x="5084" y="18147"/>
                    <a:pt x="5084" y="18147"/>
                    <a:pt x="5084" y="18147"/>
                  </a:cubicBezTo>
                  <a:cubicBezTo>
                    <a:pt x="5085" y="18147"/>
                    <a:pt x="5290" y="18202"/>
                    <a:pt x="5515" y="18261"/>
                  </a:cubicBezTo>
                  <a:cubicBezTo>
                    <a:pt x="5739" y="18320"/>
                    <a:pt x="5982" y="18384"/>
                    <a:pt x="6055" y="18400"/>
                  </a:cubicBezTo>
                  <a:cubicBezTo>
                    <a:pt x="6154" y="18422"/>
                    <a:pt x="6263" y="18456"/>
                    <a:pt x="6418" y="18456"/>
                  </a:cubicBezTo>
                  <a:cubicBezTo>
                    <a:pt x="6492" y="18456"/>
                    <a:pt x="6577" y="18447"/>
                    <a:pt x="6675" y="18427"/>
                  </a:cubicBezTo>
                  <a:cubicBezTo>
                    <a:pt x="6682" y="18382"/>
                    <a:pt x="6709" y="18222"/>
                    <a:pt x="6735" y="18061"/>
                  </a:cubicBezTo>
                  <a:cubicBezTo>
                    <a:pt x="6739" y="18041"/>
                    <a:pt x="6742" y="18020"/>
                    <a:pt x="6745" y="18000"/>
                  </a:cubicBezTo>
                  <a:cubicBezTo>
                    <a:pt x="6782" y="18000"/>
                    <a:pt x="6782" y="18000"/>
                    <a:pt x="6782" y="18000"/>
                  </a:cubicBezTo>
                  <a:cubicBezTo>
                    <a:pt x="6777" y="18027"/>
                    <a:pt x="6773" y="18053"/>
                    <a:pt x="6769" y="18080"/>
                  </a:cubicBezTo>
                  <a:cubicBezTo>
                    <a:pt x="6741" y="18248"/>
                    <a:pt x="6714" y="18411"/>
                    <a:pt x="6710" y="18440"/>
                  </a:cubicBezTo>
                  <a:cubicBezTo>
                    <a:pt x="7232" y="19931"/>
                    <a:pt x="7232" y="19931"/>
                    <a:pt x="7232" y="19931"/>
                  </a:cubicBezTo>
                  <a:cubicBezTo>
                    <a:pt x="7239" y="19944"/>
                    <a:pt x="7239" y="19944"/>
                    <a:pt x="7239" y="19944"/>
                  </a:cubicBezTo>
                  <a:cubicBezTo>
                    <a:pt x="7289" y="19945"/>
                    <a:pt x="7336" y="19947"/>
                    <a:pt x="7379" y="19949"/>
                  </a:cubicBezTo>
                  <a:cubicBezTo>
                    <a:pt x="7564" y="19955"/>
                    <a:pt x="7687" y="19960"/>
                    <a:pt x="7687" y="19960"/>
                  </a:cubicBezTo>
                  <a:cubicBezTo>
                    <a:pt x="7688" y="19960"/>
                    <a:pt x="7689" y="19960"/>
                    <a:pt x="7690" y="19960"/>
                  </a:cubicBezTo>
                  <a:cubicBezTo>
                    <a:pt x="7699" y="19960"/>
                    <a:pt x="7732" y="19962"/>
                    <a:pt x="7772" y="19964"/>
                  </a:cubicBezTo>
                  <a:cubicBezTo>
                    <a:pt x="7778" y="19953"/>
                    <a:pt x="7778" y="19953"/>
                    <a:pt x="7778" y="19953"/>
                  </a:cubicBezTo>
                  <a:cubicBezTo>
                    <a:pt x="7869" y="19705"/>
                    <a:pt x="7869" y="19705"/>
                    <a:pt x="7869" y="19705"/>
                  </a:cubicBezTo>
                  <a:cubicBezTo>
                    <a:pt x="7792" y="18998"/>
                    <a:pt x="7792" y="18998"/>
                    <a:pt x="7792" y="18998"/>
                  </a:cubicBezTo>
                  <a:cubicBezTo>
                    <a:pt x="7778" y="18970"/>
                    <a:pt x="7665" y="18745"/>
                    <a:pt x="7577" y="18526"/>
                  </a:cubicBezTo>
                  <a:cubicBezTo>
                    <a:pt x="7537" y="18427"/>
                    <a:pt x="7525" y="18341"/>
                    <a:pt x="7525" y="18275"/>
                  </a:cubicBezTo>
                  <a:cubicBezTo>
                    <a:pt x="7525" y="18184"/>
                    <a:pt x="7548" y="18130"/>
                    <a:pt x="7548" y="18129"/>
                  </a:cubicBezTo>
                  <a:cubicBezTo>
                    <a:pt x="7549" y="18128"/>
                    <a:pt x="7549" y="18128"/>
                    <a:pt x="7549" y="18128"/>
                  </a:cubicBezTo>
                  <a:cubicBezTo>
                    <a:pt x="7619" y="18000"/>
                    <a:pt x="7619" y="18000"/>
                    <a:pt x="7619" y="18000"/>
                  </a:cubicBezTo>
                  <a:cubicBezTo>
                    <a:pt x="7657" y="18000"/>
                    <a:pt x="7657" y="18000"/>
                    <a:pt x="7657" y="18000"/>
                  </a:cubicBezTo>
                  <a:cubicBezTo>
                    <a:pt x="7660" y="18000"/>
                    <a:pt x="7660" y="18000"/>
                    <a:pt x="7660" y="18000"/>
                  </a:cubicBezTo>
                  <a:cubicBezTo>
                    <a:pt x="7727" y="18000"/>
                    <a:pt x="7727" y="18000"/>
                    <a:pt x="7727" y="18000"/>
                  </a:cubicBezTo>
                  <a:cubicBezTo>
                    <a:pt x="8901" y="18698"/>
                    <a:pt x="8901" y="18698"/>
                    <a:pt x="8901" y="18698"/>
                  </a:cubicBezTo>
                  <a:cubicBezTo>
                    <a:pt x="8911" y="18684"/>
                    <a:pt x="8927" y="18662"/>
                    <a:pt x="8945" y="18635"/>
                  </a:cubicBezTo>
                  <a:cubicBezTo>
                    <a:pt x="9027" y="18513"/>
                    <a:pt x="9169" y="18294"/>
                    <a:pt x="9170" y="18293"/>
                  </a:cubicBezTo>
                  <a:cubicBezTo>
                    <a:pt x="9175" y="18285"/>
                    <a:pt x="9175" y="18285"/>
                    <a:pt x="9175" y="18285"/>
                  </a:cubicBezTo>
                  <a:cubicBezTo>
                    <a:pt x="9208" y="18285"/>
                    <a:pt x="9208" y="18285"/>
                    <a:pt x="9208" y="18285"/>
                  </a:cubicBezTo>
                  <a:cubicBezTo>
                    <a:pt x="9191" y="18000"/>
                    <a:pt x="9191" y="18000"/>
                    <a:pt x="9191" y="18000"/>
                  </a:cubicBezTo>
                  <a:cubicBezTo>
                    <a:pt x="9227" y="18000"/>
                    <a:pt x="9227" y="18000"/>
                    <a:pt x="9227" y="18000"/>
                  </a:cubicBezTo>
                  <a:cubicBezTo>
                    <a:pt x="9244" y="18286"/>
                    <a:pt x="9244" y="18286"/>
                    <a:pt x="9244" y="18286"/>
                  </a:cubicBezTo>
                  <a:cubicBezTo>
                    <a:pt x="9242" y="18286"/>
                    <a:pt x="9242" y="18286"/>
                    <a:pt x="9242" y="18286"/>
                  </a:cubicBezTo>
                  <a:cubicBezTo>
                    <a:pt x="10224" y="18300"/>
                    <a:pt x="10224" y="18300"/>
                    <a:pt x="10224" y="18300"/>
                  </a:cubicBezTo>
                  <a:cubicBezTo>
                    <a:pt x="10224" y="18299"/>
                    <a:pt x="10224" y="18299"/>
                    <a:pt x="10224" y="18299"/>
                  </a:cubicBezTo>
                  <a:cubicBezTo>
                    <a:pt x="10248" y="18280"/>
                    <a:pt x="10348" y="18188"/>
                    <a:pt x="10348" y="18014"/>
                  </a:cubicBezTo>
                  <a:cubicBezTo>
                    <a:pt x="10348" y="18010"/>
                    <a:pt x="10347" y="18005"/>
                    <a:pt x="10347" y="18000"/>
                  </a:cubicBezTo>
                  <a:cubicBezTo>
                    <a:pt x="10383" y="18000"/>
                    <a:pt x="10383" y="18000"/>
                    <a:pt x="10383" y="18000"/>
                  </a:cubicBezTo>
                  <a:cubicBezTo>
                    <a:pt x="10383" y="18005"/>
                    <a:pt x="10384" y="18010"/>
                    <a:pt x="10384" y="18014"/>
                  </a:cubicBezTo>
                  <a:cubicBezTo>
                    <a:pt x="10384" y="18200"/>
                    <a:pt x="10280" y="18300"/>
                    <a:pt x="10249" y="18326"/>
                  </a:cubicBezTo>
                  <a:cubicBezTo>
                    <a:pt x="10253" y="18361"/>
                    <a:pt x="10265" y="18491"/>
                    <a:pt x="10278" y="18621"/>
                  </a:cubicBezTo>
                  <a:cubicBezTo>
                    <a:pt x="10286" y="18698"/>
                    <a:pt x="10294" y="18775"/>
                    <a:pt x="10299" y="18833"/>
                  </a:cubicBezTo>
                  <a:cubicBezTo>
                    <a:pt x="10302" y="18862"/>
                    <a:pt x="10304" y="18886"/>
                    <a:pt x="10306" y="18903"/>
                  </a:cubicBezTo>
                  <a:cubicBezTo>
                    <a:pt x="10306" y="18906"/>
                    <a:pt x="10307" y="18909"/>
                    <a:pt x="10307" y="18911"/>
                  </a:cubicBezTo>
                  <a:cubicBezTo>
                    <a:pt x="11924" y="18622"/>
                    <a:pt x="11924" y="18622"/>
                    <a:pt x="11924" y="18622"/>
                  </a:cubicBezTo>
                  <a:cubicBezTo>
                    <a:pt x="11805" y="18069"/>
                    <a:pt x="11805" y="18069"/>
                    <a:pt x="11805" y="18069"/>
                  </a:cubicBezTo>
                  <a:cubicBezTo>
                    <a:pt x="11794" y="18061"/>
                    <a:pt x="11772" y="18042"/>
                    <a:pt x="11741" y="18000"/>
                  </a:cubicBezTo>
                  <a:cubicBezTo>
                    <a:pt x="11787" y="18000"/>
                    <a:pt x="11787" y="18000"/>
                    <a:pt x="11787" y="18000"/>
                  </a:cubicBezTo>
                  <a:cubicBezTo>
                    <a:pt x="11788" y="18002"/>
                    <a:pt x="11790" y="18003"/>
                    <a:pt x="11791" y="18005"/>
                  </a:cubicBezTo>
                  <a:cubicBezTo>
                    <a:pt x="11794" y="18000"/>
                    <a:pt x="11794" y="18000"/>
                    <a:pt x="11794" y="18000"/>
                  </a:cubicBezTo>
                  <a:cubicBezTo>
                    <a:pt x="11838" y="18000"/>
                    <a:pt x="11838" y="18000"/>
                    <a:pt x="11838" y="18000"/>
                  </a:cubicBezTo>
                  <a:cubicBezTo>
                    <a:pt x="11816" y="18031"/>
                    <a:pt x="11816" y="18031"/>
                    <a:pt x="11816" y="18031"/>
                  </a:cubicBezTo>
                  <a:cubicBezTo>
                    <a:pt x="11818" y="18033"/>
                    <a:pt x="11820" y="18035"/>
                    <a:pt x="11821" y="18036"/>
                  </a:cubicBezTo>
                  <a:cubicBezTo>
                    <a:pt x="11825" y="18039"/>
                    <a:pt x="11827" y="18041"/>
                    <a:pt x="11828" y="18042"/>
                  </a:cubicBezTo>
                  <a:cubicBezTo>
                    <a:pt x="11829" y="18042"/>
                    <a:pt x="11829" y="18042"/>
                    <a:pt x="11830" y="18042"/>
                  </a:cubicBezTo>
                  <a:cubicBezTo>
                    <a:pt x="11830" y="18042"/>
                    <a:pt x="11830" y="18042"/>
                    <a:pt x="11830" y="18042"/>
                  </a:cubicBezTo>
                  <a:cubicBezTo>
                    <a:pt x="11837" y="18046"/>
                    <a:pt x="11837" y="18046"/>
                    <a:pt x="11837" y="18046"/>
                  </a:cubicBezTo>
                  <a:cubicBezTo>
                    <a:pt x="11965" y="18643"/>
                    <a:pt x="11965" y="18643"/>
                    <a:pt x="11965" y="18643"/>
                  </a:cubicBezTo>
                  <a:cubicBezTo>
                    <a:pt x="12160" y="19922"/>
                    <a:pt x="12160" y="19922"/>
                    <a:pt x="12160" y="19922"/>
                  </a:cubicBezTo>
                  <a:cubicBezTo>
                    <a:pt x="13154" y="20315"/>
                    <a:pt x="13154" y="20315"/>
                    <a:pt x="13154" y="20315"/>
                  </a:cubicBezTo>
                  <a:cubicBezTo>
                    <a:pt x="13849" y="18315"/>
                    <a:pt x="13849" y="18315"/>
                    <a:pt x="13849" y="18315"/>
                  </a:cubicBezTo>
                  <a:cubicBezTo>
                    <a:pt x="13370" y="18263"/>
                    <a:pt x="13370" y="18263"/>
                    <a:pt x="13370" y="18263"/>
                  </a:cubicBezTo>
                  <a:cubicBezTo>
                    <a:pt x="12901" y="18000"/>
                    <a:pt x="12901" y="18000"/>
                    <a:pt x="12901" y="18000"/>
                  </a:cubicBezTo>
                  <a:cubicBezTo>
                    <a:pt x="12974" y="18000"/>
                    <a:pt x="12974" y="18000"/>
                    <a:pt x="12974" y="18000"/>
                  </a:cubicBezTo>
                  <a:cubicBezTo>
                    <a:pt x="13381" y="18228"/>
                    <a:pt x="13381" y="18228"/>
                    <a:pt x="13381" y="18228"/>
                  </a:cubicBezTo>
                  <a:cubicBezTo>
                    <a:pt x="13849" y="18279"/>
                    <a:pt x="13849" y="18279"/>
                    <a:pt x="13849" y="18279"/>
                  </a:cubicBezTo>
                  <a:cubicBezTo>
                    <a:pt x="13859" y="18280"/>
                    <a:pt x="13859" y="18280"/>
                    <a:pt x="13859" y="18280"/>
                  </a:cubicBezTo>
                  <a:cubicBezTo>
                    <a:pt x="13855" y="18240"/>
                    <a:pt x="13845" y="18139"/>
                    <a:pt x="13832" y="18000"/>
                  </a:cubicBezTo>
                  <a:cubicBezTo>
                    <a:pt x="13948" y="18000"/>
                    <a:pt x="13948" y="18000"/>
                    <a:pt x="13948" y="18000"/>
                  </a:cubicBezTo>
                  <a:cubicBezTo>
                    <a:pt x="13948" y="18007"/>
                    <a:pt x="13949" y="18014"/>
                    <a:pt x="13949" y="18020"/>
                  </a:cubicBezTo>
                  <a:cubicBezTo>
                    <a:pt x="13965" y="18184"/>
                    <a:pt x="13975" y="18288"/>
                    <a:pt x="13975" y="18288"/>
                  </a:cubicBezTo>
                  <a:cubicBezTo>
                    <a:pt x="13975" y="18292"/>
                    <a:pt x="13975" y="18292"/>
                    <a:pt x="13975" y="18292"/>
                  </a:cubicBezTo>
                  <a:cubicBezTo>
                    <a:pt x="13977" y="18292"/>
                    <a:pt x="13980" y="18293"/>
                    <a:pt x="13982" y="18294"/>
                  </a:cubicBezTo>
                  <a:cubicBezTo>
                    <a:pt x="14429" y="18342"/>
                    <a:pt x="14429" y="18342"/>
                    <a:pt x="14429" y="18342"/>
                  </a:cubicBezTo>
                  <a:cubicBezTo>
                    <a:pt x="14430" y="18342"/>
                    <a:pt x="14436" y="18342"/>
                    <a:pt x="14441" y="18347"/>
                  </a:cubicBezTo>
                  <a:cubicBezTo>
                    <a:pt x="14450" y="18352"/>
                    <a:pt x="14488" y="18372"/>
                    <a:pt x="14544" y="18399"/>
                  </a:cubicBezTo>
                  <a:cubicBezTo>
                    <a:pt x="14667" y="18460"/>
                    <a:pt x="14885" y="18567"/>
                    <a:pt x="15133" y="18694"/>
                  </a:cubicBezTo>
                  <a:cubicBezTo>
                    <a:pt x="15123" y="18646"/>
                    <a:pt x="15073" y="18458"/>
                    <a:pt x="15012" y="18237"/>
                  </a:cubicBezTo>
                  <a:cubicBezTo>
                    <a:pt x="14991" y="18161"/>
                    <a:pt x="14969" y="18081"/>
                    <a:pt x="14947" y="18000"/>
                  </a:cubicBezTo>
                  <a:cubicBezTo>
                    <a:pt x="14984" y="18000"/>
                    <a:pt x="14984" y="18000"/>
                    <a:pt x="14984" y="18000"/>
                  </a:cubicBezTo>
                  <a:cubicBezTo>
                    <a:pt x="15005" y="18077"/>
                    <a:pt x="15027" y="18154"/>
                    <a:pt x="15047" y="18227"/>
                  </a:cubicBezTo>
                  <a:cubicBezTo>
                    <a:pt x="15112" y="18465"/>
                    <a:pt x="15165" y="18658"/>
                    <a:pt x="15170" y="18696"/>
                  </a:cubicBezTo>
                  <a:cubicBezTo>
                    <a:pt x="15145" y="18700"/>
                    <a:pt x="15145" y="18700"/>
                    <a:pt x="15145" y="18700"/>
                  </a:cubicBezTo>
                  <a:cubicBezTo>
                    <a:pt x="15269" y="18763"/>
                    <a:pt x="15401" y="18831"/>
                    <a:pt x="15532" y="18901"/>
                  </a:cubicBezTo>
                  <a:cubicBezTo>
                    <a:pt x="15772" y="19029"/>
                    <a:pt x="16011" y="19171"/>
                    <a:pt x="16200" y="19283"/>
                  </a:cubicBezTo>
                  <a:cubicBezTo>
                    <a:pt x="16832" y="19657"/>
                    <a:pt x="17302" y="20204"/>
                    <a:pt x="17303" y="20205"/>
                  </a:cubicBezTo>
                  <a:cubicBezTo>
                    <a:pt x="17338" y="20243"/>
                    <a:pt x="17381" y="20293"/>
                    <a:pt x="17436" y="20349"/>
                  </a:cubicBezTo>
                  <a:cubicBezTo>
                    <a:pt x="17502" y="20296"/>
                    <a:pt x="17662" y="20168"/>
                    <a:pt x="17839" y="20023"/>
                  </a:cubicBezTo>
                  <a:cubicBezTo>
                    <a:pt x="17896" y="19977"/>
                    <a:pt x="17954" y="19930"/>
                    <a:pt x="18011" y="19883"/>
                  </a:cubicBezTo>
                  <a:lnTo>
                    <a:pt x="18011" y="19930"/>
                  </a:lnTo>
                  <a:close/>
                  <a:moveTo>
                    <a:pt x="2929" y="18287"/>
                  </a:moveTo>
                  <a:cubicBezTo>
                    <a:pt x="2948" y="18297"/>
                    <a:pt x="2948" y="18297"/>
                    <a:pt x="2948" y="18297"/>
                  </a:cubicBezTo>
                  <a:cubicBezTo>
                    <a:pt x="2948" y="18297"/>
                    <a:pt x="2948" y="18297"/>
                    <a:pt x="2948" y="18297"/>
                  </a:cubicBezTo>
                  <a:cubicBezTo>
                    <a:pt x="2981" y="18313"/>
                    <a:pt x="3028" y="18335"/>
                    <a:pt x="3077" y="18359"/>
                  </a:cubicBezTo>
                  <a:cubicBezTo>
                    <a:pt x="3123" y="18381"/>
                    <a:pt x="3170" y="18404"/>
                    <a:pt x="3210" y="18424"/>
                  </a:cubicBezTo>
                  <a:cubicBezTo>
                    <a:pt x="3250" y="18445"/>
                    <a:pt x="3280" y="18461"/>
                    <a:pt x="3300" y="18474"/>
                  </a:cubicBezTo>
                  <a:cubicBezTo>
                    <a:pt x="3366" y="18518"/>
                    <a:pt x="3414" y="18581"/>
                    <a:pt x="3453" y="18654"/>
                  </a:cubicBezTo>
                  <a:cubicBezTo>
                    <a:pt x="3475" y="18693"/>
                    <a:pt x="3501" y="18756"/>
                    <a:pt x="3527" y="18822"/>
                  </a:cubicBezTo>
                  <a:cubicBezTo>
                    <a:pt x="3553" y="18887"/>
                    <a:pt x="3577" y="18951"/>
                    <a:pt x="3589" y="18988"/>
                  </a:cubicBezTo>
                  <a:cubicBezTo>
                    <a:pt x="3594" y="19001"/>
                    <a:pt x="3606" y="19033"/>
                    <a:pt x="3623" y="19076"/>
                  </a:cubicBezTo>
                  <a:cubicBezTo>
                    <a:pt x="3625" y="19057"/>
                    <a:pt x="3627" y="19040"/>
                    <a:pt x="3628" y="19026"/>
                  </a:cubicBezTo>
                  <a:cubicBezTo>
                    <a:pt x="3629" y="19020"/>
                    <a:pt x="3629" y="19011"/>
                    <a:pt x="3629" y="19000"/>
                  </a:cubicBezTo>
                  <a:cubicBezTo>
                    <a:pt x="3631" y="18910"/>
                    <a:pt x="3604" y="18697"/>
                    <a:pt x="3536" y="18599"/>
                  </a:cubicBezTo>
                  <a:cubicBezTo>
                    <a:pt x="3523" y="18578"/>
                    <a:pt x="3476" y="18535"/>
                    <a:pt x="3418" y="18492"/>
                  </a:cubicBezTo>
                  <a:cubicBezTo>
                    <a:pt x="3329" y="18426"/>
                    <a:pt x="3211" y="18353"/>
                    <a:pt x="3116" y="18298"/>
                  </a:cubicBezTo>
                  <a:cubicBezTo>
                    <a:pt x="3051" y="18260"/>
                    <a:pt x="2998" y="18230"/>
                    <a:pt x="2970" y="18215"/>
                  </a:cubicBezTo>
                  <a:cubicBezTo>
                    <a:pt x="2959" y="18241"/>
                    <a:pt x="2945" y="18265"/>
                    <a:pt x="2929" y="18287"/>
                  </a:cubicBezTo>
                  <a:close/>
                  <a:moveTo>
                    <a:pt x="2326" y="19717"/>
                  </a:moveTo>
                  <a:cubicBezTo>
                    <a:pt x="2316" y="19660"/>
                    <a:pt x="2310" y="19605"/>
                    <a:pt x="2307" y="19578"/>
                  </a:cubicBezTo>
                  <a:cubicBezTo>
                    <a:pt x="2307" y="19574"/>
                    <a:pt x="2307" y="19570"/>
                    <a:pt x="2307" y="19566"/>
                  </a:cubicBezTo>
                  <a:cubicBezTo>
                    <a:pt x="2306" y="19508"/>
                    <a:pt x="2345" y="19436"/>
                    <a:pt x="2447" y="19408"/>
                  </a:cubicBezTo>
                  <a:cubicBezTo>
                    <a:pt x="2540" y="19382"/>
                    <a:pt x="2737" y="19357"/>
                    <a:pt x="2858" y="19357"/>
                  </a:cubicBezTo>
                  <a:cubicBezTo>
                    <a:pt x="2874" y="19357"/>
                    <a:pt x="2889" y="19357"/>
                    <a:pt x="2902" y="19358"/>
                  </a:cubicBezTo>
                  <a:cubicBezTo>
                    <a:pt x="3014" y="19366"/>
                    <a:pt x="3067" y="19427"/>
                    <a:pt x="3096" y="19487"/>
                  </a:cubicBezTo>
                  <a:cubicBezTo>
                    <a:pt x="3120" y="19535"/>
                    <a:pt x="3130" y="19617"/>
                    <a:pt x="3130" y="19682"/>
                  </a:cubicBezTo>
                  <a:cubicBezTo>
                    <a:pt x="3130" y="19703"/>
                    <a:pt x="3129" y="19722"/>
                    <a:pt x="3127" y="19738"/>
                  </a:cubicBezTo>
                  <a:cubicBezTo>
                    <a:pt x="3124" y="19753"/>
                    <a:pt x="3117" y="19770"/>
                    <a:pt x="3107" y="19787"/>
                  </a:cubicBezTo>
                  <a:cubicBezTo>
                    <a:pt x="3115" y="19792"/>
                    <a:pt x="3167" y="19811"/>
                    <a:pt x="3227" y="19830"/>
                  </a:cubicBezTo>
                  <a:cubicBezTo>
                    <a:pt x="3288" y="19849"/>
                    <a:pt x="3359" y="19867"/>
                    <a:pt x="3409" y="19873"/>
                  </a:cubicBezTo>
                  <a:cubicBezTo>
                    <a:pt x="3414" y="19873"/>
                    <a:pt x="3419" y="19873"/>
                    <a:pt x="3426" y="19873"/>
                  </a:cubicBezTo>
                  <a:cubicBezTo>
                    <a:pt x="3486" y="19874"/>
                    <a:pt x="3593" y="19848"/>
                    <a:pt x="3684" y="19823"/>
                  </a:cubicBezTo>
                  <a:cubicBezTo>
                    <a:pt x="3731" y="19809"/>
                    <a:pt x="3773" y="19796"/>
                    <a:pt x="3803" y="19787"/>
                  </a:cubicBezTo>
                  <a:cubicBezTo>
                    <a:pt x="3819" y="19775"/>
                    <a:pt x="3819" y="19775"/>
                    <a:pt x="3819" y="19775"/>
                  </a:cubicBezTo>
                  <a:cubicBezTo>
                    <a:pt x="3792" y="19736"/>
                    <a:pt x="3767" y="19694"/>
                    <a:pt x="3747" y="19659"/>
                  </a:cubicBezTo>
                  <a:cubicBezTo>
                    <a:pt x="3732" y="19634"/>
                    <a:pt x="3712" y="19590"/>
                    <a:pt x="3687" y="19532"/>
                  </a:cubicBezTo>
                  <a:cubicBezTo>
                    <a:pt x="3612" y="19360"/>
                    <a:pt x="3501" y="19083"/>
                    <a:pt x="3481" y="19026"/>
                  </a:cubicBezTo>
                  <a:cubicBezTo>
                    <a:pt x="3469" y="18991"/>
                    <a:pt x="3445" y="18927"/>
                    <a:pt x="3420" y="18864"/>
                  </a:cubicBezTo>
                  <a:cubicBezTo>
                    <a:pt x="3396" y="18801"/>
                    <a:pt x="3368" y="18737"/>
                    <a:pt x="3353" y="18709"/>
                  </a:cubicBezTo>
                  <a:cubicBezTo>
                    <a:pt x="3318" y="18646"/>
                    <a:pt x="3281" y="18599"/>
                    <a:pt x="3236" y="18569"/>
                  </a:cubicBezTo>
                  <a:cubicBezTo>
                    <a:pt x="3228" y="18563"/>
                    <a:pt x="3196" y="18546"/>
                    <a:pt x="3158" y="18527"/>
                  </a:cubicBezTo>
                  <a:cubicBezTo>
                    <a:pt x="3042" y="18468"/>
                    <a:pt x="2854" y="18380"/>
                    <a:pt x="2853" y="18380"/>
                  </a:cubicBezTo>
                  <a:cubicBezTo>
                    <a:pt x="2854" y="18378"/>
                    <a:pt x="2854" y="18378"/>
                    <a:pt x="2854" y="18378"/>
                  </a:cubicBezTo>
                  <a:cubicBezTo>
                    <a:pt x="2842" y="18372"/>
                    <a:pt x="2842" y="18372"/>
                    <a:pt x="2842" y="18372"/>
                  </a:cubicBezTo>
                  <a:cubicBezTo>
                    <a:pt x="2841" y="18371"/>
                    <a:pt x="2841" y="18371"/>
                    <a:pt x="2841" y="18371"/>
                  </a:cubicBezTo>
                  <a:cubicBezTo>
                    <a:pt x="2787" y="18407"/>
                    <a:pt x="2721" y="18429"/>
                    <a:pt x="2651" y="18429"/>
                  </a:cubicBezTo>
                  <a:cubicBezTo>
                    <a:pt x="2604" y="18429"/>
                    <a:pt x="2559" y="18419"/>
                    <a:pt x="2518" y="18402"/>
                  </a:cubicBezTo>
                  <a:cubicBezTo>
                    <a:pt x="2512" y="18409"/>
                    <a:pt x="2506" y="18418"/>
                    <a:pt x="2506" y="18418"/>
                  </a:cubicBezTo>
                  <a:cubicBezTo>
                    <a:pt x="2506" y="18418"/>
                    <a:pt x="2506" y="18418"/>
                    <a:pt x="2505" y="18418"/>
                  </a:cubicBezTo>
                  <a:cubicBezTo>
                    <a:pt x="2477" y="18455"/>
                    <a:pt x="2397" y="18560"/>
                    <a:pt x="2307" y="18673"/>
                  </a:cubicBezTo>
                  <a:cubicBezTo>
                    <a:pt x="2251" y="18743"/>
                    <a:pt x="2192" y="18815"/>
                    <a:pt x="2139" y="18876"/>
                  </a:cubicBezTo>
                  <a:cubicBezTo>
                    <a:pt x="2086" y="18937"/>
                    <a:pt x="2042" y="18985"/>
                    <a:pt x="2006" y="19012"/>
                  </a:cubicBezTo>
                  <a:cubicBezTo>
                    <a:pt x="1969" y="19040"/>
                    <a:pt x="1906" y="19070"/>
                    <a:pt x="1822" y="19109"/>
                  </a:cubicBezTo>
                  <a:cubicBezTo>
                    <a:pt x="1572" y="19222"/>
                    <a:pt x="1148" y="19384"/>
                    <a:pt x="973" y="19453"/>
                  </a:cubicBezTo>
                  <a:cubicBezTo>
                    <a:pt x="858" y="19499"/>
                    <a:pt x="715" y="19561"/>
                    <a:pt x="602" y="19611"/>
                  </a:cubicBezTo>
                  <a:cubicBezTo>
                    <a:pt x="583" y="19620"/>
                    <a:pt x="565" y="19628"/>
                    <a:pt x="547" y="19635"/>
                  </a:cubicBezTo>
                  <a:cubicBezTo>
                    <a:pt x="549" y="19654"/>
                    <a:pt x="549" y="19654"/>
                    <a:pt x="549" y="19654"/>
                  </a:cubicBezTo>
                  <a:cubicBezTo>
                    <a:pt x="581" y="19723"/>
                    <a:pt x="663" y="19903"/>
                    <a:pt x="758" y="20113"/>
                  </a:cubicBezTo>
                  <a:lnTo>
                    <a:pt x="2326" y="19717"/>
                  </a:lnTo>
                  <a:close/>
                  <a:moveTo>
                    <a:pt x="3097" y="19803"/>
                  </a:moveTo>
                  <a:cubicBezTo>
                    <a:pt x="3097" y="19803"/>
                    <a:pt x="3097" y="19803"/>
                    <a:pt x="3097" y="19803"/>
                  </a:cubicBezTo>
                  <a:cubicBezTo>
                    <a:pt x="3101" y="19818"/>
                    <a:pt x="3101" y="19818"/>
                    <a:pt x="3101" y="19818"/>
                  </a:cubicBezTo>
                  <a:lnTo>
                    <a:pt x="3097" y="19803"/>
                  </a:lnTo>
                  <a:close/>
                  <a:moveTo>
                    <a:pt x="2936" y="19882"/>
                  </a:moveTo>
                  <a:cubicBezTo>
                    <a:pt x="2979" y="19866"/>
                    <a:pt x="3017" y="19839"/>
                    <a:pt x="3045" y="19809"/>
                  </a:cubicBezTo>
                  <a:cubicBezTo>
                    <a:pt x="3073" y="19780"/>
                    <a:pt x="3089" y="19749"/>
                    <a:pt x="3091" y="19733"/>
                  </a:cubicBezTo>
                  <a:cubicBezTo>
                    <a:pt x="3109" y="19735"/>
                    <a:pt x="3109" y="19735"/>
                    <a:pt x="3109" y="19735"/>
                  </a:cubicBezTo>
                  <a:cubicBezTo>
                    <a:pt x="3091" y="19733"/>
                    <a:pt x="3091" y="19733"/>
                    <a:pt x="3091" y="19733"/>
                  </a:cubicBezTo>
                  <a:cubicBezTo>
                    <a:pt x="3093" y="19719"/>
                    <a:pt x="3094" y="19701"/>
                    <a:pt x="3094" y="19682"/>
                  </a:cubicBezTo>
                  <a:cubicBezTo>
                    <a:pt x="3094" y="19621"/>
                    <a:pt x="3083" y="19540"/>
                    <a:pt x="3064" y="19503"/>
                  </a:cubicBezTo>
                  <a:cubicBezTo>
                    <a:pt x="3036" y="19448"/>
                    <a:pt x="2999" y="19403"/>
                    <a:pt x="2899" y="19394"/>
                  </a:cubicBezTo>
                  <a:cubicBezTo>
                    <a:pt x="2887" y="19393"/>
                    <a:pt x="2873" y="19393"/>
                    <a:pt x="2858" y="19393"/>
                  </a:cubicBezTo>
                  <a:cubicBezTo>
                    <a:pt x="2742" y="19393"/>
                    <a:pt x="2544" y="19418"/>
                    <a:pt x="2457" y="19443"/>
                  </a:cubicBezTo>
                  <a:cubicBezTo>
                    <a:pt x="2367" y="19468"/>
                    <a:pt x="2344" y="19522"/>
                    <a:pt x="2343" y="19566"/>
                  </a:cubicBezTo>
                  <a:cubicBezTo>
                    <a:pt x="2343" y="19570"/>
                    <a:pt x="2343" y="19572"/>
                    <a:pt x="2343" y="19575"/>
                  </a:cubicBezTo>
                  <a:cubicBezTo>
                    <a:pt x="2347" y="19626"/>
                    <a:pt x="2373" y="19804"/>
                    <a:pt x="2395" y="19850"/>
                  </a:cubicBezTo>
                  <a:cubicBezTo>
                    <a:pt x="2413" y="19891"/>
                    <a:pt x="2464" y="19918"/>
                    <a:pt x="2538" y="19918"/>
                  </a:cubicBezTo>
                  <a:cubicBezTo>
                    <a:pt x="2543" y="19918"/>
                    <a:pt x="2548" y="19918"/>
                    <a:pt x="2553" y="19917"/>
                  </a:cubicBezTo>
                  <a:cubicBezTo>
                    <a:pt x="2639" y="19913"/>
                    <a:pt x="2848" y="19913"/>
                    <a:pt x="2936" y="19882"/>
                  </a:cubicBezTo>
                  <a:close/>
                  <a:moveTo>
                    <a:pt x="3839" y="20346"/>
                  </a:moveTo>
                  <a:cubicBezTo>
                    <a:pt x="4016" y="20305"/>
                    <a:pt x="4188" y="20187"/>
                    <a:pt x="4315" y="20079"/>
                  </a:cubicBezTo>
                  <a:cubicBezTo>
                    <a:pt x="4377" y="20027"/>
                    <a:pt x="4427" y="19977"/>
                    <a:pt x="4464" y="19939"/>
                  </a:cubicBezTo>
                  <a:cubicBezTo>
                    <a:pt x="4466" y="19921"/>
                    <a:pt x="4466" y="19921"/>
                    <a:pt x="4466" y="19921"/>
                  </a:cubicBezTo>
                  <a:cubicBezTo>
                    <a:pt x="4359" y="19926"/>
                    <a:pt x="4263" y="19931"/>
                    <a:pt x="4237" y="19933"/>
                  </a:cubicBezTo>
                  <a:cubicBezTo>
                    <a:pt x="4213" y="19935"/>
                    <a:pt x="4183" y="19937"/>
                    <a:pt x="4151" y="19937"/>
                  </a:cubicBezTo>
                  <a:cubicBezTo>
                    <a:pt x="4116" y="19937"/>
                    <a:pt x="4078" y="19935"/>
                    <a:pt x="4042" y="19930"/>
                  </a:cubicBezTo>
                  <a:cubicBezTo>
                    <a:pt x="4006" y="19925"/>
                    <a:pt x="3973" y="19918"/>
                    <a:pt x="3942" y="19902"/>
                  </a:cubicBezTo>
                  <a:cubicBezTo>
                    <a:pt x="3903" y="19881"/>
                    <a:pt x="3874" y="19849"/>
                    <a:pt x="3846" y="19813"/>
                  </a:cubicBezTo>
                  <a:cubicBezTo>
                    <a:pt x="3842" y="19813"/>
                    <a:pt x="3838" y="19814"/>
                    <a:pt x="3833" y="19815"/>
                  </a:cubicBezTo>
                  <a:cubicBezTo>
                    <a:pt x="3755" y="19840"/>
                    <a:pt x="3536" y="19909"/>
                    <a:pt x="3426" y="19909"/>
                  </a:cubicBezTo>
                  <a:cubicBezTo>
                    <a:pt x="3418" y="19909"/>
                    <a:pt x="3411" y="19909"/>
                    <a:pt x="3405" y="19908"/>
                  </a:cubicBezTo>
                  <a:cubicBezTo>
                    <a:pt x="3347" y="19902"/>
                    <a:pt x="3269" y="19881"/>
                    <a:pt x="3204" y="19861"/>
                  </a:cubicBezTo>
                  <a:cubicBezTo>
                    <a:pt x="3172" y="19850"/>
                    <a:pt x="3143" y="19840"/>
                    <a:pt x="3122" y="19832"/>
                  </a:cubicBezTo>
                  <a:cubicBezTo>
                    <a:pt x="3112" y="19829"/>
                    <a:pt x="3104" y="19825"/>
                    <a:pt x="3097" y="19822"/>
                  </a:cubicBezTo>
                  <a:cubicBezTo>
                    <a:pt x="3094" y="19821"/>
                    <a:pt x="3092" y="19820"/>
                    <a:pt x="3089" y="19819"/>
                  </a:cubicBezTo>
                  <a:cubicBezTo>
                    <a:pt x="3088" y="19818"/>
                    <a:pt x="3087" y="19817"/>
                    <a:pt x="3086" y="19816"/>
                  </a:cubicBezTo>
                  <a:cubicBezTo>
                    <a:pt x="3081" y="19822"/>
                    <a:pt x="3077" y="19828"/>
                    <a:pt x="3071" y="19834"/>
                  </a:cubicBezTo>
                  <a:cubicBezTo>
                    <a:pt x="3040" y="19867"/>
                    <a:pt x="2998" y="19898"/>
                    <a:pt x="2947" y="19916"/>
                  </a:cubicBezTo>
                  <a:cubicBezTo>
                    <a:pt x="2903" y="19931"/>
                    <a:pt x="2837" y="19939"/>
                    <a:pt x="2770" y="19944"/>
                  </a:cubicBezTo>
                  <a:cubicBezTo>
                    <a:pt x="2875" y="20442"/>
                    <a:pt x="2875" y="20442"/>
                    <a:pt x="2875" y="20442"/>
                  </a:cubicBezTo>
                  <a:cubicBezTo>
                    <a:pt x="2875" y="20442"/>
                    <a:pt x="2876" y="20442"/>
                    <a:pt x="2876" y="20442"/>
                  </a:cubicBezTo>
                  <a:cubicBezTo>
                    <a:pt x="2951" y="20436"/>
                    <a:pt x="3247" y="20414"/>
                    <a:pt x="3491" y="20391"/>
                  </a:cubicBezTo>
                  <a:cubicBezTo>
                    <a:pt x="3647" y="20376"/>
                    <a:pt x="3713" y="20376"/>
                    <a:pt x="3839" y="20346"/>
                  </a:cubicBezTo>
                  <a:close/>
                  <a:moveTo>
                    <a:pt x="4796" y="19905"/>
                  </a:moveTo>
                  <a:cubicBezTo>
                    <a:pt x="4744" y="19907"/>
                    <a:pt x="4658" y="19911"/>
                    <a:pt x="4569" y="19916"/>
                  </a:cubicBezTo>
                  <a:cubicBezTo>
                    <a:pt x="4558" y="19916"/>
                    <a:pt x="4548" y="19917"/>
                    <a:pt x="4537" y="19917"/>
                  </a:cubicBezTo>
                  <a:cubicBezTo>
                    <a:pt x="4523" y="19929"/>
                    <a:pt x="4523" y="19929"/>
                    <a:pt x="4523" y="19929"/>
                  </a:cubicBezTo>
                  <a:cubicBezTo>
                    <a:pt x="4436" y="20023"/>
                    <a:pt x="4157" y="20308"/>
                    <a:pt x="3847" y="20381"/>
                  </a:cubicBezTo>
                  <a:cubicBezTo>
                    <a:pt x="3828" y="20386"/>
                    <a:pt x="3810" y="20390"/>
                    <a:pt x="3793" y="20393"/>
                  </a:cubicBezTo>
                  <a:cubicBezTo>
                    <a:pt x="3883" y="20798"/>
                    <a:pt x="3883" y="20798"/>
                    <a:pt x="3883" y="20798"/>
                  </a:cubicBezTo>
                  <a:cubicBezTo>
                    <a:pt x="4183" y="20804"/>
                    <a:pt x="4524" y="20960"/>
                    <a:pt x="4635" y="21015"/>
                  </a:cubicBezTo>
                  <a:cubicBezTo>
                    <a:pt x="4654" y="21019"/>
                    <a:pt x="4654" y="21019"/>
                    <a:pt x="4654" y="21019"/>
                  </a:cubicBezTo>
                  <a:lnTo>
                    <a:pt x="4796" y="19905"/>
                  </a:lnTo>
                  <a:close/>
                  <a:moveTo>
                    <a:pt x="5071" y="19745"/>
                  </a:moveTo>
                  <a:cubicBezTo>
                    <a:pt x="5073" y="19737"/>
                    <a:pt x="5075" y="19724"/>
                    <a:pt x="5076" y="19718"/>
                  </a:cubicBezTo>
                  <a:cubicBezTo>
                    <a:pt x="5115" y="19136"/>
                    <a:pt x="5115" y="19136"/>
                    <a:pt x="5115" y="19136"/>
                  </a:cubicBezTo>
                  <a:cubicBezTo>
                    <a:pt x="5109" y="19083"/>
                    <a:pt x="5109" y="19083"/>
                    <a:pt x="5109" y="19083"/>
                  </a:cubicBezTo>
                  <a:cubicBezTo>
                    <a:pt x="4604" y="18752"/>
                    <a:pt x="4604" y="18752"/>
                    <a:pt x="4604" y="18752"/>
                  </a:cubicBezTo>
                  <a:cubicBezTo>
                    <a:pt x="4251" y="19801"/>
                    <a:pt x="4251" y="19801"/>
                    <a:pt x="4251" y="19801"/>
                  </a:cubicBezTo>
                  <a:cubicBezTo>
                    <a:pt x="4249" y="19817"/>
                    <a:pt x="4249" y="19817"/>
                    <a:pt x="4249" y="19817"/>
                  </a:cubicBezTo>
                  <a:cubicBezTo>
                    <a:pt x="4367" y="19810"/>
                    <a:pt x="4793" y="19790"/>
                    <a:pt x="4837" y="19788"/>
                  </a:cubicBezTo>
                  <a:lnTo>
                    <a:pt x="5071" y="19745"/>
                  </a:lnTo>
                  <a:close/>
                  <a:moveTo>
                    <a:pt x="7193" y="19942"/>
                  </a:moveTo>
                  <a:cubicBezTo>
                    <a:pt x="7192" y="19926"/>
                    <a:pt x="7192" y="19926"/>
                    <a:pt x="7192" y="19926"/>
                  </a:cubicBezTo>
                  <a:cubicBezTo>
                    <a:pt x="6679" y="18463"/>
                    <a:pt x="6679" y="18463"/>
                    <a:pt x="6679" y="18463"/>
                  </a:cubicBezTo>
                  <a:cubicBezTo>
                    <a:pt x="6580" y="18483"/>
                    <a:pt x="6494" y="18492"/>
                    <a:pt x="6418" y="18492"/>
                  </a:cubicBezTo>
                  <a:cubicBezTo>
                    <a:pt x="6418" y="18492"/>
                    <a:pt x="6418" y="18492"/>
                    <a:pt x="6418" y="18492"/>
                  </a:cubicBezTo>
                  <a:cubicBezTo>
                    <a:pt x="6258" y="18492"/>
                    <a:pt x="6144" y="18456"/>
                    <a:pt x="6047" y="18435"/>
                  </a:cubicBezTo>
                  <a:cubicBezTo>
                    <a:pt x="5907" y="18404"/>
                    <a:pt x="5161" y="18205"/>
                    <a:pt x="5082" y="18184"/>
                  </a:cubicBezTo>
                  <a:cubicBezTo>
                    <a:pt x="5078" y="18333"/>
                    <a:pt x="5074" y="18444"/>
                    <a:pt x="5073" y="18458"/>
                  </a:cubicBezTo>
                  <a:cubicBezTo>
                    <a:pt x="5151" y="19135"/>
                    <a:pt x="5151" y="19135"/>
                    <a:pt x="5151" y="19135"/>
                  </a:cubicBezTo>
                  <a:cubicBezTo>
                    <a:pt x="5112" y="19731"/>
                    <a:pt x="5112" y="19731"/>
                    <a:pt x="5112" y="19731"/>
                  </a:cubicBezTo>
                  <a:cubicBezTo>
                    <a:pt x="5115" y="19752"/>
                    <a:pt x="5115" y="19752"/>
                    <a:pt x="5115" y="19752"/>
                  </a:cubicBezTo>
                  <a:cubicBezTo>
                    <a:pt x="5170" y="19764"/>
                    <a:pt x="5304" y="19794"/>
                    <a:pt x="5433" y="19823"/>
                  </a:cubicBezTo>
                  <a:cubicBezTo>
                    <a:pt x="5507" y="19840"/>
                    <a:pt x="5580" y="19857"/>
                    <a:pt x="5635" y="19869"/>
                  </a:cubicBezTo>
                  <a:cubicBezTo>
                    <a:pt x="5662" y="19875"/>
                    <a:pt x="5685" y="19881"/>
                    <a:pt x="5701" y="19884"/>
                  </a:cubicBezTo>
                  <a:cubicBezTo>
                    <a:pt x="5709" y="19886"/>
                    <a:pt x="5715" y="19888"/>
                    <a:pt x="5720" y="19889"/>
                  </a:cubicBezTo>
                  <a:cubicBezTo>
                    <a:pt x="5721" y="19889"/>
                    <a:pt x="5722" y="19889"/>
                    <a:pt x="5722" y="19890"/>
                  </a:cubicBezTo>
                  <a:cubicBezTo>
                    <a:pt x="5784" y="19892"/>
                    <a:pt x="6242" y="19908"/>
                    <a:pt x="6701" y="19924"/>
                  </a:cubicBezTo>
                  <a:cubicBezTo>
                    <a:pt x="6872" y="19931"/>
                    <a:pt x="7043" y="19937"/>
                    <a:pt x="7193" y="19942"/>
                  </a:cubicBezTo>
                  <a:close/>
                  <a:moveTo>
                    <a:pt x="8911" y="18889"/>
                  </a:moveTo>
                  <a:cubicBezTo>
                    <a:pt x="8912" y="18889"/>
                    <a:pt x="8912" y="18889"/>
                    <a:pt x="8912" y="18889"/>
                  </a:cubicBezTo>
                  <a:cubicBezTo>
                    <a:pt x="8912" y="18889"/>
                    <a:pt x="8912" y="18889"/>
                    <a:pt x="8912" y="18889"/>
                  </a:cubicBezTo>
                  <a:lnTo>
                    <a:pt x="8911" y="18889"/>
                  </a:lnTo>
                  <a:close/>
                  <a:moveTo>
                    <a:pt x="8910" y="18895"/>
                  </a:moveTo>
                  <a:cubicBezTo>
                    <a:pt x="8912" y="18895"/>
                    <a:pt x="8912" y="18895"/>
                    <a:pt x="8912" y="18895"/>
                  </a:cubicBezTo>
                  <a:cubicBezTo>
                    <a:pt x="8912" y="18895"/>
                    <a:pt x="8912" y="18895"/>
                    <a:pt x="8912" y="18895"/>
                  </a:cubicBezTo>
                  <a:lnTo>
                    <a:pt x="8910" y="18895"/>
                  </a:lnTo>
                  <a:close/>
                  <a:moveTo>
                    <a:pt x="7820" y="18974"/>
                  </a:moveTo>
                  <a:cubicBezTo>
                    <a:pt x="7932" y="18963"/>
                    <a:pt x="8777" y="18883"/>
                    <a:pt x="8910" y="18877"/>
                  </a:cubicBezTo>
                  <a:cubicBezTo>
                    <a:pt x="8901" y="18806"/>
                    <a:pt x="8894" y="18754"/>
                    <a:pt x="8892" y="18734"/>
                  </a:cubicBezTo>
                  <a:cubicBezTo>
                    <a:pt x="7659" y="18002"/>
                    <a:pt x="7659" y="18002"/>
                    <a:pt x="7659" y="18002"/>
                  </a:cubicBezTo>
                  <a:cubicBezTo>
                    <a:pt x="7581" y="18144"/>
                    <a:pt x="7581" y="18144"/>
                    <a:pt x="7581" y="18144"/>
                  </a:cubicBezTo>
                  <a:cubicBezTo>
                    <a:pt x="7581" y="18145"/>
                    <a:pt x="7580" y="18147"/>
                    <a:pt x="7578" y="18151"/>
                  </a:cubicBezTo>
                  <a:cubicBezTo>
                    <a:pt x="7573" y="18168"/>
                    <a:pt x="7561" y="18211"/>
                    <a:pt x="7561" y="18275"/>
                  </a:cubicBezTo>
                  <a:cubicBezTo>
                    <a:pt x="7561" y="18337"/>
                    <a:pt x="7572" y="18417"/>
                    <a:pt x="7610" y="18513"/>
                  </a:cubicBezTo>
                  <a:cubicBezTo>
                    <a:pt x="7657" y="18628"/>
                    <a:pt x="7711" y="18746"/>
                    <a:pt x="7753" y="18836"/>
                  </a:cubicBezTo>
                  <a:cubicBezTo>
                    <a:pt x="7785" y="18902"/>
                    <a:pt x="7810" y="18953"/>
                    <a:pt x="7820" y="18974"/>
                  </a:cubicBezTo>
                  <a:close/>
                  <a:moveTo>
                    <a:pt x="7890" y="19976"/>
                  </a:moveTo>
                  <a:cubicBezTo>
                    <a:pt x="7927" y="19981"/>
                    <a:pt x="8374" y="20047"/>
                    <a:pt x="8882" y="20123"/>
                  </a:cubicBezTo>
                  <a:cubicBezTo>
                    <a:pt x="8884" y="20121"/>
                    <a:pt x="8892" y="20110"/>
                    <a:pt x="8898" y="20104"/>
                  </a:cubicBezTo>
                  <a:cubicBezTo>
                    <a:pt x="8901" y="20100"/>
                    <a:pt x="8903" y="20095"/>
                    <a:pt x="8906" y="20090"/>
                  </a:cubicBezTo>
                  <a:cubicBezTo>
                    <a:pt x="8939" y="20028"/>
                    <a:pt x="9004" y="19879"/>
                    <a:pt x="9004" y="19695"/>
                  </a:cubicBezTo>
                  <a:cubicBezTo>
                    <a:pt x="9004" y="19668"/>
                    <a:pt x="9003" y="19640"/>
                    <a:pt x="9000" y="19611"/>
                  </a:cubicBezTo>
                  <a:cubicBezTo>
                    <a:pt x="8983" y="19464"/>
                    <a:pt x="8956" y="19243"/>
                    <a:pt x="8933" y="19058"/>
                  </a:cubicBezTo>
                  <a:cubicBezTo>
                    <a:pt x="8926" y="19006"/>
                    <a:pt x="8920" y="18956"/>
                    <a:pt x="8915" y="18913"/>
                  </a:cubicBezTo>
                  <a:cubicBezTo>
                    <a:pt x="8855" y="18915"/>
                    <a:pt x="8593" y="18938"/>
                    <a:pt x="8341" y="18961"/>
                  </a:cubicBezTo>
                  <a:cubicBezTo>
                    <a:pt x="8113" y="18982"/>
                    <a:pt x="7892" y="19003"/>
                    <a:pt x="7830" y="19009"/>
                  </a:cubicBezTo>
                  <a:cubicBezTo>
                    <a:pt x="7906" y="19709"/>
                    <a:pt x="7906" y="19709"/>
                    <a:pt x="7906" y="19709"/>
                  </a:cubicBezTo>
                  <a:cubicBezTo>
                    <a:pt x="7817" y="19952"/>
                    <a:pt x="7817" y="19952"/>
                    <a:pt x="7817" y="19952"/>
                  </a:cubicBezTo>
                  <a:cubicBezTo>
                    <a:pt x="7818" y="19968"/>
                    <a:pt x="7818" y="19968"/>
                    <a:pt x="7818" y="19968"/>
                  </a:cubicBezTo>
                  <a:cubicBezTo>
                    <a:pt x="7842" y="19970"/>
                    <a:pt x="7866" y="19973"/>
                    <a:pt x="7890" y="19976"/>
                  </a:cubicBezTo>
                  <a:close/>
                  <a:moveTo>
                    <a:pt x="8932" y="20130"/>
                  </a:moveTo>
                  <a:cubicBezTo>
                    <a:pt x="9256" y="20178"/>
                    <a:pt x="9600" y="20230"/>
                    <a:pt x="9877" y="20271"/>
                  </a:cubicBezTo>
                  <a:cubicBezTo>
                    <a:pt x="9884" y="20258"/>
                    <a:pt x="9884" y="20258"/>
                    <a:pt x="9884" y="20258"/>
                  </a:cubicBezTo>
                  <a:cubicBezTo>
                    <a:pt x="10006" y="19900"/>
                    <a:pt x="10006" y="19900"/>
                    <a:pt x="10006" y="19900"/>
                  </a:cubicBezTo>
                  <a:cubicBezTo>
                    <a:pt x="10162" y="19772"/>
                    <a:pt x="10162" y="19772"/>
                    <a:pt x="10162" y="19772"/>
                  </a:cubicBezTo>
                  <a:cubicBezTo>
                    <a:pt x="10138" y="19101"/>
                    <a:pt x="10138" y="19101"/>
                    <a:pt x="10138" y="19101"/>
                  </a:cubicBezTo>
                  <a:cubicBezTo>
                    <a:pt x="10272" y="18927"/>
                    <a:pt x="10272" y="18927"/>
                    <a:pt x="10272" y="18927"/>
                  </a:cubicBezTo>
                  <a:cubicBezTo>
                    <a:pt x="10267" y="18868"/>
                    <a:pt x="10223" y="18426"/>
                    <a:pt x="10214" y="18336"/>
                  </a:cubicBezTo>
                  <a:cubicBezTo>
                    <a:pt x="9195" y="18321"/>
                    <a:pt x="9195" y="18321"/>
                    <a:pt x="9195" y="18321"/>
                  </a:cubicBezTo>
                  <a:cubicBezTo>
                    <a:pt x="9177" y="18348"/>
                    <a:pt x="9121" y="18435"/>
                    <a:pt x="9064" y="18522"/>
                  </a:cubicBezTo>
                  <a:cubicBezTo>
                    <a:pt x="9029" y="18574"/>
                    <a:pt x="8994" y="18626"/>
                    <a:pt x="8967" y="18666"/>
                  </a:cubicBezTo>
                  <a:cubicBezTo>
                    <a:pt x="8954" y="18686"/>
                    <a:pt x="8942" y="18703"/>
                    <a:pt x="8934" y="18715"/>
                  </a:cubicBezTo>
                  <a:cubicBezTo>
                    <a:pt x="8931" y="18718"/>
                    <a:pt x="8929" y="18721"/>
                    <a:pt x="8927" y="18724"/>
                  </a:cubicBezTo>
                  <a:cubicBezTo>
                    <a:pt x="8932" y="18767"/>
                    <a:pt x="9004" y="19324"/>
                    <a:pt x="9035" y="19607"/>
                  </a:cubicBezTo>
                  <a:cubicBezTo>
                    <a:pt x="9039" y="19637"/>
                    <a:pt x="9040" y="19666"/>
                    <a:pt x="9040" y="19695"/>
                  </a:cubicBezTo>
                  <a:cubicBezTo>
                    <a:pt x="9040" y="19887"/>
                    <a:pt x="8972" y="20041"/>
                    <a:pt x="8938" y="20107"/>
                  </a:cubicBezTo>
                  <a:lnTo>
                    <a:pt x="8932" y="20130"/>
                  </a:lnTo>
                  <a:close/>
                  <a:moveTo>
                    <a:pt x="13140" y="20349"/>
                  </a:moveTo>
                  <a:cubicBezTo>
                    <a:pt x="12127" y="19948"/>
                    <a:pt x="12127" y="19948"/>
                    <a:pt x="12127" y="19948"/>
                  </a:cubicBezTo>
                  <a:cubicBezTo>
                    <a:pt x="11931" y="18657"/>
                    <a:pt x="11931" y="18657"/>
                    <a:pt x="11931" y="18657"/>
                  </a:cubicBezTo>
                  <a:cubicBezTo>
                    <a:pt x="10301" y="18949"/>
                    <a:pt x="10301" y="18949"/>
                    <a:pt x="10301" y="18949"/>
                  </a:cubicBezTo>
                  <a:cubicBezTo>
                    <a:pt x="10174" y="19113"/>
                    <a:pt x="10174" y="19113"/>
                    <a:pt x="10174" y="19113"/>
                  </a:cubicBezTo>
                  <a:cubicBezTo>
                    <a:pt x="10199" y="19789"/>
                    <a:pt x="10199" y="19789"/>
                    <a:pt x="10199" y="19789"/>
                  </a:cubicBezTo>
                  <a:cubicBezTo>
                    <a:pt x="10037" y="19922"/>
                    <a:pt x="10037" y="19922"/>
                    <a:pt x="10037" y="19922"/>
                  </a:cubicBezTo>
                  <a:cubicBezTo>
                    <a:pt x="9923" y="20256"/>
                    <a:pt x="9923" y="20256"/>
                    <a:pt x="9923" y="20256"/>
                  </a:cubicBezTo>
                  <a:cubicBezTo>
                    <a:pt x="9921" y="20277"/>
                    <a:pt x="9921" y="20277"/>
                    <a:pt x="9921" y="20277"/>
                  </a:cubicBezTo>
                  <a:cubicBezTo>
                    <a:pt x="10211" y="20321"/>
                    <a:pt x="10418" y="20351"/>
                    <a:pt x="10433" y="20354"/>
                  </a:cubicBezTo>
                  <a:cubicBezTo>
                    <a:pt x="10449" y="20356"/>
                    <a:pt x="10611" y="20375"/>
                    <a:pt x="10771" y="20447"/>
                  </a:cubicBezTo>
                  <a:cubicBezTo>
                    <a:pt x="10935" y="20521"/>
                    <a:pt x="11499" y="20837"/>
                    <a:pt x="11654" y="20935"/>
                  </a:cubicBezTo>
                  <a:cubicBezTo>
                    <a:pt x="12581" y="21529"/>
                    <a:pt x="12581" y="21529"/>
                    <a:pt x="12581" y="21529"/>
                  </a:cubicBezTo>
                  <a:cubicBezTo>
                    <a:pt x="12725" y="21229"/>
                    <a:pt x="12860" y="20944"/>
                    <a:pt x="12963" y="20726"/>
                  </a:cubicBezTo>
                  <a:cubicBezTo>
                    <a:pt x="13052" y="20536"/>
                    <a:pt x="13117" y="20399"/>
                    <a:pt x="13140" y="20349"/>
                  </a:cubicBezTo>
                  <a:close/>
                  <a:moveTo>
                    <a:pt x="4151" y="12831"/>
                  </a:moveTo>
                  <a:cubicBezTo>
                    <a:pt x="4162" y="12845"/>
                    <a:pt x="4147" y="12881"/>
                    <a:pt x="4141" y="12888"/>
                  </a:cubicBezTo>
                  <a:cubicBezTo>
                    <a:pt x="4136" y="12896"/>
                    <a:pt x="4043" y="12953"/>
                    <a:pt x="4026" y="12972"/>
                  </a:cubicBezTo>
                  <a:cubicBezTo>
                    <a:pt x="4009" y="12990"/>
                    <a:pt x="4012" y="13044"/>
                    <a:pt x="4008" y="13058"/>
                  </a:cubicBezTo>
                  <a:cubicBezTo>
                    <a:pt x="4005" y="13072"/>
                    <a:pt x="3993" y="13070"/>
                    <a:pt x="3974" y="13067"/>
                  </a:cubicBezTo>
                  <a:cubicBezTo>
                    <a:pt x="3956" y="13064"/>
                    <a:pt x="3941" y="13004"/>
                    <a:pt x="3947" y="12977"/>
                  </a:cubicBezTo>
                  <a:cubicBezTo>
                    <a:pt x="3949" y="12967"/>
                    <a:pt x="3907" y="12986"/>
                    <a:pt x="3890" y="12997"/>
                  </a:cubicBezTo>
                  <a:cubicBezTo>
                    <a:pt x="3873" y="13008"/>
                    <a:pt x="3857" y="13014"/>
                    <a:pt x="3836" y="12997"/>
                  </a:cubicBezTo>
                  <a:cubicBezTo>
                    <a:pt x="3816" y="12981"/>
                    <a:pt x="3834" y="12950"/>
                    <a:pt x="3857" y="12938"/>
                  </a:cubicBezTo>
                  <a:cubicBezTo>
                    <a:pt x="3880" y="12927"/>
                    <a:pt x="3915" y="12925"/>
                    <a:pt x="3944" y="12922"/>
                  </a:cubicBezTo>
                  <a:cubicBezTo>
                    <a:pt x="3973" y="12919"/>
                    <a:pt x="4017" y="12911"/>
                    <a:pt x="4027" y="12887"/>
                  </a:cubicBezTo>
                  <a:cubicBezTo>
                    <a:pt x="4037" y="12864"/>
                    <a:pt x="3872" y="12854"/>
                    <a:pt x="3844" y="12849"/>
                  </a:cubicBezTo>
                  <a:cubicBezTo>
                    <a:pt x="3817" y="12844"/>
                    <a:pt x="3806" y="12821"/>
                    <a:pt x="3813" y="12809"/>
                  </a:cubicBezTo>
                  <a:cubicBezTo>
                    <a:pt x="3820" y="12798"/>
                    <a:pt x="3850" y="12816"/>
                    <a:pt x="3850" y="12816"/>
                  </a:cubicBezTo>
                  <a:cubicBezTo>
                    <a:pt x="3850" y="12816"/>
                    <a:pt x="4042" y="12809"/>
                    <a:pt x="4084" y="12811"/>
                  </a:cubicBezTo>
                  <a:cubicBezTo>
                    <a:pt x="4126" y="12812"/>
                    <a:pt x="4151" y="12831"/>
                    <a:pt x="4151" y="12831"/>
                  </a:cubicBezTo>
                  <a:close/>
                  <a:moveTo>
                    <a:pt x="2789" y="11458"/>
                  </a:moveTo>
                  <a:cubicBezTo>
                    <a:pt x="2789" y="11458"/>
                    <a:pt x="2783" y="11380"/>
                    <a:pt x="2794" y="11339"/>
                  </a:cubicBezTo>
                  <a:cubicBezTo>
                    <a:pt x="2806" y="11299"/>
                    <a:pt x="2850" y="11262"/>
                    <a:pt x="2848" y="11222"/>
                  </a:cubicBezTo>
                  <a:cubicBezTo>
                    <a:pt x="2847" y="11183"/>
                    <a:pt x="2840" y="11175"/>
                    <a:pt x="2827" y="11167"/>
                  </a:cubicBezTo>
                  <a:cubicBezTo>
                    <a:pt x="2802" y="11151"/>
                    <a:pt x="2713" y="11162"/>
                    <a:pt x="2628" y="11307"/>
                  </a:cubicBezTo>
                  <a:cubicBezTo>
                    <a:pt x="2611" y="11348"/>
                    <a:pt x="2631" y="11393"/>
                    <a:pt x="2627" y="11409"/>
                  </a:cubicBezTo>
                  <a:cubicBezTo>
                    <a:pt x="2623" y="11425"/>
                    <a:pt x="2633" y="11516"/>
                    <a:pt x="2578" y="11567"/>
                  </a:cubicBezTo>
                  <a:cubicBezTo>
                    <a:pt x="2549" y="11594"/>
                    <a:pt x="2546" y="11601"/>
                    <a:pt x="2546" y="11601"/>
                  </a:cubicBezTo>
                  <a:cubicBezTo>
                    <a:pt x="2546" y="11601"/>
                    <a:pt x="2597" y="11598"/>
                    <a:pt x="2655" y="11573"/>
                  </a:cubicBezTo>
                  <a:cubicBezTo>
                    <a:pt x="2712" y="11549"/>
                    <a:pt x="2777" y="11528"/>
                    <a:pt x="2789" y="11458"/>
                  </a:cubicBezTo>
                  <a:close/>
                  <a:moveTo>
                    <a:pt x="1759" y="10773"/>
                  </a:moveTo>
                  <a:cubicBezTo>
                    <a:pt x="1800" y="10747"/>
                    <a:pt x="1859" y="10724"/>
                    <a:pt x="1896" y="10710"/>
                  </a:cubicBezTo>
                  <a:cubicBezTo>
                    <a:pt x="1933" y="10697"/>
                    <a:pt x="1964" y="10695"/>
                    <a:pt x="1987" y="10654"/>
                  </a:cubicBezTo>
                  <a:cubicBezTo>
                    <a:pt x="2011" y="10613"/>
                    <a:pt x="2026" y="10574"/>
                    <a:pt x="2075" y="10574"/>
                  </a:cubicBezTo>
                  <a:cubicBezTo>
                    <a:pt x="2124" y="10574"/>
                    <a:pt x="2164" y="10591"/>
                    <a:pt x="2172" y="10569"/>
                  </a:cubicBezTo>
                  <a:cubicBezTo>
                    <a:pt x="2180" y="10548"/>
                    <a:pt x="2162" y="10515"/>
                    <a:pt x="2127" y="10500"/>
                  </a:cubicBezTo>
                  <a:cubicBezTo>
                    <a:pt x="2100" y="10488"/>
                    <a:pt x="2038" y="10511"/>
                    <a:pt x="1978" y="10579"/>
                  </a:cubicBezTo>
                  <a:cubicBezTo>
                    <a:pt x="1918" y="10647"/>
                    <a:pt x="1858" y="10688"/>
                    <a:pt x="1807" y="10709"/>
                  </a:cubicBezTo>
                  <a:cubicBezTo>
                    <a:pt x="1756" y="10729"/>
                    <a:pt x="1661" y="10787"/>
                    <a:pt x="1662" y="10796"/>
                  </a:cubicBezTo>
                  <a:cubicBezTo>
                    <a:pt x="1664" y="10806"/>
                    <a:pt x="1718" y="10799"/>
                    <a:pt x="1759" y="10773"/>
                  </a:cubicBezTo>
                  <a:close/>
                  <a:moveTo>
                    <a:pt x="555" y="9449"/>
                  </a:moveTo>
                  <a:cubicBezTo>
                    <a:pt x="588" y="9474"/>
                    <a:pt x="640" y="9501"/>
                    <a:pt x="651" y="9550"/>
                  </a:cubicBezTo>
                  <a:cubicBezTo>
                    <a:pt x="662" y="9599"/>
                    <a:pt x="621" y="9647"/>
                    <a:pt x="621" y="9647"/>
                  </a:cubicBezTo>
                  <a:cubicBezTo>
                    <a:pt x="621" y="9647"/>
                    <a:pt x="681" y="9674"/>
                    <a:pt x="702" y="9683"/>
                  </a:cubicBezTo>
                  <a:cubicBezTo>
                    <a:pt x="722" y="9691"/>
                    <a:pt x="779" y="9692"/>
                    <a:pt x="823" y="9663"/>
                  </a:cubicBezTo>
                  <a:cubicBezTo>
                    <a:pt x="867" y="9635"/>
                    <a:pt x="898" y="9605"/>
                    <a:pt x="912" y="9580"/>
                  </a:cubicBezTo>
                  <a:cubicBezTo>
                    <a:pt x="926" y="9556"/>
                    <a:pt x="938" y="9531"/>
                    <a:pt x="946" y="9527"/>
                  </a:cubicBezTo>
                  <a:cubicBezTo>
                    <a:pt x="946" y="9527"/>
                    <a:pt x="937" y="9498"/>
                    <a:pt x="889" y="9523"/>
                  </a:cubicBezTo>
                  <a:cubicBezTo>
                    <a:pt x="841" y="9547"/>
                    <a:pt x="800" y="9571"/>
                    <a:pt x="777" y="9556"/>
                  </a:cubicBezTo>
                  <a:cubicBezTo>
                    <a:pt x="753" y="9540"/>
                    <a:pt x="743" y="9535"/>
                    <a:pt x="737" y="9505"/>
                  </a:cubicBezTo>
                  <a:cubicBezTo>
                    <a:pt x="732" y="9475"/>
                    <a:pt x="722" y="9446"/>
                    <a:pt x="687" y="9437"/>
                  </a:cubicBezTo>
                  <a:cubicBezTo>
                    <a:pt x="651" y="9427"/>
                    <a:pt x="611" y="9424"/>
                    <a:pt x="600" y="9419"/>
                  </a:cubicBezTo>
                  <a:cubicBezTo>
                    <a:pt x="591" y="9414"/>
                    <a:pt x="553" y="9396"/>
                    <a:pt x="548" y="9391"/>
                  </a:cubicBezTo>
                  <a:cubicBezTo>
                    <a:pt x="547" y="9397"/>
                    <a:pt x="526" y="9427"/>
                    <a:pt x="555" y="9449"/>
                  </a:cubicBezTo>
                  <a:close/>
                  <a:moveTo>
                    <a:pt x="1650" y="8648"/>
                  </a:moveTo>
                  <a:cubicBezTo>
                    <a:pt x="1636" y="8684"/>
                    <a:pt x="1629" y="8738"/>
                    <a:pt x="1657" y="8745"/>
                  </a:cubicBezTo>
                  <a:cubicBezTo>
                    <a:pt x="1657" y="8745"/>
                    <a:pt x="1684" y="8727"/>
                    <a:pt x="1695" y="8700"/>
                  </a:cubicBezTo>
                  <a:cubicBezTo>
                    <a:pt x="1706" y="8673"/>
                    <a:pt x="1718" y="8663"/>
                    <a:pt x="1741" y="8655"/>
                  </a:cubicBezTo>
                  <a:cubicBezTo>
                    <a:pt x="1765" y="8647"/>
                    <a:pt x="1812" y="8644"/>
                    <a:pt x="1856" y="8621"/>
                  </a:cubicBezTo>
                  <a:cubicBezTo>
                    <a:pt x="1900" y="8598"/>
                    <a:pt x="1909" y="8577"/>
                    <a:pt x="1884" y="8563"/>
                  </a:cubicBezTo>
                  <a:cubicBezTo>
                    <a:pt x="1858" y="8550"/>
                    <a:pt x="1802" y="8554"/>
                    <a:pt x="1784" y="8547"/>
                  </a:cubicBezTo>
                  <a:cubicBezTo>
                    <a:pt x="1766" y="8540"/>
                    <a:pt x="1747" y="8509"/>
                    <a:pt x="1769" y="8494"/>
                  </a:cubicBezTo>
                  <a:cubicBezTo>
                    <a:pt x="1791" y="8479"/>
                    <a:pt x="1837" y="8479"/>
                    <a:pt x="1841" y="8461"/>
                  </a:cubicBezTo>
                  <a:cubicBezTo>
                    <a:pt x="1845" y="8443"/>
                    <a:pt x="1843" y="8380"/>
                    <a:pt x="1802" y="8384"/>
                  </a:cubicBezTo>
                  <a:cubicBezTo>
                    <a:pt x="1761" y="8389"/>
                    <a:pt x="1756" y="8423"/>
                    <a:pt x="1751" y="8440"/>
                  </a:cubicBezTo>
                  <a:cubicBezTo>
                    <a:pt x="1746" y="8458"/>
                    <a:pt x="1707" y="8472"/>
                    <a:pt x="1695" y="8487"/>
                  </a:cubicBezTo>
                  <a:cubicBezTo>
                    <a:pt x="1683" y="8502"/>
                    <a:pt x="1670" y="8516"/>
                    <a:pt x="1683" y="8529"/>
                  </a:cubicBezTo>
                  <a:cubicBezTo>
                    <a:pt x="1695" y="8543"/>
                    <a:pt x="1707" y="8568"/>
                    <a:pt x="1698" y="8587"/>
                  </a:cubicBezTo>
                  <a:cubicBezTo>
                    <a:pt x="1688" y="8606"/>
                    <a:pt x="1664" y="8613"/>
                    <a:pt x="1650" y="8648"/>
                  </a:cubicBezTo>
                  <a:close/>
                  <a:moveTo>
                    <a:pt x="3523" y="7929"/>
                  </a:moveTo>
                  <a:cubicBezTo>
                    <a:pt x="3536" y="7886"/>
                    <a:pt x="3497" y="7835"/>
                    <a:pt x="3433" y="7815"/>
                  </a:cubicBezTo>
                  <a:cubicBezTo>
                    <a:pt x="3351" y="7788"/>
                    <a:pt x="3290" y="7804"/>
                    <a:pt x="3273" y="7845"/>
                  </a:cubicBezTo>
                  <a:cubicBezTo>
                    <a:pt x="3257" y="7886"/>
                    <a:pt x="3306" y="7950"/>
                    <a:pt x="3370" y="7968"/>
                  </a:cubicBezTo>
                  <a:cubicBezTo>
                    <a:pt x="3433" y="7987"/>
                    <a:pt x="3511" y="7972"/>
                    <a:pt x="3523" y="7929"/>
                  </a:cubicBezTo>
                  <a:close/>
                  <a:moveTo>
                    <a:pt x="508" y="15179"/>
                  </a:moveTo>
                  <a:cubicBezTo>
                    <a:pt x="473" y="15204"/>
                    <a:pt x="424" y="15276"/>
                    <a:pt x="461" y="15304"/>
                  </a:cubicBezTo>
                  <a:cubicBezTo>
                    <a:pt x="498" y="15333"/>
                    <a:pt x="570" y="15329"/>
                    <a:pt x="621" y="15282"/>
                  </a:cubicBezTo>
                  <a:cubicBezTo>
                    <a:pt x="672" y="15235"/>
                    <a:pt x="670" y="15204"/>
                    <a:pt x="650" y="15177"/>
                  </a:cubicBezTo>
                  <a:cubicBezTo>
                    <a:pt x="620" y="15139"/>
                    <a:pt x="543" y="15155"/>
                    <a:pt x="508" y="15179"/>
                  </a:cubicBezTo>
                  <a:close/>
                  <a:moveTo>
                    <a:pt x="2265" y="11304"/>
                  </a:moveTo>
                  <a:cubicBezTo>
                    <a:pt x="2265" y="11304"/>
                    <a:pt x="2083" y="11244"/>
                    <a:pt x="2038" y="11229"/>
                  </a:cubicBezTo>
                  <a:cubicBezTo>
                    <a:pt x="2094" y="11074"/>
                    <a:pt x="2094" y="11074"/>
                    <a:pt x="2094" y="11074"/>
                  </a:cubicBezTo>
                  <a:cubicBezTo>
                    <a:pt x="2071" y="11065"/>
                    <a:pt x="2071" y="11065"/>
                    <a:pt x="2071" y="11065"/>
                  </a:cubicBezTo>
                  <a:cubicBezTo>
                    <a:pt x="1971" y="11340"/>
                    <a:pt x="1971" y="11340"/>
                    <a:pt x="1971" y="11340"/>
                  </a:cubicBezTo>
                  <a:cubicBezTo>
                    <a:pt x="1783" y="11493"/>
                    <a:pt x="1783" y="11493"/>
                    <a:pt x="1783" y="11493"/>
                  </a:cubicBezTo>
                  <a:cubicBezTo>
                    <a:pt x="1800" y="11511"/>
                    <a:pt x="1800" y="11511"/>
                    <a:pt x="1800" y="11511"/>
                  </a:cubicBezTo>
                  <a:cubicBezTo>
                    <a:pt x="1992" y="11355"/>
                    <a:pt x="1992" y="11355"/>
                    <a:pt x="1992" y="11355"/>
                  </a:cubicBezTo>
                  <a:cubicBezTo>
                    <a:pt x="2029" y="11252"/>
                    <a:pt x="2029" y="11252"/>
                    <a:pt x="2029" y="11252"/>
                  </a:cubicBezTo>
                  <a:cubicBezTo>
                    <a:pt x="2030" y="11252"/>
                    <a:pt x="2030" y="11253"/>
                    <a:pt x="2031" y="11253"/>
                  </a:cubicBezTo>
                  <a:cubicBezTo>
                    <a:pt x="2037" y="11255"/>
                    <a:pt x="2047" y="11258"/>
                    <a:pt x="2058" y="11262"/>
                  </a:cubicBezTo>
                  <a:cubicBezTo>
                    <a:pt x="2080" y="11269"/>
                    <a:pt x="2110" y="11279"/>
                    <a:pt x="2139" y="11288"/>
                  </a:cubicBezTo>
                  <a:cubicBezTo>
                    <a:pt x="2194" y="11307"/>
                    <a:pt x="2249" y="11325"/>
                    <a:pt x="2256" y="11327"/>
                  </a:cubicBezTo>
                  <a:cubicBezTo>
                    <a:pt x="2429" y="11409"/>
                    <a:pt x="2429" y="11409"/>
                    <a:pt x="2429" y="11409"/>
                  </a:cubicBezTo>
                  <a:cubicBezTo>
                    <a:pt x="2429" y="11409"/>
                    <a:pt x="2429" y="11409"/>
                    <a:pt x="2429" y="11409"/>
                  </a:cubicBezTo>
                  <a:cubicBezTo>
                    <a:pt x="2439" y="11387"/>
                    <a:pt x="2439" y="11387"/>
                    <a:pt x="2439" y="11387"/>
                  </a:cubicBezTo>
                  <a:cubicBezTo>
                    <a:pt x="2266" y="11304"/>
                    <a:pt x="2266" y="11304"/>
                    <a:pt x="2266" y="11304"/>
                  </a:cubicBezTo>
                  <a:lnTo>
                    <a:pt x="2265" y="11304"/>
                  </a:lnTo>
                  <a:close/>
                  <a:moveTo>
                    <a:pt x="18011" y="673"/>
                  </a:moveTo>
                  <a:cubicBezTo>
                    <a:pt x="17977" y="697"/>
                    <a:pt x="17944" y="720"/>
                    <a:pt x="17912" y="741"/>
                  </a:cubicBezTo>
                  <a:cubicBezTo>
                    <a:pt x="17945" y="788"/>
                    <a:pt x="17979" y="842"/>
                    <a:pt x="18011" y="902"/>
                  </a:cubicBezTo>
                  <a:cubicBezTo>
                    <a:pt x="18011" y="981"/>
                    <a:pt x="18011" y="981"/>
                    <a:pt x="18011" y="981"/>
                  </a:cubicBezTo>
                  <a:cubicBezTo>
                    <a:pt x="17970" y="896"/>
                    <a:pt x="17926" y="823"/>
                    <a:pt x="17882" y="761"/>
                  </a:cubicBezTo>
                  <a:cubicBezTo>
                    <a:pt x="17435" y="1053"/>
                    <a:pt x="16722" y="1590"/>
                    <a:pt x="16212" y="1725"/>
                  </a:cubicBezTo>
                  <a:cubicBezTo>
                    <a:pt x="16179" y="1734"/>
                    <a:pt x="16146" y="1742"/>
                    <a:pt x="16112" y="1750"/>
                  </a:cubicBezTo>
                  <a:cubicBezTo>
                    <a:pt x="16114" y="1753"/>
                    <a:pt x="16114" y="1753"/>
                    <a:pt x="16114" y="1753"/>
                  </a:cubicBezTo>
                  <a:cubicBezTo>
                    <a:pt x="16117" y="1757"/>
                    <a:pt x="16117" y="1757"/>
                    <a:pt x="16117" y="1757"/>
                  </a:cubicBezTo>
                  <a:cubicBezTo>
                    <a:pt x="16094" y="1775"/>
                    <a:pt x="15762" y="2152"/>
                    <a:pt x="15712" y="2342"/>
                  </a:cubicBezTo>
                  <a:cubicBezTo>
                    <a:pt x="15681" y="2459"/>
                    <a:pt x="15649" y="2676"/>
                    <a:pt x="15649" y="2932"/>
                  </a:cubicBezTo>
                  <a:cubicBezTo>
                    <a:pt x="15649" y="3116"/>
                    <a:pt x="15665" y="3322"/>
                    <a:pt x="15709" y="3526"/>
                  </a:cubicBezTo>
                  <a:cubicBezTo>
                    <a:pt x="15760" y="3769"/>
                    <a:pt x="15837" y="4052"/>
                    <a:pt x="15901" y="4277"/>
                  </a:cubicBezTo>
                  <a:cubicBezTo>
                    <a:pt x="15933" y="4390"/>
                    <a:pt x="15962" y="4488"/>
                    <a:pt x="15983" y="4559"/>
                  </a:cubicBezTo>
                  <a:cubicBezTo>
                    <a:pt x="15993" y="4594"/>
                    <a:pt x="16002" y="4623"/>
                    <a:pt x="16008" y="4644"/>
                  </a:cubicBezTo>
                  <a:cubicBezTo>
                    <a:pt x="16010" y="4654"/>
                    <a:pt x="16013" y="4662"/>
                    <a:pt x="16014" y="4669"/>
                  </a:cubicBezTo>
                  <a:cubicBezTo>
                    <a:pt x="16015" y="4673"/>
                    <a:pt x="16016" y="4675"/>
                    <a:pt x="16016" y="4678"/>
                  </a:cubicBezTo>
                  <a:cubicBezTo>
                    <a:pt x="16104" y="4659"/>
                    <a:pt x="16104" y="4659"/>
                    <a:pt x="16104" y="4659"/>
                  </a:cubicBezTo>
                  <a:cubicBezTo>
                    <a:pt x="16105" y="4659"/>
                    <a:pt x="16576" y="4571"/>
                    <a:pt x="16974" y="4571"/>
                  </a:cubicBezTo>
                  <a:cubicBezTo>
                    <a:pt x="17013" y="4571"/>
                    <a:pt x="17051" y="4571"/>
                    <a:pt x="17087" y="4573"/>
                  </a:cubicBezTo>
                  <a:cubicBezTo>
                    <a:pt x="17432" y="4591"/>
                    <a:pt x="17814" y="4639"/>
                    <a:pt x="18011" y="4666"/>
                  </a:cubicBezTo>
                  <a:cubicBezTo>
                    <a:pt x="18011" y="4703"/>
                    <a:pt x="18011" y="4703"/>
                    <a:pt x="18011" y="4703"/>
                  </a:cubicBezTo>
                  <a:cubicBezTo>
                    <a:pt x="17816" y="4675"/>
                    <a:pt x="17431" y="4627"/>
                    <a:pt x="17085" y="4609"/>
                  </a:cubicBezTo>
                  <a:cubicBezTo>
                    <a:pt x="17049" y="4607"/>
                    <a:pt x="17012" y="4607"/>
                    <a:pt x="16974" y="4607"/>
                  </a:cubicBezTo>
                  <a:cubicBezTo>
                    <a:pt x="16778" y="4607"/>
                    <a:pt x="16562" y="4629"/>
                    <a:pt x="16395" y="4651"/>
                  </a:cubicBezTo>
                  <a:cubicBezTo>
                    <a:pt x="16229" y="4673"/>
                    <a:pt x="16112" y="4695"/>
                    <a:pt x="16111" y="4695"/>
                  </a:cubicBezTo>
                  <a:cubicBezTo>
                    <a:pt x="16034" y="4711"/>
                    <a:pt x="16034" y="4711"/>
                    <a:pt x="16034" y="4711"/>
                  </a:cubicBezTo>
                  <a:cubicBezTo>
                    <a:pt x="16052" y="4765"/>
                    <a:pt x="16083" y="4881"/>
                    <a:pt x="16083" y="5035"/>
                  </a:cubicBezTo>
                  <a:cubicBezTo>
                    <a:pt x="16083" y="5114"/>
                    <a:pt x="16075" y="5202"/>
                    <a:pt x="16053" y="5297"/>
                  </a:cubicBezTo>
                  <a:cubicBezTo>
                    <a:pt x="15969" y="5650"/>
                    <a:pt x="15701" y="5868"/>
                    <a:pt x="15607" y="6100"/>
                  </a:cubicBezTo>
                  <a:cubicBezTo>
                    <a:pt x="15532" y="6284"/>
                    <a:pt x="15472" y="6402"/>
                    <a:pt x="15472" y="6641"/>
                  </a:cubicBezTo>
                  <a:cubicBezTo>
                    <a:pt x="15472" y="6715"/>
                    <a:pt x="15478" y="6800"/>
                    <a:pt x="15491" y="6902"/>
                  </a:cubicBezTo>
                  <a:cubicBezTo>
                    <a:pt x="15537" y="7268"/>
                    <a:pt x="15633" y="8033"/>
                    <a:pt x="15662" y="8267"/>
                  </a:cubicBezTo>
                  <a:cubicBezTo>
                    <a:pt x="15662" y="8267"/>
                    <a:pt x="15662" y="8268"/>
                    <a:pt x="15662" y="8268"/>
                  </a:cubicBezTo>
                  <a:cubicBezTo>
                    <a:pt x="15662" y="8268"/>
                    <a:pt x="15665" y="8279"/>
                    <a:pt x="15667" y="8287"/>
                  </a:cubicBezTo>
                  <a:cubicBezTo>
                    <a:pt x="15685" y="8279"/>
                    <a:pt x="15698" y="8273"/>
                    <a:pt x="15698" y="8273"/>
                  </a:cubicBezTo>
                  <a:cubicBezTo>
                    <a:pt x="15704" y="8271"/>
                    <a:pt x="15704" y="8271"/>
                    <a:pt x="15704" y="8271"/>
                  </a:cubicBezTo>
                  <a:cubicBezTo>
                    <a:pt x="17137" y="7977"/>
                    <a:pt x="17137" y="7977"/>
                    <a:pt x="17137" y="7977"/>
                  </a:cubicBezTo>
                  <a:cubicBezTo>
                    <a:pt x="17140" y="7977"/>
                    <a:pt x="17140" y="7977"/>
                    <a:pt x="17140" y="7977"/>
                  </a:cubicBezTo>
                  <a:cubicBezTo>
                    <a:pt x="17140" y="7977"/>
                    <a:pt x="17387" y="7948"/>
                    <a:pt x="17635" y="7919"/>
                  </a:cubicBezTo>
                  <a:cubicBezTo>
                    <a:pt x="17760" y="7904"/>
                    <a:pt x="17884" y="7889"/>
                    <a:pt x="17978" y="7879"/>
                  </a:cubicBezTo>
                  <a:cubicBezTo>
                    <a:pt x="17990" y="7877"/>
                    <a:pt x="18001" y="7876"/>
                    <a:pt x="18011" y="7875"/>
                  </a:cubicBezTo>
                  <a:cubicBezTo>
                    <a:pt x="18011" y="7990"/>
                    <a:pt x="18011" y="7990"/>
                    <a:pt x="18011" y="7990"/>
                  </a:cubicBezTo>
                  <a:cubicBezTo>
                    <a:pt x="17911" y="8002"/>
                    <a:pt x="17770" y="8018"/>
                    <a:pt x="17631" y="8035"/>
                  </a:cubicBezTo>
                  <a:cubicBezTo>
                    <a:pt x="17403" y="8062"/>
                    <a:pt x="17181" y="8088"/>
                    <a:pt x="17155" y="8091"/>
                  </a:cubicBezTo>
                  <a:cubicBezTo>
                    <a:pt x="15738" y="8381"/>
                    <a:pt x="15738" y="8381"/>
                    <a:pt x="15738" y="8381"/>
                  </a:cubicBezTo>
                  <a:cubicBezTo>
                    <a:pt x="15714" y="8391"/>
                    <a:pt x="15613" y="8435"/>
                    <a:pt x="15588" y="8446"/>
                  </a:cubicBezTo>
                  <a:cubicBezTo>
                    <a:pt x="15588" y="8446"/>
                    <a:pt x="15588" y="8446"/>
                    <a:pt x="15588" y="8446"/>
                  </a:cubicBezTo>
                  <a:cubicBezTo>
                    <a:pt x="15580" y="8449"/>
                    <a:pt x="15530" y="8478"/>
                    <a:pt x="15460" y="8517"/>
                  </a:cubicBezTo>
                  <a:cubicBezTo>
                    <a:pt x="15354" y="8576"/>
                    <a:pt x="15200" y="8662"/>
                    <a:pt x="15048" y="8742"/>
                  </a:cubicBezTo>
                  <a:cubicBezTo>
                    <a:pt x="14897" y="8821"/>
                    <a:pt x="14750" y="8894"/>
                    <a:pt x="14653" y="8930"/>
                  </a:cubicBezTo>
                  <a:cubicBezTo>
                    <a:pt x="14529" y="8974"/>
                    <a:pt x="14413" y="9014"/>
                    <a:pt x="14325" y="9042"/>
                  </a:cubicBezTo>
                  <a:cubicBezTo>
                    <a:pt x="14281" y="9056"/>
                    <a:pt x="14244" y="9068"/>
                    <a:pt x="14217" y="9076"/>
                  </a:cubicBezTo>
                  <a:cubicBezTo>
                    <a:pt x="14204" y="9080"/>
                    <a:pt x="14192" y="9083"/>
                    <a:pt x="14183" y="9085"/>
                  </a:cubicBezTo>
                  <a:cubicBezTo>
                    <a:pt x="14179" y="9086"/>
                    <a:pt x="14175" y="9087"/>
                    <a:pt x="14171" y="9088"/>
                  </a:cubicBezTo>
                  <a:cubicBezTo>
                    <a:pt x="14168" y="9088"/>
                    <a:pt x="14166" y="9089"/>
                    <a:pt x="14161" y="9089"/>
                  </a:cubicBezTo>
                  <a:cubicBezTo>
                    <a:pt x="14149" y="9092"/>
                    <a:pt x="14094" y="9104"/>
                    <a:pt x="14024" y="9121"/>
                  </a:cubicBezTo>
                  <a:cubicBezTo>
                    <a:pt x="13852" y="9162"/>
                    <a:pt x="13573" y="9229"/>
                    <a:pt x="13466" y="9255"/>
                  </a:cubicBezTo>
                  <a:cubicBezTo>
                    <a:pt x="13472" y="9293"/>
                    <a:pt x="13475" y="9330"/>
                    <a:pt x="13475" y="9366"/>
                  </a:cubicBezTo>
                  <a:cubicBezTo>
                    <a:pt x="13475" y="9426"/>
                    <a:pt x="13469" y="9482"/>
                    <a:pt x="13462" y="9524"/>
                  </a:cubicBezTo>
                  <a:cubicBezTo>
                    <a:pt x="13459" y="9543"/>
                    <a:pt x="13456" y="9560"/>
                    <a:pt x="13452" y="9573"/>
                  </a:cubicBezTo>
                  <a:cubicBezTo>
                    <a:pt x="13483" y="9619"/>
                    <a:pt x="13540" y="9677"/>
                    <a:pt x="13603" y="9725"/>
                  </a:cubicBezTo>
                  <a:cubicBezTo>
                    <a:pt x="13675" y="9782"/>
                    <a:pt x="13757" y="9829"/>
                    <a:pt x="13804" y="9845"/>
                  </a:cubicBezTo>
                  <a:cubicBezTo>
                    <a:pt x="13856" y="9863"/>
                    <a:pt x="13934" y="9877"/>
                    <a:pt x="14019" y="9898"/>
                  </a:cubicBezTo>
                  <a:cubicBezTo>
                    <a:pt x="14104" y="9919"/>
                    <a:pt x="14196" y="9948"/>
                    <a:pt x="14280" y="10001"/>
                  </a:cubicBezTo>
                  <a:cubicBezTo>
                    <a:pt x="14429" y="10096"/>
                    <a:pt x="14510" y="10241"/>
                    <a:pt x="14528" y="10275"/>
                  </a:cubicBezTo>
                  <a:cubicBezTo>
                    <a:pt x="14547" y="10298"/>
                    <a:pt x="14638" y="10408"/>
                    <a:pt x="14737" y="10525"/>
                  </a:cubicBezTo>
                  <a:cubicBezTo>
                    <a:pt x="14792" y="10591"/>
                    <a:pt x="14849" y="10658"/>
                    <a:pt x="14896" y="10713"/>
                  </a:cubicBezTo>
                  <a:cubicBezTo>
                    <a:pt x="14943" y="10767"/>
                    <a:pt x="14983" y="10810"/>
                    <a:pt x="14995" y="10821"/>
                  </a:cubicBezTo>
                  <a:cubicBezTo>
                    <a:pt x="15027" y="10850"/>
                    <a:pt x="15050" y="10867"/>
                    <a:pt x="15064" y="10877"/>
                  </a:cubicBezTo>
                  <a:cubicBezTo>
                    <a:pt x="15070" y="10881"/>
                    <a:pt x="15075" y="10884"/>
                    <a:pt x="15078" y="10886"/>
                  </a:cubicBezTo>
                  <a:cubicBezTo>
                    <a:pt x="15111" y="10894"/>
                    <a:pt x="15256" y="10928"/>
                    <a:pt x="15436" y="10968"/>
                  </a:cubicBezTo>
                  <a:cubicBezTo>
                    <a:pt x="15642" y="11015"/>
                    <a:pt x="15893" y="11071"/>
                    <a:pt x="16073" y="11108"/>
                  </a:cubicBezTo>
                  <a:cubicBezTo>
                    <a:pt x="16358" y="11166"/>
                    <a:pt x="17513" y="11467"/>
                    <a:pt x="18011" y="11598"/>
                  </a:cubicBezTo>
                  <a:cubicBezTo>
                    <a:pt x="18011" y="11716"/>
                    <a:pt x="18011" y="11716"/>
                    <a:pt x="18011" y="11716"/>
                  </a:cubicBezTo>
                  <a:cubicBezTo>
                    <a:pt x="17833" y="11670"/>
                    <a:pt x="17558" y="11598"/>
                    <a:pt x="17266" y="11522"/>
                  </a:cubicBezTo>
                  <a:cubicBezTo>
                    <a:pt x="16770" y="11394"/>
                    <a:pt x="16228" y="11256"/>
                    <a:pt x="16050" y="11220"/>
                  </a:cubicBezTo>
                  <a:cubicBezTo>
                    <a:pt x="15767" y="11163"/>
                    <a:pt x="15317" y="11059"/>
                    <a:pt x="15130" y="11016"/>
                  </a:cubicBezTo>
                  <a:cubicBezTo>
                    <a:pt x="14823" y="11437"/>
                    <a:pt x="14823" y="11437"/>
                    <a:pt x="14823" y="11437"/>
                  </a:cubicBezTo>
                  <a:cubicBezTo>
                    <a:pt x="14808" y="11478"/>
                    <a:pt x="14739" y="11658"/>
                    <a:pt x="14625" y="11815"/>
                  </a:cubicBezTo>
                  <a:cubicBezTo>
                    <a:pt x="14519" y="11960"/>
                    <a:pt x="14374" y="12071"/>
                    <a:pt x="14321" y="12110"/>
                  </a:cubicBezTo>
                  <a:cubicBezTo>
                    <a:pt x="14312" y="12163"/>
                    <a:pt x="14289" y="12303"/>
                    <a:pt x="14256" y="12498"/>
                  </a:cubicBezTo>
                  <a:cubicBezTo>
                    <a:pt x="14236" y="12622"/>
                    <a:pt x="14212" y="12767"/>
                    <a:pt x="14186" y="12926"/>
                  </a:cubicBezTo>
                  <a:cubicBezTo>
                    <a:pt x="14192" y="12929"/>
                    <a:pt x="14200" y="12932"/>
                    <a:pt x="14206" y="12935"/>
                  </a:cubicBezTo>
                  <a:cubicBezTo>
                    <a:pt x="15398" y="13170"/>
                    <a:pt x="15398" y="13170"/>
                    <a:pt x="15398" y="13170"/>
                  </a:cubicBezTo>
                  <a:cubicBezTo>
                    <a:pt x="15407" y="13171"/>
                    <a:pt x="15422" y="13174"/>
                    <a:pt x="15441" y="13179"/>
                  </a:cubicBezTo>
                  <a:cubicBezTo>
                    <a:pt x="15441" y="13177"/>
                    <a:pt x="15442" y="13176"/>
                    <a:pt x="15442" y="13174"/>
                  </a:cubicBezTo>
                  <a:cubicBezTo>
                    <a:pt x="15491" y="12889"/>
                    <a:pt x="15661" y="12543"/>
                    <a:pt x="16213" y="12392"/>
                  </a:cubicBezTo>
                  <a:cubicBezTo>
                    <a:pt x="16488" y="12316"/>
                    <a:pt x="16806" y="12278"/>
                    <a:pt x="17065" y="12256"/>
                  </a:cubicBezTo>
                  <a:cubicBezTo>
                    <a:pt x="17195" y="12245"/>
                    <a:pt x="17310" y="12238"/>
                    <a:pt x="17397" y="12232"/>
                  </a:cubicBezTo>
                  <a:cubicBezTo>
                    <a:pt x="17484" y="12227"/>
                    <a:pt x="17545" y="12223"/>
                    <a:pt x="17560" y="12218"/>
                  </a:cubicBezTo>
                  <a:cubicBezTo>
                    <a:pt x="17612" y="12206"/>
                    <a:pt x="17796" y="12150"/>
                    <a:pt x="18011" y="12028"/>
                  </a:cubicBezTo>
                  <a:cubicBezTo>
                    <a:pt x="18011" y="12069"/>
                    <a:pt x="18011" y="12069"/>
                    <a:pt x="18011" y="12069"/>
                  </a:cubicBezTo>
                  <a:cubicBezTo>
                    <a:pt x="17801" y="12186"/>
                    <a:pt x="17622" y="12240"/>
                    <a:pt x="17569" y="12253"/>
                  </a:cubicBezTo>
                  <a:cubicBezTo>
                    <a:pt x="17545" y="12259"/>
                    <a:pt x="17487" y="12263"/>
                    <a:pt x="17399" y="12268"/>
                  </a:cubicBezTo>
                  <a:cubicBezTo>
                    <a:pt x="17137" y="12284"/>
                    <a:pt x="16630" y="12314"/>
                    <a:pt x="16223" y="12427"/>
                  </a:cubicBezTo>
                  <a:cubicBezTo>
                    <a:pt x="15683" y="12576"/>
                    <a:pt x="15527" y="12904"/>
                    <a:pt x="15477" y="13181"/>
                  </a:cubicBezTo>
                  <a:cubicBezTo>
                    <a:pt x="15477" y="13183"/>
                    <a:pt x="15477" y="13185"/>
                    <a:pt x="15476" y="13187"/>
                  </a:cubicBezTo>
                  <a:cubicBezTo>
                    <a:pt x="15667" y="13233"/>
                    <a:pt x="16130" y="13373"/>
                    <a:pt x="16502" y="13740"/>
                  </a:cubicBezTo>
                  <a:cubicBezTo>
                    <a:pt x="17083" y="14312"/>
                    <a:pt x="17229" y="15048"/>
                    <a:pt x="17236" y="15083"/>
                  </a:cubicBezTo>
                  <a:cubicBezTo>
                    <a:pt x="17288" y="15246"/>
                    <a:pt x="17308" y="15402"/>
                    <a:pt x="17308" y="15543"/>
                  </a:cubicBezTo>
                  <a:cubicBezTo>
                    <a:pt x="17308" y="15952"/>
                    <a:pt x="17144" y="16243"/>
                    <a:pt x="17112" y="16296"/>
                  </a:cubicBezTo>
                  <a:cubicBezTo>
                    <a:pt x="17231" y="16332"/>
                    <a:pt x="17365" y="16388"/>
                    <a:pt x="17497" y="16477"/>
                  </a:cubicBezTo>
                  <a:cubicBezTo>
                    <a:pt x="17699" y="16614"/>
                    <a:pt x="17860" y="16740"/>
                    <a:pt x="18011" y="16857"/>
                  </a:cubicBezTo>
                  <a:cubicBezTo>
                    <a:pt x="18011" y="16902"/>
                    <a:pt x="18011" y="16902"/>
                    <a:pt x="18011" y="16902"/>
                  </a:cubicBezTo>
                  <a:cubicBezTo>
                    <a:pt x="17853" y="16781"/>
                    <a:pt x="17687" y="16650"/>
                    <a:pt x="17476" y="16507"/>
                  </a:cubicBezTo>
                  <a:cubicBezTo>
                    <a:pt x="17144" y="16282"/>
                    <a:pt x="16799" y="16272"/>
                    <a:pt x="16711" y="16272"/>
                  </a:cubicBezTo>
                  <a:cubicBezTo>
                    <a:pt x="16702" y="16272"/>
                    <a:pt x="16696" y="16272"/>
                    <a:pt x="16692" y="16272"/>
                  </a:cubicBezTo>
                  <a:cubicBezTo>
                    <a:pt x="16691" y="16272"/>
                    <a:pt x="16690" y="16272"/>
                    <a:pt x="16689" y="16272"/>
                  </a:cubicBezTo>
                  <a:cubicBezTo>
                    <a:pt x="16688" y="16272"/>
                    <a:pt x="16688" y="16272"/>
                    <a:pt x="16686" y="16272"/>
                  </a:cubicBezTo>
                  <a:cubicBezTo>
                    <a:pt x="16686" y="16272"/>
                    <a:pt x="16686" y="16272"/>
                    <a:pt x="16685" y="16271"/>
                  </a:cubicBezTo>
                  <a:cubicBezTo>
                    <a:pt x="16684" y="16271"/>
                    <a:pt x="16682" y="16271"/>
                    <a:pt x="16680" y="16271"/>
                  </a:cubicBezTo>
                  <a:cubicBezTo>
                    <a:pt x="16590" y="16271"/>
                    <a:pt x="15867" y="16282"/>
                    <a:pt x="15166" y="16293"/>
                  </a:cubicBezTo>
                  <a:cubicBezTo>
                    <a:pt x="14952" y="16296"/>
                    <a:pt x="14741" y="16299"/>
                    <a:pt x="14550" y="16302"/>
                  </a:cubicBezTo>
                  <a:cubicBezTo>
                    <a:pt x="14565" y="16363"/>
                    <a:pt x="14598" y="16504"/>
                    <a:pt x="14642" y="16685"/>
                  </a:cubicBezTo>
                  <a:cubicBezTo>
                    <a:pt x="14701" y="16927"/>
                    <a:pt x="14779" y="17239"/>
                    <a:pt x="14853" y="17517"/>
                  </a:cubicBezTo>
                  <a:cubicBezTo>
                    <a:pt x="14889" y="17653"/>
                    <a:pt x="14937" y="17827"/>
                    <a:pt x="14984" y="18000"/>
                  </a:cubicBezTo>
                  <a:cubicBezTo>
                    <a:pt x="14947" y="18000"/>
                    <a:pt x="14947" y="18000"/>
                    <a:pt x="14947" y="18000"/>
                  </a:cubicBezTo>
                  <a:cubicBezTo>
                    <a:pt x="14900" y="17831"/>
                    <a:pt x="14853" y="17660"/>
                    <a:pt x="14818" y="17527"/>
                  </a:cubicBezTo>
                  <a:cubicBezTo>
                    <a:pt x="14687" y="17032"/>
                    <a:pt x="14544" y="16432"/>
                    <a:pt x="14513" y="16303"/>
                  </a:cubicBezTo>
                  <a:cubicBezTo>
                    <a:pt x="14405" y="16304"/>
                    <a:pt x="14303" y="16306"/>
                    <a:pt x="14213" y="16307"/>
                  </a:cubicBezTo>
                  <a:cubicBezTo>
                    <a:pt x="14003" y="16311"/>
                    <a:pt x="13851" y="16313"/>
                    <a:pt x="13803" y="16314"/>
                  </a:cubicBezTo>
                  <a:cubicBezTo>
                    <a:pt x="13791" y="16317"/>
                    <a:pt x="13791" y="16317"/>
                    <a:pt x="13791" y="16317"/>
                  </a:cubicBezTo>
                  <a:cubicBezTo>
                    <a:pt x="13815" y="16590"/>
                    <a:pt x="13854" y="17012"/>
                    <a:pt x="13890" y="17395"/>
                  </a:cubicBezTo>
                  <a:cubicBezTo>
                    <a:pt x="13912" y="17624"/>
                    <a:pt x="13932" y="17838"/>
                    <a:pt x="13948" y="18000"/>
                  </a:cubicBezTo>
                  <a:cubicBezTo>
                    <a:pt x="13832" y="18000"/>
                    <a:pt x="13832" y="18000"/>
                    <a:pt x="13832" y="18000"/>
                  </a:cubicBezTo>
                  <a:cubicBezTo>
                    <a:pt x="13812" y="17791"/>
                    <a:pt x="13785" y="17496"/>
                    <a:pt x="13757" y="17199"/>
                  </a:cubicBezTo>
                  <a:cubicBezTo>
                    <a:pt x="13731" y="16921"/>
                    <a:pt x="13705" y="16641"/>
                    <a:pt x="13685" y="16424"/>
                  </a:cubicBezTo>
                  <a:cubicBezTo>
                    <a:pt x="13676" y="16316"/>
                    <a:pt x="13667" y="16224"/>
                    <a:pt x="13662" y="16156"/>
                  </a:cubicBezTo>
                  <a:cubicBezTo>
                    <a:pt x="13660" y="16128"/>
                    <a:pt x="13658" y="16106"/>
                    <a:pt x="13656" y="16087"/>
                  </a:cubicBezTo>
                  <a:cubicBezTo>
                    <a:pt x="13641" y="16084"/>
                    <a:pt x="13641" y="16084"/>
                    <a:pt x="13641" y="16084"/>
                  </a:cubicBezTo>
                  <a:cubicBezTo>
                    <a:pt x="12633" y="16117"/>
                    <a:pt x="12633" y="16117"/>
                    <a:pt x="12633" y="16117"/>
                  </a:cubicBezTo>
                  <a:cubicBezTo>
                    <a:pt x="12630" y="16118"/>
                    <a:pt x="12624" y="16120"/>
                    <a:pt x="12615" y="16123"/>
                  </a:cubicBezTo>
                  <a:cubicBezTo>
                    <a:pt x="12578" y="16137"/>
                    <a:pt x="12508" y="16174"/>
                    <a:pt x="12509" y="16264"/>
                  </a:cubicBezTo>
                  <a:cubicBezTo>
                    <a:pt x="12509" y="16266"/>
                    <a:pt x="12509" y="16268"/>
                    <a:pt x="12509" y="16270"/>
                  </a:cubicBezTo>
                  <a:cubicBezTo>
                    <a:pt x="12509" y="16279"/>
                    <a:pt x="12509" y="16288"/>
                    <a:pt x="12509" y="16297"/>
                  </a:cubicBezTo>
                  <a:cubicBezTo>
                    <a:pt x="12509" y="16356"/>
                    <a:pt x="12501" y="16394"/>
                    <a:pt x="12475" y="16425"/>
                  </a:cubicBezTo>
                  <a:cubicBezTo>
                    <a:pt x="12449" y="16454"/>
                    <a:pt x="12411" y="16472"/>
                    <a:pt x="12354" y="16501"/>
                  </a:cubicBezTo>
                  <a:cubicBezTo>
                    <a:pt x="12236" y="16560"/>
                    <a:pt x="11860" y="16703"/>
                    <a:pt x="11810" y="16722"/>
                  </a:cubicBezTo>
                  <a:cubicBezTo>
                    <a:pt x="12156" y="17529"/>
                    <a:pt x="12156" y="17529"/>
                    <a:pt x="12156" y="17529"/>
                  </a:cubicBezTo>
                  <a:cubicBezTo>
                    <a:pt x="12143" y="17534"/>
                    <a:pt x="12143" y="17534"/>
                    <a:pt x="12143" y="17534"/>
                  </a:cubicBezTo>
                  <a:cubicBezTo>
                    <a:pt x="12974" y="18000"/>
                    <a:pt x="12974" y="18000"/>
                    <a:pt x="12974" y="18000"/>
                  </a:cubicBezTo>
                  <a:cubicBezTo>
                    <a:pt x="12901" y="18000"/>
                    <a:pt x="12901" y="18000"/>
                    <a:pt x="12901" y="18000"/>
                  </a:cubicBezTo>
                  <a:cubicBezTo>
                    <a:pt x="12137" y="17572"/>
                    <a:pt x="12137" y="17572"/>
                    <a:pt x="12137" y="17572"/>
                  </a:cubicBezTo>
                  <a:cubicBezTo>
                    <a:pt x="11838" y="18000"/>
                    <a:pt x="11838" y="18000"/>
                    <a:pt x="11838" y="18000"/>
                  </a:cubicBezTo>
                  <a:cubicBezTo>
                    <a:pt x="11794" y="18000"/>
                    <a:pt x="11794" y="18000"/>
                    <a:pt x="11794" y="18000"/>
                  </a:cubicBezTo>
                  <a:cubicBezTo>
                    <a:pt x="12119" y="17534"/>
                    <a:pt x="12119" y="17534"/>
                    <a:pt x="12119" y="17534"/>
                  </a:cubicBezTo>
                  <a:cubicBezTo>
                    <a:pt x="11706" y="16572"/>
                    <a:pt x="11706" y="16572"/>
                    <a:pt x="11706" y="16572"/>
                  </a:cubicBezTo>
                  <a:cubicBezTo>
                    <a:pt x="11707" y="16572"/>
                    <a:pt x="11701" y="16559"/>
                    <a:pt x="11688" y="16536"/>
                  </a:cubicBezTo>
                  <a:cubicBezTo>
                    <a:pt x="11651" y="16472"/>
                    <a:pt x="11556" y="16331"/>
                    <a:pt x="11373" y="16187"/>
                  </a:cubicBezTo>
                  <a:cubicBezTo>
                    <a:pt x="11345" y="16208"/>
                    <a:pt x="11275" y="16261"/>
                    <a:pt x="11183" y="16333"/>
                  </a:cubicBezTo>
                  <a:cubicBezTo>
                    <a:pt x="11009" y="16468"/>
                    <a:pt x="10754" y="16667"/>
                    <a:pt x="10543" y="16832"/>
                  </a:cubicBezTo>
                  <a:cubicBezTo>
                    <a:pt x="10349" y="16984"/>
                    <a:pt x="10193" y="17106"/>
                    <a:pt x="10168" y="17126"/>
                  </a:cubicBezTo>
                  <a:cubicBezTo>
                    <a:pt x="10175" y="17144"/>
                    <a:pt x="10183" y="17166"/>
                    <a:pt x="10191" y="17191"/>
                  </a:cubicBezTo>
                  <a:cubicBezTo>
                    <a:pt x="10246" y="17362"/>
                    <a:pt x="10320" y="17673"/>
                    <a:pt x="10370" y="17891"/>
                  </a:cubicBezTo>
                  <a:cubicBezTo>
                    <a:pt x="10378" y="17930"/>
                    <a:pt x="10382" y="17966"/>
                    <a:pt x="10383" y="18000"/>
                  </a:cubicBezTo>
                  <a:cubicBezTo>
                    <a:pt x="10347" y="18000"/>
                    <a:pt x="10347" y="18000"/>
                    <a:pt x="10347" y="18000"/>
                  </a:cubicBezTo>
                  <a:cubicBezTo>
                    <a:pt x="10346" y="17969"/>
                    <a:pt x="10343" y="17936"/>
                    <a:pt x="10334" y="17899"/>
                  </a:cubicBezTo>
                  <a:cubicBezTo>
                    <a:pt x="10302" y="17754"/>
                    <a:pt x="10258" y="17568"/>
                    <a:pt x="10216" y="17409"/>
                  </a:cubicBezTo>
                  <a:cubicBezTo>
                    <a:pt x="10195" y="17330"/>
                    <a:pt x="10175" y="17258"/>
                    <a:pt x="10157" y="17202"/>
                  </a:cubicBezTo>
                  <a:cubicBezTo>
                    <a:pt x="10139" y="17147"/>
                    <a:pt x="10122" y="17105"/>
                    <a:pt x="10113" y="17094"/>
                  </a:cubicBezTo>
                  <a:cubicBezTo>
                    <a:pt x="10092" y="17065"/>
                    <a:pt x="10016" y="17002"/>
                    <a:pt x="9929" y="16941"/>
                  </a:cubicBezTo>
                  <a:cubicBezTo>
                    <a:pt x="9903" y="16923"/>
                    <a:pt x="9876" y="16904"/>
                    <a:pt x="9848" y="16887"/>
                  </a:cubicBezTo>
                  <a:cubicBezTo>
                    <a:pt x="9842" y="16897"/>
                    <a:pt x="9824" y="16925"/>
                    <a:pt x="9801" y="16962"/>
                  </a:cubicBezTo>
                  <a:cubicBezTo>
                    <a:pt x="9715" y="17102"/>
                    <a:pt x="9538" y="17388"/>
                    <a:pt x="9395" y="17575"/>
                  </a:cubicBezTo>
                  <a:cubicBezTo>
                    <a:pt x="9235" y="17786"/>
                    <a:pt x="9223" y="17897"/>
                    <a:pt x="9223" y="17926"/>
                  </a:cubicBezTo>
                  <a:cubicBezTo>
                    <a:pt x="9223" y="17928"/>
                    <a:pt x="9223" y="17931"/>
                    <a:pt x="9223" y="17932"/>
                  </a:cubicBezTo>
                  <a:cubicBezTo>
                    <a:pt x="9223" y="17933"/>
                    <a:pt x="9223" y="17933"/>
                    <a:pt x="9223" y="17933"/>
                  </a:cubicBezTo>
                  <a:cubicBezTo>
                    <a:pt x="9223" y="17934"/>
                    <a:pt x="9223" y="17934"/>
                    <a:pt x="9223" y="17934"/>
                  </a:cubicBezTo>
                  <a:cubicBezTo>
                    <a:pt x="9227" y="18000"/>
                    <a:pt x="9227" y="18000"/>
                    <a:pt x="9227" y="18000"/>
                  </a:cubicBezTo>
                  <a:cubicBezTo>
                    <a:pt x="9191" y="18000"/>
                    <a:pt x="9191" y="18000"/>
                    <a:pt x="9191" y="18000"/>
                  </a:cubicBezTo>
                  <a:cubicBezTo>
                    <a:pt x="9187" y="17938"/>
                    <a:pt x="9187" y="17938"/>
                    <a:pt x="9187" y="17938"/>
                  </a:cubicBezTo>
                  <a:cubicBezTo>
                    <a:pt x="9187" y="17936"/>
                    <a:pt x="9187" y="17932"/>
                    <a:pt x="9187" y="17926"/>
                  </a:cubicBezTo>
                  <a:cubicBezTo>
                    <a:pt x="9187" y="17887"/>
                    <a:pt x="9203" y="17768"/>
                    <a:pt x="9366" y="17554"/>
                  </a:cubicBezTo>
                  <a:cubicBezTo>
                    <a:pt x="9463" y="17427"/>
                    <a:pt x="9576" y="17254"/>
                    <a:pt x="9665" y="17112"/>
                  </a:cubicBezTo>
                  <a:cubicBezTo>
                    <a:pt x="9710" y="17042"/>
                    <a:pt x="9748" y="16979"/>
                    <a:pt x="9776" y="16934"/>
                  </a:cubicBezTo>
                  <a:cubicBezTo>
                    <a:pt x="9790" y="16911"/>
                    <a:pt x="9801" y="16893"/>
                    <a:pt x="9809" y="16880"/>
                  </a:cubicBezTo>
                  <a:cubicBezTo>
                    <a:pt x="9813" y="16875"/>
                    <a:pt x="9815" y="16871"/>
                    <a:pt x="9818" y="16868"/>
                  </a:cubicBezTo>
                  <a:cubicBezTo>
                    <a:pt x="9765" y="16835"/>
                    <a:pt x="9713" y="16807"/>
                    <a:pt x="9672" y="16790"/>
                  </a:cubicBezTo>
                  <a:cubicBezTo>
                    <a:pt x="9527" y="16729"/>
                    <a:pt x="9340" y="16688"/>
                    <a:pt x="9184" y="16643"/>
                  </a:cubicBezTo>
                  <a:cubicBezTo>
                    <a:pt x="9041" y="16601"/>
                    <a:pt x="8665" y="16375"/>
                    <a:pt x="8584" y="16325"/>
                  </a:cubicBezTo>
                  <a:cubicBezTo>
                    <a:pt x="7677" y="17970"/>
                    <a:pt x="7677" y="17970"/>
                    <a:pt x="7677" y="17970"/>
                  </a:cubicBezTo>
                  <a:cubicBezTo>
                    <a:pt x="7727" y="18000"/>
                    <a:pt x="7727" y="18000"/>
                    <a:pt x="7727" y="18000"/>
                  </a:cubicBezTo>
                  <a:cubicBezTo>
                    <a:pt x="7660" y="18000"/>
                    <a:pt x="7660" y="18000"/>
                    <a:pt x="7660" y="18000"/>
                  </a:cubicBezTo>
                  <a:cubicBezTo>
                    <a:pt x="7659" y="18002"/>
                    <a:pt x="7659" y="18002"/>
                    <a:pt x="7659" y="18002"/>
                  </a:cubicBezTo>
                  <a:cubicBezTo>
                    <a:pt x="7657" y="18000"/>
                    <a:pt x="7657" y="18000"/>
                    <a:pt x="7657" y="18000"/>
                  </a:cubicBezTo>
                  <a:cubicBezTo>
                    <a:pt x="7619" y="18000"/>
                    <a:pt x="7619" y="18000"/>
                    <a:pt x="7619" y="18000"/>
                  </a:cubicBezTo>
                  <a:cubicBezTo>
                    <a:pt x="7628" y="17983"/>
                    <a:pt x="7628" y="17983"/>
                    <a:pt x="7628" y="17983"/>
                  </a:cubicBezTo>
                  <a:cubicBezTo>
                    <a:pt x="7609" y="17972"/>
                    <a:pt x="7609" y="17972"/>
                    <a:pt x="7609" y="17972"/>
                  </a:cubicBezTo>
                  <a:cubicBezTo>
                    <a:pt x="7608" y="17972"/>
                    <a:pt x="7579" y="17956"/>
                    <a:pt x="7530" y="17933"/>
                  </a:cubicBezTo>
                  <a:cubicBezTo>
                    <a:pt x="7392" y="17868"/>
                    <a:pt x="7097" y="17740"/>
                    <a:pt x="6833" y="17698"/>
                  </a:cubicBezTo>
                  <a:cubicBezTo>
                    <a:pt x="6826" y="17735"/>
                    <a:pt x="6805" y="17862"/>
                    <a:pt x="6782" y="18000"/>
                  </a:cubicBezTo>
                  <a:cubicBezTo>
                    <a:pt x="6745" y="18000"/>
                    <a:pt x="6745" y="18000"/>
                    <a:pt x="6745" y="18000"/>
                  </a:cubicBezTo>
                  <a:cubicBezTo>
                    <a:pt x="6757" y="17927"/>
                    <a:pt x="6769" y="17856"/>
                    <a:pt x="6779" y="17800"/>
                  </a:cubicBezTo>
                  <a:cubicBezTo>
                    <a:pt x="6785" y="17764"/>
                    <a:pt x="6790" y="17735"/>
                    <a:pt x="6794" y="17713"/>
                  </a:cubicBezTo>
                  <a:cubicBezTo>
                    <a:pt x="6795" y="17705"/>
                    <a:pt x="6796" y="17699"/>
                    <a:pt x="6797" y="17693"/>
                  </a:cubicBezTo>
                  <a:cubicBezTo>
                    <a:pt x="6785" y="17691"/>
                    <a:pt x="6772" y="17690"/>
                    <a:pt x="6759" y="17689"/>
                  </a:cubicBezTo>
                  <a:cubicBezTo>
                    <a:pt x="6379" y="17652"/>
                    <a:pt x="6292" y="17597"/>
                    <a:pt x="6185" y="17570"/>
                  </a:cubicBezTo>
                  <a:cubicBezTo>
                    <a:pt x="6075" y="17541"/>
                    <a:pt x="5867" y="17488"/>
                    <a:pt x="5709" y="17456"/>
                  </a:cubicBezTo>
                  <a:cubicBezTo>
                    <a:pt x="5630" y="17440"/>
                    <a:pt x="5468" y="17412"/>
                    <a:pt x="5327" y="17388"/>
                  </a:cubicBezTo>
                  <a:cubicBezTo>
                    <a:pt x="5211" y="17369"/>
                    <a:pt x="5108" y="17353"/>
                    <a:pt x="5076" y="17347"/>
                  </a:cubicBezTo>
                  <a:cubicBezTo>
                    <a:pt x="5086" y="17435"/>
                    <a:pt x="5089" y="17576"/>
                    <a:pt x="5089" y="17732"/>
                  </a:cubicBezTo>
                  <a:cubicBezTo>
                    <a:pt x="5089" y="17820"/>
                    <a:pt x="5088" y="17912"/>
                    <a:pt x="5086" y="18000"/>
                  </a:cubicBezTo>
                  <a:cubicBezTo>
                    <a:pt x="5050" y="18000"/>
                    <a:pt x="5050" y="18000"/>
                    <a:pt x="5050" y="18000"/>
                  </a:cubicBezTo>
                  <a:cubicBezTo>
                    <a:pt x="5052" y="17912"/>
                    <a:pt x="5053" y="17820"/>
                    <a:pt x="5053" y="17732"/>
                  </a:cubicBezTo>
                  <a:cubicBezTo>
                    <a:pt x="5053" y="17533"/>
                    <a:pt x="5047" y="17351"/>
                    <a:pt x="5030" y="17296"/>
                  </a:cubicBezTo>
                  <a:cubicBezTo>
                    <a:pt x="5013" y="17239"/>
                    <a:pt x="4989" y="17210"/>
                    <a:pt x="4960" y="17193"/>
                  </a:cubicBezTo>
                  <a:cubicBezTo>
                    <a:pt x="4932" y="17176"/>
                    <a:pt x="4896" y="17171"/>
                    <a:pt x="4854" y="17171"/>
                  </a:cubicBezTo>
                  <a:cubicBezTo>
                    <a:pt x="4823" y="17171"/>
                    <a:pt x="4790" y="17173"/>
                    <a:pt x="4754" y="17174"/>
                  </a:cubicBezTo>
                  <a:cubicBezTo>
                    <a:pt x="4684" y="17177"/>
                    <a:pt x="4592" y="17181"/>
                    <a:pt x="4500" y="17181"/>
                  </a:cubicBezTo>
                  <a:cubicBezTo>
                    <a:pt x="4495" y="17181"/>
                    <a:pt x="4489" y="17181"/>
                    <a:pt x="4484" y="17181"/>
                  </a:cubicBezTo>
                  <a:cubicBezTo>
                    <a:pt x="4484" y="17183"/>
                    <a:pt x="4484" y="17183"/>
                    <a:pt x="4484" y="17183"/>
                  </a:cubicBezTo>
                  <a:cubicBezTo>
                    <a:pt x="4481" y="17183"/>
                    <a:pt x="4478" y="17182"/>
                    <a:pt x="4475" y="17181"/>
                  </a:cubicBezTo>
                  <a:cubicBezTo>
                    <a:pt x="4403" y="17180"/>
                    <a:pt x="4332" y="17177"/>
                    <a:pt x="4273" y="17166"/>
                  </a:cubicBezTo>
                  <a:cubicBezTo>
                    <a:pt x="4204" y="17154"/>
                    <a:pt x="4130" y="17138"/>
                    <a:pt x="4073" y="17084"/>
                  </a:cubicBezTo>
                  <a:cubicBezTo>
                    <a:pt x="4028" y="17041"/>
                    <a:pt x="3996" y="16976"/>
                    <a:pt x="3985" y="16878"/>
                  </a:cubicBezTo>
                  <a:cubicBezTo>
                    <a:pt x="3973" y="16877"/>
                    <a:pt x="3973" y="16877"/>
                    <a:pt x="3973" y="16877"/>
                  </a:cubicBezTo>
                  <a:cubicBezTo>
                    <a:pt x="3698" y="16925"/>
                    <a:pt x="3698" y="16925"/>
                    <a:pt x="3698" y="16925"/>
                  </a:cubicBezTo>
                  <a:cubicBezTo>
                    <a:pt x="3842" y="17740"/>
                    <a:pt x="3842" y="17740"/>
                    <a:pt x="3842" y="17740"/>
                  </a:cubicBezTo>
                  <a:cubicBezTo>
                    <a:pt x="4325" y="17793"/>
                    <a:pt x="4325" y="17793"/>
                    <a:pt x="4325" y="17793"/>
                  </a:cubicBezTo>
                  <a:cubicBezTo>
                    <a:pt x="4304" y="18000"/>
                    <a:pt x="4304" y="18000"/>
                    <a:pt x="4304" y="18000"/>
                  </a:cubicBezTo>
                  <a:cubicBezTo>
                    <a:pt x="4278" y="18000"/>
                    <a:pt x="4278" y="18000"/>
                    <a:pt x="4278" y="18000"/>
                  </a:cubicBezTo>
                  <a:cubicBezTo>
                    <a:pt x="4296" y="17817"/>
                    <a:pt x="4296" y="17817"/>
                    <a:pt x="4296" y="17817"/>
                  </a:cubicBezTo>
                  <a:cubicBezTo>
                    <a:pt x="3820" y="17764"/>
                    <a:pt x="3820" y="17764"/>
                    <a:pt x="3820" y="17764"/>
                  </a:cubicBezTo>
                  <a:cubicBezTo>
                    <a:pt x="3672" y="16929"/>
                    <a:pt x="3672" y="16929"/>
                    <a:pt x="3672" y="16929"/>
                  </a:cubicBezTo>
                  <a:cubicBezTo>
                    <a:pt x="2630" y="17108"/>
                    <a:pt x="2630" y="17108"/>
                    <a:pt x="2630" y="17108"/>
                  </a:cubicBezTo>
                  <a:cubicBezTo>
                    <a:pt x="2634" y="17397"/>
                    <a:pt x="2642" y="17646"/>
                    <a:pt x="2645" y="17725"/>
                  </a:cubicBezTo>
                  <a:cubicBezTo>
                    <a:pt x="2647" y="17738"/>
                    <a:pt x="2647" y="17738"/>
                    <a:pt x="2647" y="17738"/>
                  </a:cubicBezTo>
                  <a:cubicBezTo>
                    <a:pt x="2648" y="17738"/>
                    <a:pt x="2650" y="17738"/>
                    <a:pt x="2651" y="17738"/>
                  </a:cubicBezTo>
                  <a:cubicBezTo>
                    <a:pt x="2813" y="17738"/>
                    <a:pt x="2949" y="17850"/>
                    <a:pt x="2986" y="18000"/>
                  </a:cubicBezTo>
                  <a:cubicBezTo>
                    <a:pt x="2860" y="18000"/>
                    <a:pt x="2860" y="18000"/>
                    <a:pt x="2860" y="18000"/>
                  </a:cubicBezTo>
                  <a:cubicBezTo>
                    <a:pt x="2827" y="17917"/>
                    <a:pt x="2746" y="17858"/>
                    <a:pt x="2651" y="17858"/>
                  </a:cubicBezTo>
                  <a:cubicBezTo>
                    <a:pt x="2556" y="17858"/>
                    <a:pt x="2475" y="17917"/>
                    <a:pt x="2442" y="18000"/>
                  </a:cubicBezTo>
                  <a:cubicBezTo>
                    <a:pt x="2316" y="18000"/>
                    <a:pt x="2316" y="18000"/>
                    <a:pt x="2316" y="18000"/>
                  </a:cubicBezTo>
                  <a:cubicBezTo>
                    <a:pt x="2318" y="17990"/>
                    <a:pt x="2321" y="17980"/>
                    <a:pt x="2325" y="17970"/>
                  </a:cubicBezTo>
                  <a:cubicBezTo>
                    <a:pt x="2282" y="17956"/>
                    <a:pt x="2211" y="17936"/>
                    <a:pt x="2115" y="17916"/>
                  </a:cubicBezTo>
                  <a:cubicBezTo>
                    <a:pt x="1949" y="17882"/>
                    <a:pt x="1777" y="17869"/>
                    <a:pt x="1604" y="17836"/>
                  </a:cubicBezTo>
                  <a:cubicBezTo>
                    <a:pt x="1422" y="17800"/>
                    <a:pt x="1186" y="17722"/>
                    <a:pt x="906" y="17615"/>
                  </a:cubicBezTo>
                  <a:cubicBezTo>
                    <a:pt x="897" y="17612"/>
                    <a:pt x="889" y="17608"/>
                    <a:pt x="880" y="17604"/>
                  </a:cubicBezTo>
                  <a:cubicBezTo>
                    <a:pt x="883" y="17606"/>
                    <a:pt x="887" y="17609"/>
                    <a:pt x="890" y="17611"/>
                  </a:cubicBezTo>
                  <a:cubicBezTo>
                    <a:pt x="1003" y="17686"/>
                    <a:pt x="1128" y="17766"/>
                    <a:pt x="1208" y="17812"/>
                  </a:cubicBezTo>
                  <a:cubicBezTo>
                    <a:pt x="1343" y="17890"/>
                    <a:pt x="1444" y="17956"/>
                    <a:pt x="1565" y="18000"/>
                  </a:cubicBezTo>
                  <a:cubicBezTo>
                    <a:pt x="1302" y="18000"/>
                    <a:pt x="1302" y="18000"/>
                    <a:pt x="1302" y="18000"/>
                  </a:cubicBezTo>
                  <a:cubicBezTo>
                    <a:pt x="1253" y="17972"/>
                    <a:pt x="1204" y="17942"/>
                    <a:pt x="1151" y="17912"/>
                  </a:cubicBezTo>
                  <a:cubicBezTo>
                    <a:pt x="1066" y="17863"/>
                    <a:pt x="941" y="17782"/>
                    <a:pt x="827" y="17707"/>
                  </a:cubicBezTo>
                  <a:cubicBezTo>
                    <a:pt x="712" y="17631"/>
                    <a:pt x="612" y="17561"/>
                    <a:pt x="573" y="17531"/>
                  </a:cubicBezTo>
                  <a:cubicBezTo>
                    <a:pt x="565" y="17524"/>
                    <a:pt x="528" y="17499"/>
                    <a:pt x="481" y="17465"/>
                  </a:cubicBezTo>
                  <a:cubicBezTo>
                    <a:pt x="442" y="17437"/>
                    <a:pt x="394" y="17401"/>
                    <a:pt x="345" y="17359"/>
                  </a:cubicBezTo>
                  <a:cubicBezTo>
                    <a:pt x="339" y="17375"/>
                    <a:pt x="339" y="17375"/>
                    <a:pt x="339" y="17375"/>
                  </a:cubicBezTo>
                  <a:cubicBezTo>
                    <a:pt x="360" y="17478"/>
                    <a:pt x="388" y="17640"/>
                    <a:pt x="396" y="17767"/>
                  </a:cubicBezTo>
                  <a:cubicBezTo>
                    <a:pt x="402" y="17854"/>
                    <a:pt x="409" y="17931"/>
                    <a:pt x="415" y="18000"/>
                  </a:cubicBezTo>
                  <a:cubicBezTo>
                    <a:pt x="389" y="18000"/>
                    <a:pt x="389" y="18000"/>
                    <a:pt x="389" y="18000"/>
                  </a:cubicBezTo>
                  <a:cubicBezTo>
                    <a:pt x="383" y="17932"/>
                    <a:pt x="375" y="17855"/>
                    <a:pt x="370" y="17769"/>
                  </a:cubicBezTo>
                  <a:cubicBezTo>
                    <a:pt x="361" y="17616"/>
                    <a:pt x="320" y="17409"/>
                    <a:pt x="302" y="17321"/>
                  </a:cubicBezTo>
                  <a:cubicBezTo>
                    <a:pt x="201" y="17231"/>
                    <a:pt x="105" y="17123"/>
                    <a:pt x="44" y="17063"/>
                  </a:cubicBezTo>
                  <a:cubicBezTo>
                    <a:pt x="34" y="17052"/>
                    <a:pt x="21" y="17039"/>
                    <a:pt x="7" y="17024"/>
                  </a:cubicBezTo>
                  <a:cubicBezTo>
                    <a:pt x="7" y="16944"/>
                    <a:pt x="7" y="16944"/>
                    <a:pt x="7" y="16944"/>
                  </a:cubicBezTo>
                  <a:cubicBezTo>
                    <a:pt x="7" y="16854"/>
                    <a:pt x="7" y="16854"/>
                    <a:pt x="7" y="16854"/>
                  </a:cubicBezTo>
                  <a:cubicBezTo>
                    <a:pt x="7" y="16788"/>
                    <a:pt x="7" y="16788"/>
                    <a:pt x="7" y="16788"/>
                  </a:cubicBezTo>
                  <a:cubicBezTo>
                    <a:pt x="78" y="16854"/>
                    <a:pt x="157" y="16925"/>
                    <a:pt x="240" y="16998"/>
                  </a:cubicBezTo>
                  <a:cubicBezTo>
                    <a:pt x="367" y="17109"/>
                    <a:pt x="503" y="17221"/>
                    <a:pt x="628" y="17314"/>
                  </a:cubicBezTo>
                  <a:cubicBezTo>
                    <a:pt x="752" y="17406"/>
                    <a:pt x="868" y="17478"/>
                    <a:pt x="947" y="17508"/>
                  </a:cubicBezTo>
                  <a:cubicBezTo>
                    <a:pt x="1224" y="17613"/>
                    <a:pt x="1457" y="17690"/>
                    <a:pt x="1626" y="17723"/>
                  </a:cubicBezTo>
                  <a:cubicBezTo>
                    <a:pt x="1790" y="17755"/>
                    <a:pt x="1963" y="17768"/>
                    <a:pt x="2138" y="17803"/>
                  </a:cubicBezTo>
                  <a:cubicBezTo>
                    <a:pt x="2257" y="17828"/>
                    <a:pt x="2339" y="17853"/>
                    <a:pt x="2381" y="17868"/>
                  </a:cubicBezTo>
                  <a:cubicBezTo>
                    <a:pt x="2435" y="17800"/>
                    <a:pt x="2514" y="17753"/>
                    <a:pt x="2604" y="17741"/>
                  </a:cubicBezTo>
                  <a:cubicBezTo>
                    <a:pt x="2605" y="17741"/>
                    <a:pt x="2605" y="17740"/>
                    <a:pt x="2605" y="17740"/>
                  </a:cubicBezTo>
                  <a:cubicBezTo>
                    <a:pt x="2605" y="17740"/>
                    <a:pt x="2606" y="17714"/>
                    <a:pt x="2607" y="17714"/>
                  </a:cubicBezTo>
                  <a:cubicBezTo>
                    <a:pt x="2607" y="17714"/>
                    <a:pt x="2608" y="17714"/>
                    <a:pt x="2608" y="17714"/>
                  </a:cubicBezTo>
                  <a:cubicBezTo>
                    <a:pt x="2605" y="17603"/>
                    <a:pt x="2595" y="17268"/>
                    <a:pt x="2591" y="16920"/>
                  </a:cubicBezTo>
                  <a:cubicBezTo>
                    <a:pt x="2591" y="16855"/>
                    <a:pt x="2590" y="16791"/>
                    <a:pt x="2590" y="16727"/>
                  </a:cubicBezTo>
                  <a:cubicBezTo>
                    <a:pt x="2564" y="16727"/>
                    <a:pt x="2516" y="16726"/>
                    <a:pt x="2461" y="16722"/>
                  </a:cubicBezTo>
                  <a:cubicBezTo>
                    <a:pt x="2380" y="16717"/>
                    <a:pt x="2290" y="16707"/>
                    <a:pt x="2239" y="16685"/>
                  </a:cubicBezTo>
                  <a:cubicBezTo>
                    <a:pt x="2143" y="16642"/>
                    <a:pt x="1990" y="16488"/>
                    <a:pt x="1943" y="16448"/>
                  </a:cubicBezTo>
                  <a:cubicBezTo>
                    <a:pt x="1942" y="16448"/>
                    <a:pt x="1839" y="16351"/>
                    <a:pt x="1735" y="16253"/>
                  </a:cubicBezTo>
                  <a:cubicBezTo>
                    <a:pt x="1358" y="16717"/>
                    <a:pt x="1358" y="16717"/>
                    <a:pt x="1358" y="16717"/>
                  </a:cubicBezTo>
                  <a:cubicBezTo>
                    <a:pt x="1356" y="16718"/>
                    <a:pt x="1356" y="16718"/>
                    <a:pt x="1356" y="16718"/>
                  </a:cubicBezTo>
                  <a:cubicBezTo>
                    <a:pt x="1356" y="16718"/>
                    <a:pt x="1356" y="16719"/>
                    <a:pt x="1354" y="16721"/>
                  </a:cubicBezTo>
                  <a:cubicBezTo>
                    <a:pt x="1347" y="16727"/>
                    <a:pt x="1335" y="16743"/>
                    <a:pt x="1335" y="16762"/>
                  </a:cubicBezTo>
                  <a:cubicBezTo>
                    <a:pt x="1335" y="16777"/>
                    <a:pt x="1342" y="16798"/>
                    <a:pt x="1376" y="16826"/>
                  </a:cubicBezTo>
                  <a:cubicBezTo>
                    <a:pt x="1470" y="16900"/>
                    <a:pt x="1642" y="16982"/>
                    <a:pt x="1707" y="17024"/>
                  </a:cubicBezTo>
                  <a:cubicBezTo>
                    <a:pt x="1770" y="17064"/>
                    <a:pt x="1829" y="17098"/>
                    <a:pt x="1860" y="17159"/>
                  </a:cubicBezTo>
                  <a:cubicBezTo>
                    <a:pt x="1874" y="17189"/>
                    <a:pt x="1884" y="17219"/>
                    <a:pt x="1891" y="17243"/>
                  </a:cubicBezTo>
                  <a:cubicBezTo>
                    <a:pt x="1895" y="17254"/>
                    <a:pt x="1898" y="17264"/>
                    <a:pt x="1901" y="17271"/>
                  </a:cubicBezTo>
                  <a:cubicBezTo>
                    <a:pt x="1902" y="17274"/>
                    <a:pt x="1903" y="17277"/>
                    <a:pt x="1903" y="17278"/>
                  </a:cubicBezTo>
                  <a:cubicBezTo>
                    <a:pt x="1903" y="17278"/>
                    <a:pt x="1903" y="17278"/>
                    <a:pt x="1903" y="17278"/>
                  </a:cubicBezTo>
                  <a:cubicBezTo>
                    <a:pt x="1894" y="17285"/>
                    <a:pt x="1894" y="17285"/>
                    <a:pt x="1894" y="17285"/>
                  </a:cubicBezTo>
                  <a:cubicBezTo>
                    <a:pt x="1883" y="17307"/>
                    <a:pt x="1883" y="17307"/>
                    <a:pt x="1883" y="17307"/>
                  </a:cubicBezTo>
                  <a:cubicBezTo>
                    <a:pt x="1870" y="17298"/>
                    <a:pt x="1871" y="17292"/>
                    <a:pt x="1867" y="17284"/>
                  </a:cubicBezTo>
                  <a:cubicBezTo>
                    <a:pt x="1858" y="17259"/>
                    <a:pt x="1847" y="17215"/>
                    <a:pt x="1828" y="17176"/>
                  </a:cubicBezTo>
                  <a:cubicBezTo>
                    <a:pt x="1803" y="17126"/>
                    <a:pt x="1752" y="17095"/>
                    <a:pt x="1688" y="17054"/>
                  </a:cubicBezTo>
                  <a:cubicBezTo>
                    <a:pt x="1627" y="17015"/>
                    <a:pt x="1452" y="16932"/>
                    <a:pt x="1354" y="16854"/>
                  </a:cubicBezTo>
                  <a:cubicBezTo>
                    <a:pt x="1314" y="16823"/>
                    <a:pt x="1299" y="16790"/>
                    <a:pt x="1299" y="16762"/>
                  </a:cubicBezTo>
                  <a:cubicBezTo>
                    <a:pt x="1299" y="16722"/>
                    <a:pt x="1325" y="16698"/>
                    <a:pt x="1332" y="16692"/>
                  </a:cubicBezTo>
                  <a:cubicBezTo>
                    <a:pt x="1709" y="16228"/>
                    <a:pt x="1709" y="16228"/>
                    <a:pt x="1709" y="16228"/>
                  </a:cubicBezTo>
                  <a:cubicBezTo>
                    <a:pt x="1636" y="16159"/>
                    <a:pt x="1566" y="16094"/>
                    <a:pt x="1537" y="16065"/>
                  </a:cubicBezTo>
                  <a:cubicBezTo>
                    <a:pt x="1500" y="16029"/>
                    <a:pt x="1422" y="15962"/>
                    <a:pt x="1354" y="15903"/>
                  </a:cubicBezTo>
                  <a:cubicBezTo>
                    <a:pt x="1306" y="15862"/>
                    <a:pt x="1262" y="15823"/>
                    <a:pt x="1241" y="15804"/>
                  </a:cubicBezTo>
                  <a:cubicBezTo>
                    <a:pt x="1241" y="15804"/>
                    <a:pt x="1241" y="15804"/>
                    <a:pt x="1241" y="15804"/>
                  </a:cubicBezTo>
                  <a:cubicBezTo>
                    <a:pt x="1236" y="15801"/>
                    <a:pt x="1236" y="15801"/>
                    <a:pt x="1236" y="15801"/>
                  </a:cubicBezTo>
                  <a:cubicBezTo>
                    <a:pt x="1236" y="15800"/>
                    <a:pt x="1199" y="15765"/>
                    <a:pt x="1150" y="15725"/>
                  </a:cubicBezTo>
                  <a:cubicBezTo>
                    <a:pt x="1102" y="15684"/>
                    <a:pt x="1043" y="15638"/>
                    <a:pt x="1005" y="15618"/>
                  </a:cubicBezTo>
                  <a:cubicBezTo>
                    <a:pt x="921" y="15575"/>
                    <a:pt x="858" y="15540"/>
                    <a:pt x="752" y="15510"/>
                  </a:cubicBezTo>
                  <a:cubicBezTo>
                    <a:pt x="645" y="15481"/>
                    <a:pt x="504" y="15447"/>
                    <a:pt x="390" y="15431"/>
                  </a:cubicBezTo>
                  <a:cubicBezTo>
                    <a:pt x="335" y="15423"/>
                    <a:pt x="293" y="15417"/>
                    <a:pt x="265" y="15414"/>
                  </a:cubicBezTo>
                  <a:cubicBezTo>
                    <a:pt x="251" y="15412"/>
                    <a:pt x="241" y="15410"/>
                    <a:pt x="234" y="15409"/>
                  </a:cubicBezTo>
                  <a:cubicBezTo>
                    <a:pt x="233" y="15409"/>
                    <a:pt x="232" y="15409"/>
                    <a:pt x="232" y="15409"/>
                  </a:cubicBezTo>
                  <a:cubicBezTo>
                    <a:pt x="230" y="15410"/>
                    <a:pt x="228" y="15410"/>
                    <a:pt x="227" y="15411"/>
                  </a:cubicBezTo>
                  <a:cubicBezTo>
                    <a:pt x="151" y="15511"/>
                    <a:pt x="98" y="15577"/>
                    <a:pt x="98" y="15577"/>
                  </a:cubicBezTo>
                  <a:cubicBezTo>
                    <a:pt x="98" y="15577"/>
                    <a:pt x="98" y="15577"/>
                    <a:pt x="98" y="15577"/>
                  </a:cubicBezTo>
                  <a:cubicBezTo>
                    <a:pt x="7" y="15694"/>
                    <a:pt x="7" y="15694"/>
                    <a:pt x="7" y="15694"/>
                  </a:cubicBezTo>
                  <a:cubicBezTo>
                    <a:pt x="7" y="15635"/>
                    <a:pt x="7" y="15635"/>
                    <a:pt x="7" y="15635"/>
                  </a:cubicBezTo>
                  <a:cubicBezTo>
                    <a:pt x="61" y="15566"/>
                    <a:pt x="61" y="15566"/>
                    <a:pt x="61" y="15566"/>
                  </a:cubicBezTo>
                  <a:cubicBezTo>
                    <a:pt x="60" y="15566"/>
                    <a:pt x="60" y="15566"/>
                    <a:pt x="60" y="15566"/>
                  </a:cubicBezTo>
                  <a:cubicBezTo>
                    <a:pt x="60" y="15566"/>
                    <a:pt x="125" y="15483"/>
                    <a:pt x="205" y="15379"/>
                  </a:cubicBezTo>
                  <a:cubicBezTo>
                    <a:pt x="182" y="15359"/>
                    <a:pt x="108" y="15295"/>
                    <a:pt x="7" y="15209"/>
                  </a:cubicBezTo>
                  <a:cubicBezTo>
                    <a:pt x="7" y="15162"/>
                    <a:pt x="7" y="15162"/>
                    <a:pt x="7" y="15162"/>
                  </a:cubicBezTo>
                  <a:cubicBezTo>
                    <a:pt x="117" y="15256"/>
                    <a:pt x="200" y="15327"/>
                    <a:pt x="227" y="15350"/>
                  </a:cubicBezTo>
                  <a:cubicBezTo>
                    <a:pt x="247" y="15324"/>
                    <a:pt x="268" y="15297"/>
                    <a:pt x="288" y="15270"/>
                  </a:cubicBezTo>
                  <a:cubicBezTo>
                    <a:pt x="401" y="15122"/>
                    <a:pt x="520" y="14965"/>
                    <a:pt x="542" y="14933"/>
                  </a:cubicBezTo>
                  <a:cubicBezTo>
                    <a:pt x="581" y="14877"/>
                    <a:pt x="620" y="14762"/>
                    <a:pt x="640" y="14703"/>
                  </a:cubicBezTo>
                  <a:cubicBezTo>
                    <a:pt x="634" y="14698"/>
                    <a:pt x="625" y="14691"/>
                    <a:pt x="614" y="14683"/>
                  </a:cubicBezTo>
                  <a:cubicBezTo>
                    <a:pt x="560" y="14641"/>
                    <a:pt x="470" y="14574"/>
                    <a:pt x="470" y="14574"/>
                  </a:cubicBezTo>
                  <a:cubicBezTo>
                    <a:pt x="470" y="14572"/>
                    <a:pt x="470" y="14572"/>
                    <a:pt x="470" y="14572"/>
                  </a:cubicBezTo>
                  <a:cubicBezTo>
                    <a:pt x="7" y="14206"/>
                    <a:pt x="7" y="14206"/>
                    <a:pt x="7" y="14206"/>
                  </a:cubicBezTo>
                  <a:cubicBezTo>
                    <a:pt x="7" y="14169"/>
                    <a:pt x="7" y="14169"/>
                    <a:pt x="7" y="14169"/>
                  </a:cubicBezTo>
                  <a:cubicBezTo>
                    <a:pt x="5" y="14168"/>
                    <a:pt x="5" y="14168"/>
                    <a:pt x="5" y="14168"/>
                  </a:cubicBezTo>
                  <a:cubicBezTo>
                    <a:pt x="5" y="14168"/>
                    <a:pt x="5" y="14168"/>
                    <a:pt x="5" y="14168"/>
                  </a:cubicBezTo>
                  <a:cubicBezTo>
                    <a:pt x="6" y="14166"/>
                    <a:pt x="6" y="14166"/>
                    <a:pt x="6" y="14166"/>
                  </a:cubicBezTo>
                  <a:cubicBezTo>
                    <a:pt x="0" y="14159"/>
                    <a:pt x="0" y="14159"/>
                    <a:pt x="0" y="14159"/>
                  </a:cubicBezTo>
                  <a:cubicBezTo>
                    <a:pt x="2" y="14156"/>
                    <a:pt x="2" y="14156"/>
                    <a:pt x="2" y="14156"/>
                  </a:cubicBezTo>
                  <a:cubicBezTo>
                    <a:pt x="7" y="14150"/>
                    <a:pt x="7" y="14150"/>
                    <a:pt x="7" y="14150"/>
                  </a:cubicBezTo>
                  <a:cubicBezTo>
                    <a:pt x="15" y="14142"/>
                    <a:pt x="15" y="14142"/>
                    <a:pt x="15" y="14142"/>
                  </a:cubicBezTo>
                  <a:cubicBezTo>
                    <a:pt x="211" y="13644"/>
                    <a:pt x="211" y="13644"/>
                    <a:pt x="211" y="13644"/>
                  </a:cubicBezTo>
                  <a:cubicBezTo>
                    <a:pt x="122" y="13484"/>
                    <a:pt x="122" y="13484"/>
                    <a:pt x="122" y="13484"/>
                  </a:cubicBezTo>
                  <a:cubicBezTo>
                    <a:pt x="242" y="13300"/>
                    <a:pt x="242" y="13300"/>
                    <a:pt x="242" y="13300"/>
                  </a:cubicBezTo>
                  <a:cubicBezTo>
                    <a:pt x="242" y="13298"/>
                    <a:pt x="242" y="13298"/>
                    <a:pt x="242" y="13298"/>
                  </a:cubicBezTo>
                  <a:cubicBezTo>
                    <a:pt x="242" y="13269"/>
                    <a:pt x="243" y="13139"/>
                    <a:pt x="265" y="13019"/>
                  </a:cubicBezTo>
                  <a:cubicBezTo>
                    <a:pt x="269" y="12998"/>
                    <a:pt x="270" y="12978"/>
                    <a:pt x="270" y="12959"/>
                  </a:cubicBezTo>
                  <a:cubicBezTo>
                    <a:pt x="270" y="12855"/>
                    <a:pt x="222" y="12769"/>
                    <a:pt x="188" y="12726"/>
                  </a:cubicBezTo>
                  <a:cubicBezTo>
                    <a:pt x="169" y="12700"/>
                    <a:pt x="146" y="12680"/>
                    <a:pt x="127" y="12667"/>
                  </a:cubicBezTo>
                  <a:cubicBezTo>
                    <a:pt x="118" y="12661"/>
                    <a:pt x="109" y="12656"/>
                    <a:pt x="103" y="12653"/>
                  </a:cubicBezTo>
                  <a:cubicBezTo>
                    <a:pt x="99" y="12651"/>
                    <a:pt x="96" y="12650"/>
                    <a:pt x="94" y="12649"/>
                  </a:cubicBezTo>
                  <a:cubicBezTo>
                    <a:pt x="93" y="12649"/>
                    <a:pt x="93" y="12649"/>
                    <a:pt x="92" y="12649"/>
                  </a:cubicBezTo>
                  <a:cubicBezTo>
                    <a:pt x="92" y="12649"/>
                    <a:pt x="92" y="12649"/>
                    <a:pt x="92" y="12649"/>
                  </a:cubicBezTo>
                  <a:cubicBezTo>
                    <a:pt x="86" y="12648"/>
                    <a:pt x="68" y="12646"/>
                    <a:pt x="39" y="12641"/>
                  </a:cubicBezTo>
                  <a:cubicBezTo>
                    <a:pt x="30" y="12639"/>
                    <a:pt x="19" y="12638"/>
                    <a:pt x="7" y="12636"/>
                  </a:cubicBezTo>
                  <a:cubicBezTo>
                    <a:pt x="7" y="12609"/>
                    <a:pt x="7" y="12609"/>
                    <a:pt x="7" y="12609"/>
                  </a:cubicBezTo>
                  <a:cubicBezTo>
                    <a:pt x="20" y="12611"/>
                    <a:pt x="33" y="12613"/>
                    <a:pt x="44" y="12615"/>
                  </a:cubicBezTo>
                  <a:cubicBezTo>
                    <a:pt x="57" y="12617"/>
                    <a:pt x="69" y="12619"/>
                    <a:pt x="78" y="12621"/>
                  </a:cubicBezTo>
                  <a:cubicBezTo>
                    <a:pt x="82" y="12621"/>
                    <a:pt x="86" y="12622"/>
                    <a:pt x="89" y="12622"/>
                  </a:cubicBezTo>
                  <a:cubicBezTo>
                    <a:pt x="90" y="12622"/>
                    <a:pt x="91" y="12622"/>
                    <a:pt x="92" y="12622"/>
                  </a:cubicBezTo>
                  <a:cubicBezTo>
                    <a:pt x="92" y="12622"/>
                    <a:pt x="92" y="12622"/>
                    <a:pt x="92" y="12622"/>
                  </a:cubicBezTo>
                  <a:cubicBezTo>
                    <a:pt x="106" y="12623"/>
                    <a:pt x="120" y="12631"/>
                    <a:pt x="142" y="12646"/>
                  </a:cubicBezTo>
                  <a:cubicBezTo>
                    <a:pt x="163" y="12660"/>
                    <a:pt x="188" y="12682"/>
                    <a:pt x="209" y="12710"/>
                  </a:cubicBezTo>
                  <a:cubicBezTo>
                    <a:pt x="245" y="12756"/>
                    <a:pt x="296" y="12847"/>
                    <a:pt x="297" y="12959"/>
                  </a:cubicBezTo>
                  <a:cubicBezTo>
                    <a:pt x="297" y="12980"/>
                    <a:pt x="295" y="13001"/>
                    <a:pt x="291" y="13023"/>
                  </a:cubicBezTo>
                  <a:cubicBezTo>
                    <a:pt x="269" y="13141"/>
                    <a:pt x="268" y="13270"/>
                    <a:pt x="268" y="13298"/>
                  </a:cubicBezTo>
                  <a:cubicBezTo>
                    <a:pt x="268" y="13302"/>
                    <a:pt x="268" y="13304"/>
                    <a:pt x="268" y="13304"/>
                  </a:cubicBezTo>
                  <a:cubicBezTo>
                    <a:pt x="268" y="13308"/>
                    <a:pt x="268" y="13308"/>
                    <a:pt x="268" y="13308"/>
                  </a:cubicBezTo>
                  <a:cubicBezTo>
                    <a:pt x="153" y="13485"/>
                    <a:pt x="153" y="13485"/>
                    <a:pt x="153" y="13485"/>
                  </a:cubicBezTo>
                  <a:cubicBezTo>
                    <a:pt x="240" y="13642"/>
                    <a:pt x="240" y="13642"/>
                    <a:pt x="240" y="13642"/>
                  </a:cubicBezTo>
                  <a:cubicBezTo>
                    <a:pt x="35" y="14163"/>
                    <a:pt x="35" y="14163"/>
                    <a:pt x="35" y="14163"/>
                  </a:cubicBezTo>
                  <a:cubicBezTo>
                    <a:pt x="32" y="14179"/>
                    <a:pt x="32" y="14179"/>
                    <a:pt x="32" y="14179"/>
                  </a:cubicBezTo>
                  <a:cubicBezTo>
                    <a:pt x="474" y="14530"/>
                    <a:pt x="474" y="14530"/>
                    <a:pt x="474" y="14530"/>
                  </a:cubicBezTo>
                  <a:cubicBezTo>
                    <a:pt x="491" y="14542"/>
                    <a:pt x="540" y="14579"/>
                    <a:pt x="578" y="14608"/>
                  </a:cubicBezTo>
                  <a:cubicBezTo>
                    <a:pt x="601" y="14625"/>
                    <a:pt x="625" y="14643"/>
                    <a:pt x="642" y="14657"/>
                  </a:cubicBezTo>
                  <a:cubicBezTo>
                    <a:pt x="646" y="14660"/>
                    <a:pt x="649" y="14663"/>
                    <a:pt x="652" y="14665"/>
                  </a:cubicBezTo>
                  <a:cubicBezTo>
                    <a:pt x="666" y="14620"/>
                    <a:pt x="679" y="14572"/>
                    <a:pt x="681" y="14562"/>
                  </a:cubicBezTo>
                  <a:cubicBezTo>
                    <a:pt x="683" y="14552"/>
                    <a:pt x="680" y="14534"/>
                    <a:pt x="690" y="14503"/>
                  </a:cubicBezTo>
                  <a:cubicBezTo>
                    <a:pt x="694" y="14491"/>
                    <a:pt x="702" y="14480"/>
                    <a:pt x="713" y="14465"/>
                  </a:cubicBezTo>
                  <a:cubicBezTo>
                    <a:pt x="729" y="14444"/>
                    <a:pt x="751" y="14419"/>
                    <a:pt x="769" y="14399"/>
                  </a:cubicBezTo>
                  <a:cubicBezTo>
                    <a:pt x="778" y="14389"/>
                    <a:pt x="786" y="14380"/>
                    <a:pt x="792" y="14373"/>
                  </a:cubicBezTo>
                  <a:cubicBezTo>
                    <a:pt x="795" y="14370"/>
                    <a:pt x="798" y="14367"/>
                    <a:pt x="799" y="14365"/>
                  </a:cubicBezTo>
                  <a:cubicBezTo>
                    <a:pt x="800" y="14365"/>
                    <a:pt x="801" y="14364"/>
                    <a:pt x="802" y="14363"/>
                  </a:cubicBezTo>
                  <a:cubicBezTo>
                    <a:pt x="803" y="14362"/>
                    <a:pt x="802" y="14362"/>
                    <a:pt x="804" y="14361"/>
                  </a:cubicBezTo>
                  <a:cubicBezTo>
                    <a:pt x="804" y="14361"/>
                    <a:pt x="804" y="14361"/>
                    <a:pt x="804" y="14361"/>
                  </a:cubicBezTo>
                  <a:cubicBezTo>
                    <a:pt x="810" y="14355"/>
                    <a:pt x="892" y="14271"/>
                    <a:pt x="972" y="14188"/>
                  </a:cubicBezTo>
                  <a:cubicBezTo>
                    <a:pt x="1013" y="14146"/>
                    <a:pt x="1054" y="14104"/>
                    <a:pt x="1085" y="14072"/>
                  </a:cubicBezTo>
                  <a:cubicBezTo>
                    <a:pt x="1089" y="14067"/>
                    <a:pt x="1093" y="14063"/>
                    <a:pt x="1097" y="14059"/>
                  </a:cubicBezTo>
                  <a:cubicBezTo>
                    <a:pt x="771" y="13854"/>
                    <a:pt x="771" y="13854"/>
                    <a:pt x="771" y="13854"/>
                  </a:cubicBezTo>
                  <a:cubicBezTo>
                    <a:pt x="772" y="13854"/>
                    <a:pt x="772" y="13854"/>
                    <a:pt x="772" y="13854"/>
                  </a:cubicBezTo>
                  <a:cubicBezTo>
                    <a:pt x="757" y="13845"/>
                    <a:pt x="737" y="13831"/>
                    <a:pt x="702" y="13808"/>
                  </a:cubicBezTo>
                  <a:cubicBezTo>
                    <a:pt x="693" y="13802"/>
                    <a:pt x="693" y="13802"/>
                    <a:pt x="693" y="13802"/>
                  </a:cubicBezTo>
                  <a:cubicBezTo>
                    <a:pt x="655" y="13777"/>
                    <a:pt x="629" y="13759"/>
                    <a:pt x="617" y="13748"/>
                  </a:cubicBezTo>
                  <a:cubicBezTo>
                    <a:pt x="617" y="13747"/>
                    <a:pt x="617" y="13747"/>
                    <a:pt x="617" y="13747"/>
                  </a:cubicBezTo>
                  <a:cubicBezTo>
                    <a:pt x="616" y="13746"/>
                    <a:pt x="616" y="13746"/>
                    <a:pt x="616" y="13746"/>
                  </a:cubicBezTo>
                  <a:cubicBezTo>
                    <a:pt x="588" y="13710"/>
                    <a:pt x="567" y="13656"/>
                    <a:pt x="566" y="13616"/>
                  </a:cubicBezTo>
                  <a:cubicBezTo>
                    <a:pt x="566" y="13612"/>
                    <a:pt x="566" y="13608"/>
                    <a:pt x="567" y="13604"/>
                  </a:cubicBezTo>
                  <a:cubicBezTo>
                    <a:pt x="572" y="13573"/>
                    <a:pt x="595" y="13443"/>
                    <a:pt x="612" y="13366"/>
                  </a:cubicBezTo>
                  <a:cubicBezTo>
                    <a:pt x="627" y="13305"/>
                    <a:pt x="635" y="13072"/>
                    <a:pt x="635" y="12986"/>
                  </a:cubicBezTo>
                  <a:cubicBezTo>
                    <a:pt x="635" y="12973"/>
                    <a:pt x="635" y="12964"/>
                    <a:pt x="635" y="12958"/>
                  </a:cubicBezTo>
                  <a:cubicBezTo>
                    <a:pt x="632" y="12912"/>
                    <a:pt x="623" y="12863"/>
                    <a:pt x="579" y="12777"/>
                  </a:cubicBezTo>
                  <a:cubicBezTo>
                    <a:pt x="535" y="12691"/>
                    <a:pt x="411" y="12509"/>
                    <a:pt x="369" y="12449"/>
                  </a:cubicBezTo>
                  <a:cubicBezTo>
                    <a:pt x="347" y="12419"/>
                    <a:pt x="308" y="12366"/>
                    <a:pt x="268" y="12317"/>
                  </a:cubicBezTo>
                  <a:cubicBezTo>
                    <a:pt x="228" y="12269"/>
                    <a:pt x="185" y="12223"/>
                    <a:pt x="163" y="12210"/>
                  </a:cubicBezTo>
                  <a:cubicBezTo>
                    <a:pt x="131" y="12191"/>
                    <a:pt x="63" y="12178"/>
                    <a:pt x="7" y="12173"/>
                  </a:cubicBezTo>
                  <a:cubicBezTo>
                    <a:pt x="7" y="12137"/>
                    <a:pt x="7" y="12137"/>
                    <a:pt x="7" y="12137"/>
                  </a:cubicBezTo>
                  <a:cubicBezTo>
                    <a:pt x="28" y="12139"/>
                    <a:pt x="51" y="12141"/>
                    <a:pt x="73" y="12145"/>
                  </a:cubicBezTo>
                  <a:cubicBezTo>
                    <a:pt x="86" y="12121"/>
                    <a:pt x="86" y="12121"/>
                    <a:pt x="86" y="12121"/>
                  </a:cubicBezTo>
                  <a:cubicBezTo>
                    <a:pt x="118" y="11986"/>
                    <a:pt x="118" y="11986"/>
                    <a:pt x="118" y="11986"/>
                  </a:cubicBezTo>
                  <a:cubicBezTo>
                    <a:pt x="7" y="11921"/>
                    <a:pt x="7" y="11921"/>
                    <a:pt x="7" y="11921"/>
                  </a:cubicBezTo>
                  <a:cubicBezTo>
                    <a:pt x="7" y="11891"/>
                    <a:pt x="7" y="11891"/>
                    <a:pt x="7" y="11891"/>
                  </a:cubicBezTo>
                  <a:cubicBezTo>
                    <a:pt x="134" y="11965"/>
                    <a:pt x="134" y="11965"/>
                    <a:pt x="134" y="11965"/>
                  </a:cubicBezTo>
                  <a:cubicBezTo>
                    <a:pt x="602" y="11738"/>
                    <a:pt x="602" y="11738"/>
                    <a:pt x="602" y="11738"/>
                  </a:cubicBezTo>
                  <a:cubicBezTo>
                    <a:pt x="603" y="11738"/>
                    <a:pt x="603" y="11738"/>
                    <a:pt x="603" y="11738"/>
                  </a:cubicBezTo>
                  <a:cubicBezTo>
                    <a:pt x="532" y="11638"/>
                    <a:pt x="452" y="11526"/>
                    <a:pt x="375" y="11416"/>
                  </a:cubicBezTo>
                  <a:cubicBezTo>
                    <a:pt x="279" y="11278"/>
                    <a:pt x="187" y="11143"/>
                    <a:pt x="119" y="11043"/>
                  </a:cubicBezTo>
                  <a:cubicBezTo>
                    <a:pt x="89" y="10998"/>
                    <a:pt x="60" y="10964"/>
                    <a:pt x="40" y="10936"/>
                  </a:cubicBezTo>
                  <a:cubicBezTo>
                    <a:pt x="40" y="10936"/>
                    <a:pt x="40" y="10936"/>
                    <a:pt x="40" y="10936"/>
                  </a:cubicBezTo>
                  <a:cubicBezTo>
                    <a:pt x="39" y="10934"/>
                    <a:pt x="39" y="10934"/>
                    <a:pt x="39" y="10934"/>
                  </a:cubicBezTo>
                  <a:cubicBezTo>
                    <a:pt x="37" y="10931"/>
                    <a:pt x="35" y="10928"/>
                    <a:pt x="33" y="10926"/>
                  </a:cubicBezTo>
                  <a:cubicBezTo>
                    <a:pt x="32" y="10923"/>
                    <a:pt x="32" y="10923"/>
                    <a:pt x="32" y="10923"/>
                  </a:cubicBezTo>
                  <a:cubicBezTo>
                    <a:pt x="7" y="10885"/>
                    <a:pt x="7" y="10885"/>
                    <a:pt x="7" y="10885"/>
                  </a:cubicBezTo>
                  <a:cubicBezTo>
                    <a:pt x="7" y="10881"/>
                    <a:pt x="7" y="10881"/>
                    <a:pt x="7" y="10881"/>
                  </a:cubicBezTo>
                  <a:cubicBezTo>
                    <a:pt x="6" y="10880"/>
                    <a:pt x="5" y="10878"/>
                    <a:pt x="4" y="10877"/>
                  </a:cubicBezTo>
                  <a:cubicBezTo>
                    <a:pt x="4" y="10876"/>
                    <a:pt x="3" y="10875"/>
                    <a:pt x="3" y="10874"/>
                  </a:cubicBezTo>
                  <a:cubicBezTo>
                    <a:pt x="2" y="10873"/>
                    <a:pt x="2" y="10873"/>
                    <a:pt x="2" y="10872"/>
                  </a:cubicBezTo>
                  <a:cubicBezTo>
                    <a:pt x="1" y="10870"/>
                    <a:pt x="1" y="10872"/>
                    <a:pt x="0" y="10864"/>
                  </a:cubicBezTo>
                  <a:cubicBezTo>
                    <a:pt x="0" y="10860"/>
                    <a:pt x="1" y="10854"/>
                    <a:pt x="6" y="10850"/>
                  </a:cubicBezTo>
                  <a:cubicBezTo>
                    <a:pt x="6" y="10850"/>
                    <a:pt x="7" y="10850"/>
                    <a:pt x="7" y="10849"/>
                  </a:cubicBezTo>
                  <a:cubicBezTo>
                    <a:pt x="7" y="10819"/>
                    <a:pt x="7" y="10819"/>
                    <a:pt x="7" y="10819"/>
                  </a:cubicBezTo>
                  <a:cubicBezTo>
                    <a:pt x="26" y="10848"/>
                    <a:pt x="26" y="10848"/>
                    <a:pt x="26" y="10848"/>
                  </a:cubicBezTo>
                  <a:cubicBezTo>
                    <a:pt x="30" y="10850"/>
                    <a:pt x="33" y="10853"/>
                    <a:pt x="34" y="10857"/>
                  </a:cubicBezTo>
                  <a:cubicBezTo>
                    <a:pt x="32" y="10857"/>
                    <a:pt x="32" y="10857"/>
                    <a:pt x="32" y="10857"/>
                  </a:cubicBezTo>
                  <a:cubicBezTo>
                    <a:pt x="45" y="10879"/>
                    <a:pt x="222" y="11133"/>
                    <a:pt x="405" y="11395"/>
                  </a:cubicBezTo>
                  <a:cubicBezTo>
                    <a:pt x="483" y="11507"/>
                    <a:pt x="563" y="11620"/>
                    <a:pt x="635" y="11721"/>
                  </a:cubicBezTo>
                  <a:cubicBezTo>
                    <a:pt x="637" y="11720"/>
                    <a:pt x="637" y="11720"/>
                    <a:pt x="637" y="11720"/>
                  </a:cubicBezTo>
                  <a:cubicBezTo>
                    <a:pt x="657" y="11714"/>
                    <a:pt x="657" y="11714"/>
                    <a:pt x="657" y="11714"/>
                  </a:cubicBezTo>
                  <a:cubicBezTo>
                    <a:pt x="664" y="11712"/>
                    <a:pt x="726" y="11687"/>
                    <a:pt x="794" y="11600"/>
                  </a:cubicBezTo>
                  <a:cubicBezTo>
                    <a:pt x="829" y="11555"/>
                    <a:pt x="853" y="11489"/>
                    <a:pt x="868" y="11434"/>
                  </a:cubicBezTo>
                  <a:cubicBezTo>
                    <a:pt x="879" y="11392"/>
                    <a:pt x="885" y="11358"/>
                    <a:pt x="887" y="11343"/>
                  </a:cubicBezTo>
                  <a:cubicBezTo>
                    <a:pt x="839" y="11316"/>
                    <a:pt x="785" y="11284"/>
                    <a:pt x="739" y="11254"/>
                  </a:cubicBezTo>
                  <a:cubicBezTo>
                    <a:pt x="660" y="11202"/>
                    <a:pt x="603" y="11115"/>
                    <a:pt x="602" y="11114"/>
                  </a:cubicBezTo>
                  <a:cubicBezTo>
                    <a:pt x="602" y="11114"/>
                    <a:pt x="602" y="11114"/>
                    <a:pt x="602" y="11114"/>
                  </a:cubicBezTo>
                  <a:cubicBezTo>
                    <a:pt x="573" y="11068"/>
                    <a:pt x="515" y="10971"/>
                    <a:pt x="474" y="10882"/>
                  </a:cubicBezTo>
                  <a:cubicBezTo>
                    <a:pt x="416" y="10759"/>
                    <a:pt x="328" y="10539"/>
                    <a:pt x="328" y="10539"/>
                  </a:cubicBezTo>
                  <a:cubicBezTo>
                    <a:pt x="350" y="10524"/>
                    <a:pt x="350" y="10524"/>
                    <a:pt x="350" y="10524"/>
                  </a:cubicBezTo>
                  <a:cubicBezTo>
                    <a:pt x="350" y="10524"/>
                    <a:pt x="440" y="10749"/>
                    <a:pt x="498" y="10871"/>
                  </a:cubicBezTo>
                  <a:cubicBezTo>
                    <a:pt x="535" y="10952"/>
                    <a:pt x="587" y="11047"/>
                    <a:pt x="618" y="11095"/>
                  </a:cubicBezTo>
                  <a:cubicBezTo>
                    <a:pt x="634" y="11119"/>
                    <a:pt x="644" y="11124"/>
                    <a:pt x="644" y="11124"/>
                  </a:cubicBezTo>
                  <a:cubicBezTo>
                    <a:pt x="641" y="11126"/>
                    <a:pt x="641" y="11126"/>
                    <a:pt x="641" y="11126"/>
                  </a:cubicBezTo>
                  <a:cubicBezTo>
                    <a:pt x="647" y="11134"/>
                    <a:pt x="654" y="11142"/>
                    <a:pt x="661" y="11150"/>
                  </a:cubicBezTo>
                  <a:cubicBezTo>
                    <a:pt x="684" y="11177"/>
                    <a:pt x="716" y="11209"/>
                    <a:pt x="753" y="11234"/>
                  </a:cubicBezTo>
                  <a:cubicBezTo>
                    <a:pt x="829" y="11283"/>
                    <a:pt x="934" y="11342"/>
                    <a:pt x="983" y="11372"/>
                  </a:cubicBezTo>
                  <a:cubicBezTo>
                    <a:pt x="994" y="11379"/>
                    <a:pt x="1009" y="11389"/>
                    <a:pt x="1026" y="11401"/>
                  </a:cubicBezTo>
                  <a:cubicBezTo>
                    <a:pt x="1032" y="11381"/>
                    <a:pt x="1045" y="11346"/>
                    <a:pt x="1064" y="11310"/>
                  </a:cubicBezTo>
                  <a:cubicBezTo>
                    <a:pt x="1087" y="11267"/>
                    <a:pt x="1117" y="11225"/>
                    <a:pt x="1144" y="11194"/>
                  </a:cubicBezTo>
                  <a:cubicBezTo>
                    <a:pt x="1163" y="11171"/>
                    <a:pt x="1186" y="11145"/>
                    <a:pt x="1211" y="11123"/>
                  </a:cubicBezTo>
                  <a:cubicBezTo>
                    <a:pt x="1262" y="11077"/>
                    <a:pt x="1314" y="11043"/>
                    <a:pt x="1314" y="11043"/>
                  </a:cubicBezTo>
                  <a:cubicBezTo>
                    <a:pt x="1328" y="11064"/>
                    <a:pt x="1328" y="11064"/>
                    <a:pt x="1328" y="11064"/>
                  </a:cubicBezTo>
                  <a:cubicBezTo>
                    <a:pt x="1328" y="11064"/>
                    <a:pt x="1328" y="11064"/>
                    <a:pt x="1328" y="11064"/>
                  </a:cubicBezTo>
                  <a:cubicBezTo>
                    <a:pt x="1328" y="11064"/>
                    <a:pt x="1277" y="11097"/>
                    <a:pt x="1228" y="11141"/>
                  </a:cubicBezTo>
                  <a:cubicBezTo>
                    <a:pt x="1204" y="11162"/>
                    <a:pt x="1181" y="11187"/>
                    <a:pt x="1162" y="11210"/>
                  </a:cubicBezTo>
                  <a:cubicBezTo>
                    <a:pt x="1137" y="11240"/>
                    <a:pt x="1107" y="11281"/>
                    <a:pt x="1086" y="11321"/>
                  </a:cubicBezTo>
                  <a:cubicBezTo>
                    <a:pt x="1065" y="11361"/>
                    <a:pt x="1052" y="11400"/>
                    <a:pt x="1046" y="11417"/>
                  </a:cubicBezTo>
                  <a:cubicBezTo>
                    <a:pt x="1101" y="11459"/>
                    <a:pt x="1167" y="11517"/>
                    <a:pt x="1203" y="11556"/>
                  </a:cubicBezTo>
                  <a:cubicBezTo>
                    <a:pt x="1257" y="11614"/>
                    <a:pt x="1319" y="11714"/>
                    <a:pt x="1338" y="11782"/>
                  </a:cubicBezTo>
                  <a:cubicBezTo>
                    <a:pt x="1355" y="11845"/>
                    <a:pt x="1382" y="11951"/>
                    <a:pt x="1392" y="11985"/>
                  </a:cubicBezTo>
                  <a:cubicBezTo>
                    <a:pt x="1403" y="12020"/>
                    <a:pt x="1414" y="12081"/>
                    <a:pt x="1523" y="12155"/>
                  </a:cubicBezTo>
                  <a:cubicBezTo>
                    <a:pt x="1601" y="12207"/>
                    <a:pt x="1742" y="12250"/>
                    <a:pt x="1846" y="12275"/>
                  </a:cubicBezTo>
                  <a:cubicBezTo>
                    <a:pt x="1886" y="12284"/>
                    <a:pt x="1918" y="12289"/>
                    <a:pt x="1944" y="12295"/>
                  </a:cubicBezTo>
                  <a:cubicBezTo>
                    <a:pt x="1947" y="12295"/>
                    <a:pt x="1952" y="12295"/>
                    <a:pt x="1957" y="12296"/>
                  </a:cubicBezTo>
                  <a:cubicBezTo>
                    <a:pt x="1978" y="12270"/>
                    <a:pt x="2001" y="12236"/>
                    <a:pt x="2023" y="12208"/>
                  </a:cubicBezTo>
                  <a:cubicBezTo>
                    <a:pt x="2081" y="12130"/>
                    <a:pt x="2134" y="12052"/>
                    <a:pt x="2171" y="11993"/>
                  </a:cubicBezTo>
                  <a:cubicBezTo>
                    <a:pt x="2203" y="11944"/>
                    <a:pt x="2224" y="11909"/>
                    <a:pt x="2230" y="11899"/>
                  </a:cubicBezTo>
                  <a:cubicBezTo>
                    <a:pt x="2232" y="11889"/>
                    <a:pt x="2239" y="11861"/>
                    <a:pt x="2267" y="11781"/>
                  </a:cubicBezTo>
                  <a:cubicBezTo>
                    <a:pt x="2268" y="11778"/>
                    <a:pt x="2270" y="11774"/>
                    <a:pt x="2271" y="11771"/>
                  </a:cubicBezTo>
                  <a:cubicBezTo>
                    <a:pt x="2256" y="11770"/>
                    <a:pt x="2241" y="11770"/>
                    <a:pt x="2227" y="11770"/>
                  </a:cubicBezTo>
                  <a:cubicBezTo>
                    <a:pt x="2188" y="11770"/>
                    <a:pt x="2091" y="11767"/>
                    <a:pt x="1999" y="11727"/>
                  </a:cubicBezTo>
                  <a:cubicBezTo>
                    <a:pt x="1888" y="11679"/>
                    <a:pt x="1800" y="11592"/>
                    <a:pt x="1800" y="11592"/>
                  </a:cubicBezTo>
                  <a:cubicBezTo>
                    <a:pt x="1799" y="11591"/>
                    <a:pt x="1799" y="11591"/>
                    <a:pt x="1799" y="11591"/>
                  </a:cubicBezTo>
                  <a:cubicBezTo>
                    <a:pt x="1331" y="11053"/>
                    <a:pt x="1331" y="11053"/>
                    <a:pt x="1331" y="11053"/>
                  </a:cubicBezTo>
                  <a:cubicBezTo>
                    <a:pt x="1331" y="11053"/>
                    <a:pt x="1119" y="10809"/>
                    <a:pt x="908" y="10564"/>
                  </a:cubicBezTo>
                  <a:cubicBezTo>
                    <a:pt x="802" y="10442"/>
                    <a:pt x="696" y="10320"/>
                    <a:pt x="617" y="10228"/>
                  </a:cubicBezTo>
                  <a:cubicBezTo>
                    <a:pt x="609" y="10218"/>
                    <a:pt x="601" y="10209"/>
                    <a:pt x="593" y="10200"/>
                  </a:cubicBezTo>
                  <a:cubicBezTo>
                    <a:pt x="550" y="10226"/>
                    <a:pt x="518" y="10246"/>
                    <a:pt x="476" y="10273"/>
                  </a:cubicBezTo>
                  <a:cubicBezTo>
                    <a:pt x="476" y="10273"/>
                    <a:pt x="403" y="10297"/>
                    <a:pt x="391" y="10297"/>
                  </a:cubicBezTo>
                  <a:cubicBezTo>
                    <a:pt x="305" y="10312"/>
                    <a:pt x="305" y="10312"/>
                    <a:pt x="305" y="10312"/>
                  </a:cubicBezTo>
                  <a:cubicBezTo>
                    <a:pt x="277" y="10317"/>
                    <a:pt x="244" y="10321"/>
                    <a:pt x="211" y="10325"/>
                  </a:cubicBezTo>
                  <a:cubicBezTo>
                    <a:pt x="173" y="10366"/>
                    <a:pt x="132" y="10410"/>
                    <a:pt x="92" y="10453"/>
                  </a:cubicBezTo>
                  <a:cubicBezTo>
                    <a:pt x="63" y="10484"/>
                    <a:pt x="35" y="10515"/>
                    <a:pt x="7" y="10544"/>
                  </a:cubicBezTo>
                  <a:cubicBezTo>
                    <a:pt x="7" y="10363"/>
                    <a:pt x="7" y="10363"/>
                    <a:pt x="7" y="10363"/>
                  </a:cubicBezTo>
                  <a:cubicBezTo>
                    <a:pt x="14" y="10357"/>
                    <a:pt x="20" y="10350"/>
                    <a:pt x="26" y="10343"/>
                  </a:cubicBezTo>
                  <a:cubicBezTo>
                    <a:pt x="20" y="10343"/>
                    <a:pt x="14" y="10344"/>
                    <a:pt x="7" y="10345"/>
                  </a:cubicBezTo>
                  <a:cubicBezTo>
                    <a:pt x="7" y="10080"/>
                    <a:pt x="7" y="10080"/>
                    <a:pt x="7" y="10080"/>
                  </a:cubicBezTo>
                  <a:cubicBezTo>
                    <a:pt x="39" y="10063"/>
                    <a:pt x="78" y="10047"/>
                    <a:pt x="119" y="10044"/>
                  </a:cubicBezTo>
                  <a:cubicBezTo>
                    <a:pt x="169" y="10040"/>
                    <a:pt x="232" y="10046"/>
                    <a:pt x="292" y="10056"/>
                  </a:cubicBezTo>
                  <a:cubicBezTo>
                    <a:pt x="317" y="10029"/>
                    <a:pt x="334" y="10011"/>
                    <a:pt x="339" y="10006"/>
                  </a:cubicBezTo>
                  <a:cubicBezTo>
                    <a:pt x="358" y="9986"/>
                    <a:pt x="380" y="9971"/>
                    <a:pt x="399" y="9959"/>
                  </a:cubicBezTo>
                  <a:cubicBezTo>
                    <a:pt x="421" y="9944"/>
                    <a:pt x="445" y="9932"/>
                    <a:pt x="451" y="9930"/>
                  </a:cubicBezTo>
                  <a:cubicBezTo>
                    <a:pt x="1283" y="9484"/>
                    <a:pt x="1283" y="9484"/>
                    <a:pt x="1283" y="9484"/>
                  </a:cubicBezTo>
                  <a:cubicBezTo>
                    <a:pt x="2204" y="8993"/>
                    <a:pt x="2204" y="8993"/>
                    <a:pt x="2204" y="8993"/>
                  </a:cubicBezTo>
                  <a:cubicBezTo>
                    <a:pt x="2208" y="8991"/>
                    <a:pt x="2208" y="8991"/>
                    <a:pt x="2208" y="8991"/>
                  </a:cubicBezTo>
                  <a:cubicBezTo>
                    <a:pt x="2208" y="8991"/>
                    <a:pt x="2267" y="8963"/>
                    <a:pt x="2400" y="8892"/>
                  </a:cubicBezTo>
                  <a:cubicBezTo>
                    <a:pt x="2600" y="8787"/>
                    <a:pt x="2900" y="8628"/>
                    <a:pt x="3154" y="8492"/>
                  </a:cubicBezTo>
                  <a:cubicBezTo>
                    <a:pt x="3281" y="8424"/>
                    <a:pt x="3397" y="8363"/>
                    <a:pt x="3482" y="8316"/>
                  </a:cubicBezTo>
                  <a:cubicBezTo>
                    <a:pt x="3525" y="8293"/>
                    <a:pt x="3561" y="8274"/>
                    <a:pt x="3586" y="8260"/>
                  </a:cubicBezTo>
                  <a:cubicBezTo>
                    <a:pt x="3599" y="8253"/>
                    <a:pt x="3609" y="8247"/>
                    <a:pt x="3616" y="8243"/>
                  </a:cubicBezTo>
                  <a:cubicBezTo>
                    <a:pt x="3620" y="8241"/>
                    <a:pt x="3622" y="8240"/>
                    <a:pt x="3624" y="8238"/>
                  </a:cubicBezTo>
                  <a:cubicBezTo>
                    <a:pt x="3625" y="8238"/>
                    <a:pt x="3626" y="8238"/>
                    <a:pt x="3626" y="8237"/>
                  </a:cubicBezTo>
                  <a:cubicBezTo>
                    <a:pt x="3643" y="8225"/>
                    <a:pt x="3686" y="8189"/>
                    <a:pt x="3740" y="8152"/>
                  </a:cubicBezTo>
                  <a:cubicBezTo>
                    <a:pt x="3795" y="8115"/>
                    <a:pt x="3863" y="8075"/>
                    <a:pt x="3940" y="8054"/>
                  </a:cubicBezTo>
                  <a:cubicBezTo>
                    <a:pt x="3943" y="8053"/>
                    <a:pt x="3946" y="8053"/>
                    <a:pt x="3949" y="8052"/>
                  </a:cubicBezTo>
                  <a:cubicBezTo>
                    <a:pt x="3943" y="8035"/>
                    <a:pt x="3943" y="8035"/>
                    <a:pt x="3943" y="8035"/>
                  </a:cubicBezTo>
                  <a:cubicBezTo>
                    <a:pt x="3935" y="8018"/>
                    <a:pt x="3911" y="7973"/>
                    <a:pt x="3901" y="7923"/>
                  </a:cubicBezTo>
                  <a:cubicBezTo>
                    <a:pt x="3900" y="7923"/>
                    <a:pt x="3900" y="7923"/>
                    <a:pt x="3900" y="7923"/>
                  </a:cubicBezTo>
                  <a:cubicBezTo>
                    <a:pt x="3900" y="7917"/>
                    <a:pt x="3900" y="7917"/>
                    <a:pt x="3900" y="7917"/>
                  </a:cubicBezTo>
                  <a:cubicBezTo>
                    <a:pt x="3900" y="7917"/>
                    <a:pt x="3899" y="7915"/>
                    <a:pt x="3899" y="7913"/>
                  </a:cubicBezTo>
                  <a:cubicBezTo>
                    <a:pt x="3899" y="7911"/>
                    <a:pt x="3898" y="7910"/>
                    <a:pt x="3898" y="7908"/>
                  </a:cubicBezTo>
                  <a:cubicBezTo>
                    <a:pt x="3898" y="7908"/>
                    <a:pt x="3898" y="7908"/>
                    <a:pt x="3898" y="7908"/>
                  </a:cubicBezTo>
                  <a:cubicBezTo>
                    <a:pt x="3893" y="7876"/>
                    <a:pt x="3876" y="7761"/>
                    <a:pt x="3876" y="7700"/>
                  </a:cubicBezTo>
                  <a:cubicBezTo>
                    <a:pt x="3876" y="7697"/>
                    <a:pt x="3876" y="7694"/>
                    <a:pt x="3876" y="7692"/>
                  </a:cubicBezTo>
                  <a:cubicBezTo>
                    <a:pt x="3875" y="7684"/>
                    <a:pt x="3873" y="7656"/>
                    <a:pt x="3870" y="7636"/>
                  </a:cubicBezTo>
                  <a:cubicBezTo>
                    <a:pt x="3868" y="7629"/>
                    <a:pt x="3867" y="7624"/>
                    <a:pt x="3866" y="7621"/>
                  </a:cubicBezTo>
                  <a:cubicBezTo>
                    <a:pt x="3865" y="7620"/>
                    <a:pt x="3865" y="7619"/>
                    <a:pt x="3865" y="7619"/>
                  </a:cubicBezTo>
                  <a:cubicBezTo>
                    <a:pt x="3678" y="7401"/>
                    <a:pt x="3678" y="7401"/>
                    <a:pt x="3678" y="7401"/>
                  </a:cubicBezTo>
                  <a:cubicBezTo>
                    <a:pt x="3676" y="7400"/>
                    <a:pt x="3676" y="7400"/>
                    <a:pt x="3676" y="7400"/>
                  </a:cubicBezTo>
                  <a:cubicBezTo>
                    <a:pt x="3676" y="7400"/>
                    <a:pt x="3639" y="7354"/>
                    <a:pt x="3583" y="7294"/>
                  </a:cubicBezTo>
                  <a:cubicBezTo>
                    <a:pt x="3570" y="7281"/>
                    <a:pt x="3556" y="7266"/>
                    <a:pt x="3542" y="7252"/>
                  </a:cubicBezTo>
                  <a:cubicBezTo>
                    <a:pt x="3527" y="7254"/>
                    <a:pt x="3479" y="7260"/>
                    <a:pt x="3423" y="7271"/>
                  </a:cubicBezTo>
                  <a:cubicBezTo>
                    <a:pt x="3355" y="7284"/>
                    <a:pt x="3277" y="7306"/>
                    <a:pt x="3240" y="7331"/>
                  </a:cubicBezTo>
                  <a:cubicBezTo>
                    <a:pt x="3164" y="7383"/>
                    <a:pt x="3018" y="7503"/>
                    <a:pt x="2852" y="7503"/>
                  </a:cubicBezTo>
                  <a:cubicBezTo>
                    <a:pt x="2839" y="7503"/>
                    <a:pt x="2825" y="7503"/>
                    <a:pt x="2811" y="7501"/>
                  </a:cubicBezTo>
                  <a:cubicBezTo>
                    <a:pt x="2777" y="7496"/>
                    <a:pt x="2745" y="7488"/>
                    <a:pt x="2714" y="7479"/>
                  </a:cubicBezTo>
                  <a:cubicBezTo>
                    <a:pt x="2707" y="7492"/>
                    <a:pt x="2707" y="7492"/>
                    <a:pt x="2707" y="7492"/>
                  </a:cubicBezTo>
                  <a:cubicBezTo>
                    <a:pt x="2504" y="7951"/>
                    <a:pt x="2504" y="7951"/>
                    <a:pt x="2504" y="7951"/>
                  </a:cubicBezTo>
                  <a:cubicBezTo>
                    <a:pt x="2504" y="7951"/>
                    <a:pt x="2504" y="7951"/>
                    <a:pt x="2504" y="7951"/>
                  </a:cubicBezTo>
                  <a:cubicBezTo>
                    <a:pt x="2504" y="7951"/>
                    <a:pt x="2504" y="7951"/>
                    <a:pt x="2504" y="7951"/>
                  </a:cubicBezTo>
                  <a:cubicBezTo>
                    <a:pt x="2502" y="7954"/>
                    <a:pt x="2502" y="7954"/>
                    <a:pt x="2502" y="7954"/>
                  </a:cubicBezTo>
                  <a:cubicBezTo>
                    <a:pt x="2500" y="7953"/>
                    <a:pt x="2500" y="7953"/>
                    <a:pt x="2500" y="7953"/>
                  </a:cubicBezTo>
                  <a:cubicBezTo>
                    <a:pt x="2278" y="8104"/>
                    <a:pt x="2278" y="8104"/>
                    <a:pt x="2278" y="8104"/>
                  </a:cubicBezTo>
                  <a:cubicBezTo>
                    <a:pt x="2539" y="8646"/>
                    <a:pt x="2539" y="8646"/>
                    <a:pt x="2539" y="8646"/>
                  </a:cubicBezTo>
                  <a:cubicBezTo>
                    <a:pt x="2541" y="8645"/>
                    <a:pt x="2541" y="8645"/>
                    <a:pt x="2541" y="8645"/>
                  </a:cubicBezTo>
                  <a:cubicBezTo>
                    <a:pt x="2599" y="8768"/>
                    <a:pt x="2599" y="8768"/>
                    <a:pt x="2599" y="8768"/>
                  </a:cubicBezTo>
                  <a:cubicBezTo>
                    <a:pt x="2576" y="8779"/>
                    <a:pt x="2576" y="8779"/>
                    <a:pt x="2576" y="8779"/>
                  </a:cubicBezTo>
                  <a:cubicBezTo>
                    <a:pt x="2527" y="8676"/>
                    <a:pt x="2527" y="8676"/>
                    <a:pt x="2527" y="8676"/>
                  </a:cubicBezTo>
                  <a:cubicBezTo>
                    <a:pt x="2526" y="8677"/>
                    <a:pt x="2526" y="8677"/>
                    <a:pt x="2526" y="8677"/>
                  </a:cubicBezTo>
                  <a:cubicBezTo>
                    <a:pt x="2258" y="8118"/>
                    <a:pt x="2258" y="8118"/>
                    <a:pt x="2258" y="8118"/>
                  </a:cubicBezTo>
                  <a:cubicBezTo>
                    <a:pt x="2005" y="8289"/>
                    <a:pt x="2005" y="8289"/>
                    <a:pt x="2005" y="8289"/>
                  </a:cubicBezTo>
                  <a:cubicBezTo>
                    <a:pt x="1665" y="8315"/>
                    <a:pt x="1665" y="8315"/>
                    <a:pt x="1665" y="8315"/>
                  </a:cubicBezTo>
                  <a:cubicBezTo>
                    <a:pt x="1651" y="8341"/>
                    <a:pt x="1588" y="8448"/>
                    <a:pt x="1526" y="8555"/>
                  </a:cubicBezTo>
                  <a:cubicBezTo>
                    <a:pt x="1490" y="8617"/>
                    <a:pt x="1454" y="8678"/>
                    <a:pt x="1428" y="8724"/>
                  </a:cubicBezTo>
                  <a:cubicBezTo>
                    <a:pt x="1414" y="8747"/>
                    <a:pt x="1403" y="8767"/>
                    <a:pt x="1395" y="8780"/>
                  </a:cubicBezTo>
                  <a:cubicBezTo>
                    <a:pt x="1391" y="8787"/>
                    <a:pt x="1388" y="8792"/>
                    <a:pt x="1386" y="8796"/>
                  </a:cubicBezTo>
                  <a:cubicBezTo>
                    <a:pt x="1385" y="8797"/>
                    <a:pt x="1384" y="8799"/>
                    <a:pt x="1384" y="8800"/>
                  </a:cubicBezTo>
                  <a:cubicBezTo>
                    <a:pt x="1383" y="8800"/>
                    <a:pt x="1383" y="8801"/>
                    <a:pt x="1383" y="8801"/>
                  </a:cubicBezTo>
                  <a:cubicBezTo>
                    <a:pt x="1383" y="8801"/>
                    <a:pt x="1383" y="8801"/>
                    <a:pt x="1383" y="8801"/>
                  </a:cubicBezTo>
                  <a:cubicBezTo>
                    <a:pt x="1383" y="8801"/>
                    <a:pt x="1383" y="8801"/>
                    <a:pt x="1383" y="8801"/>
                  </a:cubicBezTo>
                  <a:cubicBezTo>
                    <a:pt x="1383" y="8801"/>
                    <a:pt x="1383" y="8802"/>
                    <a:pt x="1383" y="8802"/>
                  </a:cubicBezTo>
                  <a:cubicBezTo>
                    <a:pt x="1383" y="8802"/>
                    <a:pt x="1382" y="8802"/>
                    <a:pt x="1382" y="8802"/>
                  </a:cubicBezTo>
                  <a:cubicBezTo>
                    <a:pt x="1382" y="8802"/>
                    <a:pt x="1382" y="8802"/>
                    <a:pt x="1382" y="8803"/>
                  </a:cubicBezTo>
                  <a:cubicBezTo>
                    <a:pt x="1382" y="8803"/>
                    <a:pt x="1381" y="8803"/>
                    <a:pt x="1381" y="8804"/>
                  </a:cubicBezTo>
                  <a:cubicBezTo>
                    <a:pt x="1380" y="8804"/>
                    <a:pt x="1380" y="8805"/>
                    <a:pt x="1379" y="8805"/>
                  </a:cubicBezTo>
                  <a:cubicBezTo>
                    <a:pt x="1379" y="8805"/>
                    <a:pt x="1379" y="8805"/>
                    <a:pt x="1379" y="8805"/>
                  </a:cubicBezTo>
                  <a:cubicBezTo>
                    <a:pt x="1366" y="8817"/>
                    <a:pt x="1239" y="8937"/>
                    <a:pt x="1115" y="9055"/>
                  </a:cubicBezTo>
                  <a:cubicBezTo>
                    <a:pt x="993" y="9171"/>
                    <a:pt x="874" y="9285"/>
                    <a:pt x="861" y="9297"/>
                  </a:cubicBezTo>
                  <a:cubicBezTo>
                    <a:pt x="883" y="9301"/>
                    <a:pt x="907" y="9308"/>
                    <a:pt x="932" y="9323"/>
                  </a:cubicBezTo>
                  <a:cubicBezTo>
                    <a:pt x="980" y="9354"/>
                    <a:pt x="1014" y="9420"/>
                    <a:pt x="1039" y="9479"/>
                  </a:cubicBezTo>
                  <a:cubicBezTo>
                    <a:pt x="1063" y="9538"/>
                    <a:pt x="1078" y="9591"/>
                    <a:pt x="1078" y="9591"/>
                  </a:cubicBezTo>
                  <a:cubicBezTo>
                    <a:pt x="1041" y="9601"/>
                    <a:pt x="1041" y="9601"/>
                    <a:pt x="1041" y="9601"/>
                  </a:cubicBezTo>
                  <a:cubicBezTo>
                    <a:pt x="1041" y="9600"/>
                    <a:pt x="1028" y="9550"/>
                    <a:pt x="1004" y="9494"/>
                  </a:cubicBezTo>
                  <a:cubicBezTo>
                    <a:pt x="981" y="9437"/>
                    <a:pt x="946" y="9375"/>
                    <a:pt x="913" y="9356"/>
                  </a:cubicBezTo>
                  <a:cubicBezTo>
                    <a:pt x="881" y="9337"/>
                    <a:pt x="852" y="9332"/>
                    <a:pt x="826" y="9330"/>
                  </a:cubicBezTo>
                  <a:cubicBezTo>
                    <a:pt x="819" y="9330"/>
                    <a:pt x="813" y="9330"/>
                    <a:pt x="807" y="9330"/>
                  </a:cubicBezTo>
                  <a:cubicBezTo>
                    <a:pt x="783" y="9330"/>
                    <a:pt x="764" y="9333"/>
                    <a:pt x="745" y="9336"/>
                  </a:cubicBezTo>
                  <a:cubicBezTo>
                    <a:pt x="710" y="9340"/>
                    <a:pt x="684" y="9355"/>
                    <a:pt x="644" y="9356"/>
                  </a:cubicBezTo>
                  <a:cubicBezTo>
                    <a:pt x="603" y="9355"/>
                    <a:pt x="555" y="9333"/>
                    <a:pt x="515" y="9321"/>
                  </a:cubicBezTo>
                  <a:cubicBezTo>
                    <a:pt x="474" y="9307"/>
                    <a:pt x="396" y="9274"/>
                    <a:pt x="351" y="9274"/>
                  </a:cubicBezTo>
                  <a:cubicBezTo>
                    <a:pt x="349" y="9274"/>
                    <a:pt x="348" y="9274"/>
                    <a:pt x="347" y="9275"/>
                  </a:cubicBezTo>
                  <a:cubicBezTo>
                    <a:pt x="298" y="9277"/>
                    <a:pt x="277" y="9292"/>
                    <a:pt x="248" y="9302"/>
                  </a:cubicBezTo>
                  <a:cubicBezTo>
                    <a:pt x="237" y="9306"/>
                    <a:pt x="199" y="9323"/>
                    <a:pt x="166" y="9339"/>
                  </a:cubicBezTo>
                  <a:cubicBezTo>
                    <a:pt x="149" y="9346"/>
                    <a:pt x="133" y="9353"/>
                    <a:pt x="122" y="9359"/>
                  </a:cubicBezTo>
                  <a:cubicBezTo>
                    <a:pt x="118" y="9363"/>
                    <a:pt x="117" y="9366"/>
                    <a:pt x="117" y="9369"/>
                  </a:cubicBezTo>
                  <a:cubicBezTo>
                    <a:pt x="422" y="9935"/>
                    <a:pt x="422" y="9935"/>
                    <a:pt x="422" y="9935"/>
                  </a:cubicBezTo>
                  <a:cubicBezTo>
                    <a:pt x="389" y="9952"/>
                    <a:pt x="389" y="9952"/>
                    <a:pt x="389" y="9952"/>
                  </a:cubicBezTo>
                  <a:cubicBezTo>
                    <a:pt x="55" y="9332"/>
                    <a:pt x="55" y="9332"/>
                    <a:pt x="55" y="9332"/>
                  </a:cubicBezTo>
                  <a:cubicBezTo>
                    <a:pt x="55" y="9331"/>
                    <a:pt x="55" y="9331"/>
                    <a:pt x="55" y="9331"/>
                  </a:cubicBezTo>
                  <a:cubicBezTo>
                    <a:pt x="7" y="9237"/>
                    <a:pt x="7" y="9237"/>
                    <a:pt x="7" y="9237"/>
                  </a:cubicBezTo>
                  <a:cubicBezTo>
                    <a:pt x="7" y="9158"/>
                    <a:pt x="7" y="9158"/>
                    <a:pt x="7" y="9158"/>
                  </a:cubicBezTo>
                  <a:cubicBezTo>
                    <a:pt x="88" y="9316"/>
                    <a:pt x="88" y="9316"/>
                    <a:pt x="88" y="9316"/>
                  </a:cubicBezTo>
                  <a:cubicBezTo>
                    <a:pt x="88" y="9316"/>
                    <a:pt x="88" y="9316"/>
                    <a:pt x="88" y="9316"/>
                  </a:cubicBezTo>
                  <a:cubicBezTo>
                    <a:pt x="90" y="9321"/>
                    <a:pt x="90" y="9321"/>
                    <a:pt x="90" y="9321"/>
                  </a:cubicBezTo>
                  <a:cubicBezTo>
                    <a:pt x="95" y="9324"/>
                    <a:pt x="102" y="9324"/>
                    <a:pt x="107" y="9324"/>
                  </a:cubicBezTo>
                  <a:cubicBezTo>
                    <a:pt x="144" y="9307"/>
                    <a:pt x="215" y="9274"/>
                    <a:pt x="236" y="9267"/>
                  </a:cubicBezTo>
                  <a:cubicBezTo>
                    <a:pt x="257" y="9259"/>
                    <a:pt x="288" y="9240"/>
                    <a:pt x="345" y="9237"/>
                  </a:cubicBezTo>
                  <a:cubicBezTo>
                    <a:pt x="347" y="9237"/>
                    <a:pt x="349" y="9237"/>
                    <a:pt x="351" y="9237"/>
                  </a:cubicBezTo>
                  <a:cubicBezTo>
                    <a:pt x="411" y="9237"/>
                    <a:pt x="489" y="9273"/>
                    <a:pt x="527" y="9285"/>
                  </a:cubicBezTo>
                  <a:cubicBezTo>
                    <a:pt x="569" y="9299"/>
                    <a:pt x="617" y="9319"/>
                    <a:pt x="644" y="9318"/>
                  </a:cubicBezTo>
                  <a:cubicBezTo>
                    <a:pt x="672" y="9319"/>
                    <a:pt x="697" y="9304"/>
                    <a:pt x="740" y="9298"/>
                  </a:cubicBezTo>
                  <a:cubicBezTo>
                    <a:pt x="758" y="9296"/>
                    <a:pt x="779" y="9292"/>
                    <a:pt x="807" y="9292"/>
                  </a:cubicBezTo>
                  <a:cubicBezTo>
                    <a:pt x="814" y="9292"/>
                    <a:pt x="821" y="9292"/>
                    <a:pt x="829" y="9293"/>
                  </a:cubicBezTo>
                  <a:cubicBezTo>
                    <a:pt x="838" y="9293"/>
                    <a:pt x="847" y="9295"/>
                    <a:pt x="858" y="9296"/>
                  </a:cubicBezTo>
                  <a:cubicBezTo>
                    <a:pt x="843" y="9280"/>
                    <a:pt x="843" y="9280"/>
                    <a:pt x="843" y="9280"/>
                  </a:cubicBezTo>
                  <a:cubicBezTo>
                    <a:pt x="843" y="9280"/>
                    <a:pt x="972" y="9157"/>
                    <a:pt x="1102" y="9033"/>
                  </a:cubicBezTo>
                  <a:cubicBezTo>
                    <a:pt x="1168" y="8971"/>
                    <a:pt x="1233" y="8910"/>
                    <a:pt x="1282" y="8863"/>
                  </a:cubicBezTo>
                  <a:cubicBezTo>
                    <a:pt x="1306" y="8840"/>
                    <a:pt x="1327" y="8821"/>
                    <a:pt x="1341" y="8807"/>
                  </a:cubicBezTo>
                  <a:cubicBezTo>
                    <a:pt x="1348" y="8800"/>
                    <a:pt x="1354" y="8795"/>
                    <a:pt x="1358" y="8791"/>
                  </a:cubicBezTo>
                  <a:cubicBezTo>
                    <a:pt x="1359" y="8791"/>
                    <a:pt x="1359" y="8790"/>
                    <a:pt x="1360" y="8789"/>
                  </a:cubicBezTo>
                  <a:cubicBezTo>
                    <a:pt x="1364" y="8786"/>
                    <a:pt x="1364" y="8786"/>
                    <a:pt x="1364" y="8786"/>
                  </a:cubicBezTo>
                  <a:cubicBezTo>
                    <a:pt x="1386" y="8747"/>
                    <a:pt x="1610" y="8362"/>
                    <a:pt x="1643" y="8305"/>
                  </a:cubicBezTo>
                  <a:cubicBezTo>
                    <a:pt x="1314" y="7896"/>
                    <a:pt x="1314" y="7896"/>
                    <a:pt x="1314" y="7896"/>
                  </a:cubicBezTo>
                  <a:cubicBezTo>
                    <a:pt x="1333" y="7881"/>
                    <a:pt x="1333" y="7881"/>
                    <a:pt x="1333" y="7881"/>
                  </a:cubicBezTo>
                  <a:cubicBezTo>
                    <a:pt x="1664" y="8291"/>
                    <a:pt x="1664" y="8291"/>
                    <a:pt x="1664" y="8291"/>
                  </a:cubicBezTo>
                  <a:cubicBezTo>
                    <a:pt x="1997" y="8265"/>
                    <a:pt x="1997" y="8265"/>
                    <a:pt x="1997" y="8265"/>
                  </a:cubicBezTo>
                  <a:cubicBezTo>
                    <a:pt x="2472" y="7943"/>
                    <a:pt x="2472" y="7943"/>
                    <a:pt x="2472" y="7943"/>
                  </a:cubicBezTo>
                  <a:cubicBezTo>
                    <a:pt x="2675" y="7484"/>
                    <a:pt x="2675" y="7484"/>
                    <a:pt x="2675" y="7484"/>
                  </a:cubicBezTo>
                  <a:cubicBezTo>
                    <a:pt x="2675" y="7484"/>
                    <a:pt x="2675" y="7484"/>
                    <a:pt x="2675" y="7484"/>
                  </a:cubicBezTo>
                  <a:cubicBezTo>
                    <a:pt x="2680" y="7467"/>
                    <a:pt x="2680" y="7467"/>
                    <a:pt x="2680" y="7467"/>
                  </a:cubicBezTo>
                  <a:cubicBezTo>
                    <a:pt x="2573" y="7426"/>
                    <a:pt x="2494" y="7362"/>
                    <a:pt x="2431" y="7318"/>
                  </a:cubicBezTo>
                  <a:cubicBezTo>
                    <a:pt x="2343" y="7257"/>
                    <a:pt x="2096" y="7072"/>
                    <a:pt x="2025" y="7034"/>
                  </a:cubicBezTo>
                  <a:cubicBezTo>
                    <a:pt x="2011" y="7027"/>
                    <a:pt x="1982" y="7010"/>
                    <a:pt x="1944" y="6988"/>
                  </a:cubicBezTo>
                  <a:cubicBezTo>
                    <a:pt x="1936" y="6997"/>
                    <a:pt x="1917" y="7023"/>
                    <a:pt x="1896" y="7054"/>
                  </a:cubicBezTo>
                  <a:cubicBezTo>
                    <a:pt x="1857" y="7110"/>
                    <a:pt x="1804" y="7190"/>
                    <a:pt x="1759" y="7256"/>
                  </a:cubicBezTo>
                  <a:cubicBezTo>
                    <a:pt x="1738" y="7286"/>
                    <a:pt x="1719" y="7312"/>
                    <a:pt x="1704" y="7333"/>
                  </a:cubicBezTo>
                  <a:cubicBezTo>
                    <a:pt x="1317" y="7883"/>
                    <a:pt x="1317" y="7883"/>
                    <a:pt x="1317" y="7883"/>
                  </a:cubicBezTo>
                  <a:cubicBezTo>
                    <a:pt x="1319" y="7883"/>
                    <a:pt x="1319" y="7883"/>
                    <a:pt x="1319" y="7883"/>
                  </a:cubicBezTo>
                  <a:cubicBezTo>
                    <a:pt x="949" y="8181"/>
                    <a:pt x="949" y="8181"/>
                    <a:pt x="949" y="8181"/>
                  </a:cubicBezTo>
                  <a:cubicBezTo>
                    <a:pt x="7" y="8964"/>
                    <a:pt x="7" y="8964"/>
                    <a:pt x="7" y="8964"/>
                  </a:cubicBezTo>
                  <a:cubicBezTo>
                    <a:pt x="7" y="8917"/>
                    <a:pt x="7" y="8917"/>
                    <a:pt x="7" y="8917"/>
                  </a:cubicBezTo>
                  <a:cubicBezTo>
                    <a:pt x="931" y="8148"/>
                    <a:pt x="931" y="8148"/>
                    <a:pt x="931" y="8148"/>
                  </a:cubicBezTo>
                  <a:cubicBezTo>
                    <a:pt x="931" y="8148"/>
                    <a:pt x="931" y="8148"/>
                    <a:pt x="931" y="8148"/>
                  </a:cubicBezTo>
                  <a:cubicBezTo>
                    <a:pt x="934" y="8147"/>
                    <a:pt x="934" y="8147"/>
                    <a:pt x="934" y="8147"/>
                  </a:cubicBezTo>
                  <a:cubicBezTo>
                    <a:pt x="940" y="8141"/>
                    <a:pt x="940" y="8141"/>
                    <a:pt x="940" y="8141"/>
                  </a:cubicBezTo>
                  <a:cubicBezTo>
                    <a:pt x="940" y="8141"/>
                    <a:pt x="940" y="8141"/>
                    <a:pt x="940" y="8141"/>
                  </a:cubicBezTo>
                  <a:cubicBezTo>
                    <a:pt x="1289" y="7857"/>
                    <a:pt x="1289" y="7857"/>
                    <a:pt x="1289" y="7857"/>
                  </a:cubicBezTo>
                  <a:cubicBezTo>
                    <a:pt x="1560" y="7479"/>
                    <a:pt x="1560" y="7479"/>
                    <a:pt x="1560" y="7479"/>
                  </a:cubicBezTo>
                  <a:cubicBezTo>
                    <a:pt x="1556" y="7478"/>
                    <a:pt x="1555" y="7477"/>
                    <a:pt x="1553" y="7476"/>
                  </a:cubicBezTo>
                  <a:cubicBezTo>
                    <a:pt x="1524" y="7462"/>
                    <a:pt x="1369" y="7362"/>
                    <a:pt x="1369" y="7362"/>
                  </a:cubicBezTo>
                  <a:cubicBezTo>
                    <a:pt x="1362" y="7357"/>
                    <a:pt x="1362" y="7357"/>
                    <a:pt x="1362" y="7357"/>
                  </a:cubicBezTo>
                  <a:cubicBezTo>
                    <a:pt x="1395" y="7195"/>
                    <a:pt x="1395" y="7195"/>
                    <a:pt x="1395" y="7195"/>
                  </a:cubicBezTo>
                  <a:cubicBezTo>
                    <a:pt x="1371" y="7157"/>
                    <a:pt x="1371" y="7157"/>
                    <a:pt x="1371" y="7157"/>
                  </a:cubicBezTo>
                  <a:cubicBezTo>
                    <a:pt x="1276" y="7013"/>
                    <a:pt x="1276" y="7013"/>
                    <a:pt x="1276" y="7013"/>
                  </a:cubicBezTo>
                  <a:cubicBezTo>
                    <a:pt x="1267" y="7001"/>
                    <a:pt x="1267" y="7001"/>
                    <a:pt x="1267" y="7001"/>
                  </a:cubicBezTo>
                  <a:cubicBezTo>
                    <a:pt x="1264" y="7003"/>
                    <a:pt x="1261" y="7006"/>
                    <a:pt x="1259" y="7007"/>
                  </a:cubicBezTo>
                  <a:cubicBezTo>
                    <a:pt x="1209" y="7039"/>
                    <a:pt x="1161" y="7053"/>
                    <a:pt x="1131" y="7059"/>
                  </a:cubicBezTo>
                  <a:cubicBezTo>
                    <a:pt x="1130" y="7062"/>
                    <a:pt x="1129" y="7065"/>
                    <a:pt x="1129" y="7065"/>
                  </a:cubicBezTo>
                  <a:cubicBezTo>
                    <a:pt x="1129" y="7065"/>
                    <a:pt x="1128" y="7065"/>
                    <a:pt x="1128" y="7065"/>
                  </a:cubicBezTo>
                  <a:cubicBezTo>
                    <a:pt x="1128" y="7066"/>
                    <a:pt x="1128" y="7066"/>
                    <a:pt x="1128" y="7066"/>
                  </a:cubicBezTo>
                  <a:cubicBezTo>
                    <a:pt x="1056" y="7261"/>
                    <a:pt x="1056" y="7261"/>
                    <a:pt x="1056" y="7261"/>
                  </a:cubicBezTo>
                  <a:cubicBezTo>
                    <a:pt x="1054" y="7261"/>
                    <a:pt x="1054" y="7261"/>
                    <a:pt x="1054" y="7261"/>
                  </a:cubicBezTo>
                  <a:cubicBezTo>
                    <a:pt x="933" y="7567"/>
                    <a:pt x="933" y="7567"/>
                    <a:pt x="933" y="7567"/>
                  </a:cubicBezTo>
                  <a:cubicBezTo>
                    <a:pt x="931" y="7570"/>
                    <a:pt x="931" y="7570"/>
                    <a:pt x="931" y="7570"/>
                  </a:cubicBezTo>
                  <a:cubicBezTo>
                    <a:pt x="866" y="7625"/>
                    <a:pt x="866" y="7625"/>
                    <a:pt x="866" y="7625"/>
                  </a:cubicBezTo>
                  <a:cubicBezTo>
                    <a:pt x="292" y="8240"/>
                    <a:pt x="292" y="8240"/>
                    <a:pt x="292" y="8240"/>
                  </a:cubicBezTo>
                  <a:cubicBezTo>
                    <a:pt x="240" y="8292"/>
                    <a:pt x="164" y="8388"/>
                    <a:pt x="7" y="8454"/>
                  </a:cubicBezTo>
                  <a:cubicBezTo>
                    <a:pt x="7" y="8415"/>
                    <a:pt x="7" y="8415"/>
                    <a:pt x="7" y="8415"/>
                  </a:cubicBezTo>
                  <a:cubicBezTo>
                    <a:pt x="117" y="8366"/>
                    <a:pt x="182" y="8302"/>
                    <a:pt x="230" y="8252"/>
                  </a:cubicBezTo>
                  <a:cubicBezTo>
                    <a:pt x="222" y="8245"/>
                    <a:pt x="206" y="8231"/>
                    <a:pt x="183" y="8212"/>
                  </a:cubicBezTo>
                  <a:cubicBezTo>
                    <a:pt x="142" y="8179"/>
                    <a:pt x="80" y="8132"/>
                    <a:pt x="7" y="8088"/>
                  </a:cubicBezTo>
                  <a:cubicBezTo>
                    <a:pt x="7" y="8046"/>
                    <a:pt x="7" y="8046"/>
                    <a:pt x="7" y="8046"/>
                  </a:cubicBezTo>
                  <a:cubicBezTo>
                    <a:pt x="133" y="8120"/>
                    <a:pt x="230" y="8204"/>
                    <a:pt x="255" y="8226"/>
                  </a:cubicBezTo>
                  <a:cubicBezTo>
                    <a:pt x="259" y="8223"/>
                    <a:pt x="262" y="8219"/>
                    <a:pt x="266" y="8215"/>
                  </a:cubicBezTo>
                  <a:cubicBezTo>
                    <a:pt x="603" y="7856"/>
                    <a:pt x="603" y="7856"/>
                    <a:pt x="603" y="7856"/>
                  </a:cubicBezTo>
                  <a:cubicBezTo>
                    <a:pt x="601" y="7853"/>
                    <a:pt x="601" y="7853"/>
                    <a:pt x="601" y="7853"/>
                  </a:cubicBezTo>
                  <a:cubicBezTo>
                    <a:pt x="599" y="7855"/>
                    <a:pt x="599" y="7855"/>
                    <a:pt x="599" y="7855"/>
                  </a:cubicBezTo>
                  <a:cubicBezTo>
                    <a:pt x="180" y="7273"/>
                    <a:pt x="180" y="7273"/>
                    <a:pt x="180" y="7273"/>
                  </a:cubicBezTo>
                  <a:cubicBezTo>
                    <a:pt x="7" y="7208"/>
                    <a:pt x="7" y="7208"/>
                    <a:pt x="7" y="7208"/>
                  </a:cubicBezTo>
                  <a:cubicBezTo>
                    <a:pt x="7" y="7180"/>
                    <a:pt x="7" y="7180"/>
                    <a:pt x="7" y="7180"/>
                  </a:cubicBezTo>
                  <a:cubicBezTo>
                    <a:pt x="197" y="7251"/>
                    <a:pt x="197" y="7251"/>
                    <a:pt x="197" y="7251"/>
                  </a:cubicBezTo>
                  <a:cubicBezTo>
                    <a:pt x="615" y="7833"/>
                    <a:pt x="615" y="7833"/>
                    <a:pt x="615" y="7833"/>
                  </a:cubicBezTo>
                  <a:cubicBezTo>
                    <a:pt x="617" y="7835"/>
                    <a:pt x="619" y="7836"/>
                    <a:pt x="621" y="7837"/>
                  </a:cubicBezTo>
                  <a:cubicBezTo>
                    <a:pt x="871" y="7571"/>
                    <a:pt x="871" y="7571"/>
                    <a:pt x="871" y="7571"/>
                  </a:cubicBezTo>
                  <a:cubicBezTo>
                    <a:pt x="871" y="7572"/>
                    <a:pt x="871" y="7572"/>
                    <a:pt x="871" y="7572"/>
                  </a:cubicBezTo>
                  <a:cubicBezTo>
                    <a:pt x="901" y="7545"/>
                    <a:pt x="901" y="7545"/>
                    <a:pt x="901" y="7545"/>
                  </a:cubicBezTo>
                  <a:cubicBezTo>
                    <a:pt x="1030" y="7226"/>
                    <a:pt x="1030" y="7226"/>
                    <a:pt x="1030" y="7226"/>
                  </a:cubicBezTo>
                  <a:cubicBezTo>
                    <a:pt x="1030" y="7226"/>
                    <a:pt x="1030" y="7226"/>
                    <a:pt x="1030" y="7226"/>
                  </a:cubicBezTo>
                  <a:cubicBezTo>
                    <a:pt x="1089" y="7068"/>
                    <a:pt x="1089" y="7068"/>
                    <a:pt x="1089" y="7068"/>
                  </a:cubicBezTo>
                  <a:cubicBezTo>
                    <a:pt x="1086" y="7062"/>
                    <a:pt x="1080" y="7051"/>
                    <a:pt x="1071" y="7036"/>
                  </a:cubicBezTo>
                  <a:cubicBezTo>
                    <a:pt x="1028" y="6963"/>
                    <a:pt x="921" y="6795"/>
                    <a:pt x="759" y="6646"/>
                  </a:cubicBezTo>
                  <a:cubicBezTo>
                    <a:pt x="578" y="6480"/>
                    <a:pt x="341" y="6330"/>
                    <a:pt x="186" y="6261"/>
                  </a:cubicBezTo>
                  <a:cubicBezTo>
                    <a:pt x="186" y="6262"/>
                    <a:pt x="186" y="6262"/>
                    <a:pt x="186" y="6262"/>
                  </a:cubicBezTo>
                  <a:cubicBezTo>
                    <a:pt x="184" y="6264"/>
                    <a:pt x="184" y="6264"/>
                    <a:pt x="184" y="6264"/>
                  </a:cubicBezTo>
                  <a:cubicBezTo>
                    <a:pt x="153" y="6297"/>
                    <a:pt x="115" y="6374"/>
                    <a:pt x="9" y="6438"/>
                  </a:cubicBezTo>
                  <a:cubicBezTo>
                    <a:pt x="9" y="6438"/>
                    <a:pt x="8" y="6439"/>
                    <a:pt x="7" y="6439"/>
                  </a:cubicBezTo>
                  <a:cubicBezTo>
                    <a:pt x="7" y="6396"/>
                    <a:pt x="7" y="6396"/>
                    <a:pt x="7" y="6396"/>
                  </a:cubicBezTo>
                  <a:cubicBezTo>
                    <a:pt x="87" y="6342"/>
                    <a:pt x="119" y="6285"/>
                    <a:pt x="152" y="6246"/>
                  </a:cubicBezTo>
                  <a:cubicBezTo>
                    <a:pt x="134" y="6239"/>
                    <a:pt x="118" y="6234"/>
                    <a:pt x="104" y="6229"/>
                  </a:cubicBezTo>
                  <a:cubicBezTo>
                    <a:pt x="76" y="6221"/>
                    <a:pt x="44" y="6212"/>
                    <a:pt x="7" y="6203"/>
                  </a:cubicBezTo>
                  <a:cubicBezTo>
                    <a:pt x="7" y="6166"/>
                    <a:pt x="7" y="6166"/>
                    <a:pt x="7" y="6166"/>
                  </a:cubicBezTo>
                  <a:cubicBezTo>
                    <a:pt x="48" y="6176"/>
                    <a:pt x="84" y="6185"/>
                    <a:pt x="115" y="6195"/>
                  </a:cubicBezTo>
                  <a:cubicBezTo>
                    <a:pt x="131" y="6200"/>
                    <a:pt x="150" y="6207"/>
                    <a:pt x="170" y="6215"/>
                  </a:cubicBezTo>
                  <a:cubicBezTo>
                    <a:pt x="1281" y="4182"/>
                    <a:pt x="1281" y="4182"/>
                    <a:pt x="1281" y="4182"/>
                  </a:cubicBezTo>
                  <a:cubicBezTo>
                    <a:pt x="1278" y="4181"/>
                    <a:pt x="1278" y="4180"/>
                    <a:pt x="1276" y="4179"/>
                  </a:cubicBezTo>
                  <a:cubicBezTo>
                    <a:pt x="1271" y="4175"/>
                    <a:pt x="1267" y="4170"/>
                    <a:pt x="1259" y="4161"/>
                  </a:cubicBezTo>
                  <a:cubicBezTo>
                    <a:pt x="1159" y="4045"/>
                    <a:pt x="638" y="3365"/>
                    <a:pt x="541" y="3237"/>
                  </a:cubicBezTo>
                  <a:cubicBezTo>
                    <a:pt x="7" y="3808"/>
                    <a:pt x="7" y="3808"/>
                    <a:pt x="7" y="3808"/>
                  </a:cubicBezTo>
                  <a:cubicBezTo>
                    <a:pt x="7" y="3755"/>
                    <a:pt x="7" y="3755"/>
                    <a:pt x="7" y="3755"/>
                  </a:cubicBezTo>
                  <a:cubicBezTo>
                    <a:pt x="1252" y="2424"/>
                    <a:pt x="1252" y="2424"/>
                    <a:pt x="1252" y="2424"/>
                  </a:cubicBezTo>
                  <a:cubicBezTo>
                    <a:pt x="811" y="2083"/>
                    <a:pt x="811" y="2083"/>
                    <a:pt x="811" y="2083"/>
                  </a:cubicBezTo>
                  <a:cubicBezTo>
                    <a:pt x="809" y="2081"/>
                    <a:pt x="809" y="2081"/>
                    <a:pt x="809" y="2081"/>
                  </a:cubicBezTo>
                  <a:cubicBezTo>
                    <a:pt x="809" y="2080"/>
                    <a:pt x="744" y="1990"/>
                    <a:pt x="711" y="1891"/>
                  </a:cubicBezTo>
                  <a:cubicBezTo>
                    <a:pt x="704" y="1884"/>
                    <a:pt x="678" y="1861"/>
                    <a:pt x="640" y="1829"/>
                  </a:cubicBezTo>
                  <a:cubicBezTo>
                    <a:pt x="517" y="1726"/>
                    <a:pt x="261" y="1516"/>
                    <a:pt x="7" y="1309"/>
                  </a:cubicBezTo>
                  <a:cubicBezTo>
                    <a:pt x="7" y="1263"/>
                    <a:pt x="7" y="1263"/>
                    <a:pt x="7" y="1263"/>
                  </a:cubicBezTo>
                  <a:cubicBezTo>
                    <a:pt x="19" y="1272"/>
                    <a:pt x="30" y="1281"/>
                    <a:pt x="41" y="1290"/>
                  </a:cubicBezTo>
                  <a:cubicBezTo>
                    <a:pt x="214" y="1431"/>
                    <a:pt x="387" y="1573"/>
                    <a:pt x="518" y="1681"/>
                  </a:cubicBezTo>
                  <a:cubicBezTo>
                    <a:pt x="584" y="1735"/>
                    <a:pt x="638" y="1780"/>
                    <a:pt x="677" y="1813"/>
                  </a:cubicBezTo>
                  <a:cubicBezTo>
                    <a:pt x="696" y="1829"/>
                    <a:pt x="712" y="1842"/>
                    <a:pt x="722" y="1852"/>
                  </a:cubicBezTo>
                  <a:cubicBezTo>
                    <a:pt x="728" y="1857"/>
                    <a:pt x="732" y="1861"/>
                    <a:pt x="735" y="1864"/>
                  </a:cubicBezTo>
                  <a:cubicBezTo>
                    <a:pt x="737" y="1865"/>
                    <a:pt x="738" y="1867"/>
                    <a:pt x="739" y="1868"/>
                  </a:cubicBezTo>
                  <a:cubicBezTo>
                    <a:pt x="741" y="1870"/>
                    <a:pt x="742" y="1870"/>
                    <a:pt x="744" y="1875"/>
                  </a:cubicBezTo>
                  <a:cubicBezTo>
                    <a:pt x="745" y="1876"/>
                    <a:pt x="745" y="1876"/>
                    <a:pt x="745" y="1876"/>
                  </a:cubicBezTo>
                  <a:cubicBezTo>
                    <a:pt x="745" y="1876"/>
                    <a:pt x="745" y="1876"/>
                    <a:pt x="745" y="1876"/>
                  </a:cubicBezTo>
                  <a:cubicBezTo>
                    <a:pt x="759" y="1923"/>
                    <a:pt x="783" y="1969"/>
                    <a:pt x="803" y="2003"/>
                  </a:cubicBezTo>
                  <a:cubicBezTo>
                    <a:pt x="819" y="2032"/>
                    <a:pt x="833" y="2052"/>
                    <a:pt x="837" y="2058"/>
                  </a:cubicBezTo>
                  <a:cubicBezTo>
                    <a:pt x="1278" y="2398"/>
                    <a:pt x="1278" y="2398"/>
                    <a:pt x="1278" y="2398"/>
                  </a:cubicBezTo>
                  <a:cubicBezTo>
                    <a:pt x="1271" y="2406"/>
                    <a:pt x="1271" y="2406"/>
                    <a:pt x="1271" y="2406"/>
                  </a:cubicBezTo>
                  <a:cubicBezTo>
                    <a:pt x="1340" y="2346"/>
                    <a:pt x="1616" y="2106"/>
                    <a:pt x="1894" y="1866"/>
                  </a:cubicBezTo>
                  <a:cubicBezTo>
                    <a:pt x="2054" y="1727"/>
                    <a:pt x="2215" y="1589"/>
                    <a:pt x="2336" y="1485"/>
                  </a:cubicBezTo>
                  <a:cubicBezTo>
                    <a:pt x="2397" y="1433"/>
                    <a:pt x="2448" y="1390"/>
                    <a:pt x="2484" y="1359"/>
                  </a:cubicBezTo>
                  <a:cubicBezTo>
                    <a:pt x="2502" y="1344"/>
                    <a:pt x="2517" y="1332"/>
                    <a:pt x="2527" y="1324"/>
                  </a:cubicBezTo>
                  <a:cubicBezTo>
                    <a:pt x="2529" y="1322"/>
                    <a:pt x="2529" y="1322"/>
                    <a:pt x="2531" y="1321"/>
                  </a:cubicBezTo>
                  <a:cubicBezTo>
                    <a:pt x="2542" y="1301"/>
                    <a:pt x="2542" y="1301"/>
                    <a:pt x="2542" y="1301"/>
                  </a:cubicBezTo>
                  <a:cubicBezTo>
                    <a:pt x="2539" y="1297"/>
                    <a:pt x="2536" y="1293"/>
                    <a:pt x="2534" y="1289"/>
                  </a:cubicBezTo>
                  <a:cubicBezTo>
                    <a:pt x="2512" y="1241"/>
                    <a:pt x="2495" y="1175"/>
                    <a:pt x="2482" y="1118"/>
                  </a:cubicBezTo>
                  <a:cubicBezTo>
                    <a:pt x="2471" y="1066"/>
                    <a:pt x="2463" y="1023"/>
                    <a:pt x="2462" y="1016"/>
                  </a:cubicBezTo>
                  <a:cubicBezTo>
                    <a:pt x="2253" y="0"/>
                    <a:pt x="2253" y="0"/>
                    <a:pt x="2253" y="0"/>
                  </a:cubicBezTo>
                  <a:cubicBezTo>
                    <a:pt x="2370" y="0"/>
                    <a:pt x="2370" y="0"/>
                    <a:pt x="2370" y="0"/>
                  </a:cubicBezTo>
                  <a:cubicBezTo>
                    <a:pt x="2575" y="995"/>
                    <a:pt x="2575" y="995"/>
                    <a:pt x="2575" y="995"/>
                  </a:cubicBezTo>
                  <a:cubicBezTo>
                    <a:pt x="2575" y="996"/>
                    <a:pt x="2575" y="996"/>
                    <a:pt x="2575" y="996"/>
                  </a:cubicBezTo>
                  <a:cubicBezTo>
                    <a:pt x="2575" y="996"/>
                    <a:pt x="2582" y="1040"/>
                    <a:pt x="2594" y="1093"/>
                  </a:cubicBezTo>
                  <a:cubicBezTo>
                    <a:pt x="2606" y="1146"/>
                    <a:pt x="2623" y="1210"/>
                    <a:pt x="2638" y="1239"/>
                  </a:cubicBezTo>
                  <a:cubicBezTo>
                    <a:pt x="2649" y="1263"/>
                    <a:pt x="2672" y="1285"/>
                    <a:pt x="2703" y="1303"/>
                  </a:cubicBezTo>
                  <a:cubicBezTo>
                    <a:pt x="2733" y="1321"/>
                    <a:pt x="2768" y="1335"/>
                    <a:pt x="2796" y="1345"/>
                  </a:cubicBezTo>
                  <a:cubicBezTo>
                    <a:pt x="2854" y="1366"/>
                    <a:pt x="3623" y="1643"/>
                    <a:pt x="3900" y="1735"/>
                  </a:cubicBezTo>
                  <a:cubicBezTo>
                    <a:pt x="3924" y="1742"/>
                    <a:pt x="3947" y="1751"/>
                    <a:pt x="3971" y="1761"/>
                  </a:cubicBezTo>
                  <a:cubicBezTo>
                    <a:pt x="3971" y="1761"/>
                    <a:pt x="3971" y="1761"/>
                    <a:pt x="3971" y="1761"/>
                  </a:cubicBezTo>
                  <a:cubicBezTo>
                    <a:pt x="3973" y="1760"/>
                    <a:pt x="3978" y="1752"/>
                    <a:pt x="3982" y="1745"/>
                  </a:cubicBezTo>
                  <a:cubicBezTo>
                    <a:pt x="4049" y="1410"/>
                    <a:pt x="4049" y="1410"/>
                    <a:pt x="4049" y="1410"/>
                  </a:cubicBezTo>
                  <a:cubicBezTo>
                    <a:pt x="4050" y="1408"/>
                    <a:pt x="4050" y="1408"/>
                    <a:pt x="4050" y="1408"/>
                  </a:cubicBezTo>
                  <a:cubicBezTo>
                    <a:pt x="4050" y="1407"/>
                    <a:pt x="4078" y="1356"/>
                    <a:pt x="4119" y="1287"/>
                  </a:cubicBezTo>
                  <a:cubicBezTo>
                    <a:pt x="4139" y="1255"/>
                    <a:pt x="4157" y="1204"/>
                    <a:pt x="4171" y="1162"/>
                  </a:cubicBezTo>
                  <a:cubicBezTo>
                    <a:pt x="4184" y="1119"/>
                    <a:pt x="4193" y="1086"/>
                    <a:pt x="4193" y="1086"/>
                  </a:cubicBezTo>
                  <a:cubicBezTo>
                    <a:pt x="4193" y="1084"/>
                    <a:pt x="4193" y="1084"/>
                    <a:pt x="4193" y="1084"/>
                  </a:cubicBezTo>
                  <a:cubicBezTo>
                    <a:pt x="4432" y="619"/>
                    <a:pt x="4432" y="619"/>
                    <a:pt x="4432" y="619"/>
                  </a:cubicBezTo>
                  <a:cubicBezTo>
                    <a:pt x="4409" y="53"/>
                    <a:pt x="4409" y="53"/>
                    <a:pt x="4409" y="53"/>
                  </a:cubicBezTo>
                  <a:cubicBezTo>
                    <a:pt x="4362" y="0"/>
                    <a:pt x="4362" y="0"/>
                    <a:pt x="4362" y="0"/>
                  </a:cubicBezTo>
                  <a:cubicBezTo>
                    <a:pt x="4410" y="0"/>
                    <a:pt x="4410" y="0"/>
                    <a:pt x="4410" y="0"/>
                  </a:cubicBezTo>
                  <a:cubicBezTo>
                    <a:pt x="4434" y="28"/>
                    <a:pt x="4434" y="28"/>
                    <a:pt x="4434" y="28"/>
                  </a:cubicBezTo>
                  <a:cubicBezTo>
                    <a:pt x="4563" y="23"/>
                    <a:pt x="4671" y="12"/>
                    <a:pt x="4760" y="0"/>
                  </a:cubicBezTo>
                  <a:cubicBezTo>
                    <a:pt x="4966" y="0"/>
                    <a:pt x="4966" y="0"/>
                    <a:pt x="4966" y="0"/>
                  </a:cubicBezTo>
                  <a:cubicBezTo>
                    <a:pt x="4866" y="23"/>
                    <a:pt x="4694" y="53"/>
                    <a:pt x="4445" y="64"/>
                  </a:cubicBezTo>
                  <a:cubicBezTo>
                    <a:pt x="4468" y="607"/>
                    <a:pt x="4468" y="607"/>
                    <a:pt x="4468" y="607"/>
                  </a:cubicBezTo>
                  <a:cubicBezTo>
                    <a:pt x="4470" y="604"/>
                    <a:pt x="4470" y="604"/>
                    <a:pt x="4470" y="604"/>
                  </a:cubicBezTo>
                  <a:cubicBezTo>
                    <a:pt x="4470" y="604"/>
                    <a:pt x="4514" y="628"/>
                    <a:pt x="4595" y="664"/>
                  </a:cubicBezTo>
                  <a:cubicBezTo>
                    <a:pt x="4676" y="699"/>
                    <a:pt x="4793" y="745"/>
                    <a:pt x="4936" y="788"/>
                  </a:cubicBezTo>
                  <a:cubicBezTo>
                    <a:pt x="5100" y="837"/>
                    <a:pt x="5267" y="886"/>
                    <a:pt x="5402" y="921"/>
                  </a:cubicBezTo>
                  <a:cubicBezTo>
                    <a:pt x="5407" y="901"/>
                    <a:pt x="5420" y="857"/>
                    <a:pt x="5433" y="809"/>
                  </a:cubicBezTo>
                  <a:cubicBezTo>
                    <a:pt x="5450" y="743"/>
                    <a:pt x="5468" y="666"/>
                    <a:pt x="5469" y="636"/>
                  </a:cubicBezTo>
                  <a:cubicBezTo>
                    <a:pt x="5473" y="565"/>
                    <a:pt x="5488" y="539"/>
                    <a:pt x="5508" y="486"/>
                  </a:cubicBezTo>
                  <a:cubicBezTo>
                    <a:pt x="5514" y="473"/>
                    <a:pt x="5524" y="464"/>
                    <a:pt x="5538" y="450"/>
                  </a:cubicBezTo>
                  <a:cubicBezTo>
                    <a:pt x="5587" y="407"/>
                    <a:pt x="5689" y="339"/>
                    <a:pt x="5782" y="280"/>
                  </a:cubicBezTo>
                  <a:cubicBezTo>
                    <a:pt x="5828" y="251"/>
                    <a:pt x="5872" y="225"/>
                    <a:pt x="5904" y="206"/>
                  </a:cubicBezTo>
                  <a:cubicBezTo>
                    <a:pt x="5918" y="198"/>
                    <a:pt x="5929" y="191"/>
                    <a:pt x="5950" y="180"/>
                  </a:cubicBezTo>
                  <a:cubicBezTo>
                    <a:pt x="5968" y="211"/>
                    <a:pt x="5968" y="211"/>
                    <a:pt x="5968" y="211"/>
                  </a:cubicBezTo>
                  <a:cubicBezTo>
                    <a:pt x="5919" y="239"/>
                    <a:pt x="5831" y="291"/>
                    <a:pt x="5747" y="346"/>
                  </a:cubicBezTo>
                  <a:cubicBezTo>
                    <a:pt x="5696" y="379"/>
                    <a:pt x="5645" y="412"/>
                    <a:pt x="5607" y="441"/>
                  </a:cubicBezTo>
                  <a:cubicBezTo>
                    <a:pt x="5588" y="455"/>
                    <a:pt x="5572" y="468"/>
                    <a:pt x="5560" y="479"/>
                  </a:cubicBezTo>
                  <a:cubicBezTo>
                    <a:pt x="5549" y="489"/>
                    <a:pt x="5542" y="499"/>
                    <a:pt x="5542" y="499"/>
                  </a:cubicBezTo>
                  <a:cubicBezTo>
                    <a:pt x="5521" y="556"/>
                    <a:pt x="5509" y="572"/>
                    <a:pt x="5505" y="638"/>
                  </a:cubicBezTo>
                  <a:cubicBezTo>
                    <a:pt x="5502" y="702"/>
                    <a:pt x="5451" y="880"/>
                    <a:pt x="5436" y="930"/>
                  </a:cubicBezTo>
                  <a:cubicBezTo>
                    <a:pt x="5523" y="952"/>
                    <a:pt x="5594" y="967"/>
                    <a:pt x="5639" y="969"/>
                  </a:cubicBezTo>
                  <a:cubicBezTo>
                    <a:pt x="5652" y="970"/>
                    <a:pt x="5663" y="970"/>
                    <a:pt x="5674" y="970"/>
                  </a:cubicBezTo>
                  <a:cubicBezTo>
                    <a:pt x="5772" y="970"/>
                    <a:pt x="5830" y="944"/>
                    <a:pt x="5932" y="889"/>
                  </a:cubicBezTo>
                  <a:cubicBezTo>
                    <a:pt x="6045" y="827"/>
                    <a:pt x="6274" y="693"/>
                    <a:pt x="6275" y="693"/>
                  </a:cubicBezTo>
                  <a:cubicBezTo>
                    <a:pt x="6275" y="693"/>
                    <a:pt x="6275" y="693"/>
                    <a:pt x="6275" y="693"/>
                  </a:cubicBezTo>
                  <a:cubicBezTo>
                    <a:pt x="6276" y="693"/>
                    <a:pt x="6276" y="693"/>
                    <a:pt x="6276" y="693"/>
                  </a:cubicBezTo>
                  <a:cubicBezTo>
                    <a:pt x="6277" y="692"/>
                    <a:pt x="6327" y="667"/>
                    <a:pt x="6395" y="667"/>
                  </a:cubicBezTo>
                  <a:cubicBezTo>
                    <a:pt x="6465" y="666"/>
                    <a:pt x="6555" y="696"/>
                    <a:pt x="6619" y="805"/>
                  </a:cubicBezTo>
                  <a:cubicBezTo>
                    <a:pt x="6897" y="1308"/>
                    <a:pt x="6897" y="1308"/>
                    <a:pt x="6897" y="1308"/>
                  </a:cubicBezTo>
                  <a:cubicBezTo>
                    <a:pt x="6897" y="1308"/>
                    <a:pt x="6904" y="1322"/>
                    <a:pt x="6919" y="1343"/>
                  </a:cubicBezTo>
                  <a:cubicBezTo>
                    <a:pt x="6933" y="1364"/>
                    <a:pt x="6954" y="1391"/>
                    <a:pt x="6980" y="1417"/>
                  </a:cubicBezTo>
                  <a:cubicBezTo>
                    <a:pt x="7002" y="1440"/>
                    <a:pt x="7034" y="1458"/>
                    <a:pt x="7064" y="1480"/>
                  </a:cubicBezTo>
                  <a:cubicBezTo>
                    <a:pt x="7066" y="1467"/>
                    <a:pt x="7069" y="1451"/>
                    <a:pt x="7073" y="1435"/>
                  </a:cubicBezTo>
                  <a:cubicBezTo>
                    <a:pt x="7079" y="1402"/>
                    <a:pt x="7085" y="1365"/>
                    <a:pt x="7087" y="1351"/>
                  </a:cubicBezTo>
                  <a:cubicBezTo>
                    <a:pt x="7083" y="1345"/>
                    <a:pt x="7084" y="1342"/>
                    <a:pt x="7084" y="1338"/>
                  </a:cubicBezTo>
                  <a:cubicBezTo>
                    <a:pt x="7084" y="1326"/>
                    <a:pt x="7087" y="1310"/>
                    <a:pt x="7095" y="1294"/>
                  </a:cubicBezTo>
                  <a:cubicBezTo>
                    <a:pt x="7104" y="1279"/>
                    <a:pt x="7119" y="1261"/>
                    <a:pt x="7142" y="1257"/>
                  </a:cubicBezTo>
                  <a:cubicBezTo>
                    <a:pt x="7183" y="1251"/>
                    <a:pt x="7377" y="1216"/>
                    <a:pt x="7430" y="1193"/>
                  </a:cubicBezTo>
                  <a:cubicBezTo>
                    <a:pt x="7487" y="1170"/>
                    <a:pt x="7664" y="1132"/>
                    <a:pt x="7759" y="1122"/>
                  </a:cubicBezTo>
                  <a:cubicBezTo>
                    <a:pt x="7769" y="589"/>
                    <a:pt x="7769" y="589"/>
                    <a:pt x="7769" y="589"/>
                  </a:cubicBezTo>
                  <a:cubicBezTo>
                    <a:pt x="7605" y="268"/>
                    <a:pt x="7605" y="268"/>
                    <a:pt x="7605" y="268"/>
                  </a:cubicBezTo>
                  <a:cubicBezTo>
                    <a:pt x="7599" y="257"/>
                    <a:pt x="7528" y="139"/>
                    <a:pt x="7458" y="21"/>
                  </a:cubicBezTo>
                  <a:cubicBezTo>
                    <a:pt x="7454" y="14"/>
                    <a:pt x="7450" y="7"/>
                    <a:pt x="7446" y="0"/>
                  </a:cubicBezTo>
                  <a:cubicBezTo>
                    <a:pt x="7488" y="0"/>
                    <a:pt x="7488" y="0"/>
                    <a:pt x="7488" y="0"/>
                  </a:cubicBezTo>
                  <a:cubicBezTo>
                    <a:pt x="7562" y="125"/>
                    <a:pt x="7636" y="250"/>
                    <a:pt x="7637" y="250"/>
                  </a:cubicBezTo>
                  <a:cubicBezTo>
                    <a:pt x="7637" y="250"/>
                    <a:pt x="7637" y="250"/>
                    <a:pt x="7637" y="250"/>
                  </a:cubicBezTo>
                  <a:cubicBezTo>
                    <a:pt x="7805" y="581"/>
                    <a:pt x="7805" y="581"/>
                    <a:pt x="7805" y="581"/>
                  </a:cubicBezTo>
                  <a:cubicBezTo>
                    <a:pt x="7795" y="1120"/>
                    <a:pt x="7795" y="1120"/>
                    <a:pt x="7795" y="1120"/>
                  </a:cubicBezTo>
                  <a:cubicBezTo>
                    <a:pt x="7799" y="1120"/>
                    <a:pt x="7802" y="1120"/>
                    <a:pt x="7807" y="1120"/>
                  </a:cubicBezTo>
                  <a:cubicBezTo>
                    <a:pt x="7920" y="1120"/>
                    <a:pt x="8282" y="1141"/>
                    <a:pt x="8464" y="1147"/>
                  </a:cubicBezTo>
                  <a:cubicBezTo>
                    <a:pt x="8488" y="1148"/>
                    <a:pt x="8521" y="1149"/>
                    <a:pt x="8559" y="1149"/>
                  </a:cubicBezTo>
                  <a:cubicBezTo>
                    <a:pt x="8804" y="1149"/>
                    <a:pt x="9279" y="1133"/>
                    <a:pt x="9359" y="1133"/>
                  </a:cubicBezTo>
                  <a:cubicBezTo>
                    <a:pt x="9362" y="1133"/>
                    <a:pt x="9365" y="1133"/>
                    <a:pt x="9367" y="1133"/>
                  </a:cubicBezTo>
                  <a:cubicBezTo>
                    <a:pt x="9367" y="1133"/>
                    <a:pt x="9367" y="1133"/>
                    <a:pt x="9367" y="1133"/>
                  </a:cubicBezTo>
                  <a:cubicBezTo>
                    <a:pt x="9375" y="1129"/>
                    <a:pt x="9399" y="1114"/>
                    <a:pt x="9427" y="1094"/>
                  </a:cubicBezTo>
                  <a:cubicBezTo>
                    <a:pt x="9476" y="1060"/>
                    <a:pt x="9543" y="1013"/>
                    <a:pt x="9599" y="974"/>
                  </a:cubicBezTo>
                  <a:cubicBezTo>
                    <a:pt x="9627" y="954"/>
                    <a:pt x="9652" y="936"/>
                    <a:pt x="9670" y="924"/>
                  </a:cubicBezTo>
                  <a:cubicBezTo>
                    <a:pt x="9680" y="917"/>
                    <a:pt x="9688" y="912"/>
                    <a:pt x="9693" y="908"/>
                  </a:cubicBezTo>
                  <a:cubicBezTo>
                    <a:pt x="9696" y="907"/>
                    <a:pt x="9699" y="905"/>
                    <a:pt x="9701" y="904"/>
                  </a:cubicBezTo>
                  <a:cubicBezTo>
                    <a:pt x="9704" y="903"/>
                    <a:pt x="9703" y="901"/>
                    <a:pt x="9713" y="900"/>
                  </a:cubicBezTo>
                  <a:cubicBezTo>
                    <a:pt x="9816" y="900"/>
                    <a:pt x="9816" y="900"/>
                    <a:pt x="9816" y="900"/>
                  </a:cubicBezTo>
                  <a:cubicBezTo>
                    <a:pt x="9815" y="827"/>
                    <a:pt x="9803" y="526"/>
                    <a:pt x="9791" y="241"/>
                  </a:cubicBezTo>
                  <a:cubicBezTo>
                    <a:pt x="9788" y="157"/>
                    <a:pt x="9784" y="75"/>
                    <a:pt x="9781" y="0"/>
                  </a:cubicBezTo>
                  <a:cubicBezTo>
                    <a:pt x="9817" y="0"/>
                    <a:pt x="9817" y="0"/>
                    <a:pt x="9817" y="0"/>
                  </a:cubicBezTo>
                  <a:cubicBezTo>
                    <a:pt x="9831" y="331"/>
                    <a:pt x="9851" y="803"/>
                    <a:pt x="9852" y="900"/>
                  </a:cubicBezTo>
                  <a:cubicBezTo>
                    <a:pt x="10602" y="900"/>
                    <a:pt x="10602" y="900"/>
                    <a:pt x="10602" y="900"/>
                  </a:cubicBezTo>
                  <a:cubicBezTo>
                    <a:pt x="10604" y="900"/>
                    <a:pt x="10749" y="900"/>
                    <a:pt x="10862" y="1008"/>
                  </a:cubicBezTo>
                  <a:cubicBezTo>
                    <a:pt x="10914" y="1059"/>
                    <a:pt x="11035" y="1165"/>
                    <a:pt x="11143" y="1257"/>
                  </a:cubicBezTo>
                  <a:cubicBezTo>
                    <a:pt x="11217" y="1321"/>
                    <a:pt x="11284" y="1378"/>
                    <a:pt x="11319" y="1408"/>
                  </a:cubicBezTo>
                  <a:cubicBezTo>
                    <a:pt x="11347" y="1421"/>
                    <a:pt x="11347" y="1421"/>
                    <a:pt x="11347" y="1421"/>
                  </a:cubicBezTo>
                  <a:cubicBezTo>
                    <a:pt x="11384" y="1386"/>
                    <a:pt x="11418" y="1352"/>
                    <a:pt x="11449" y="1323"/>
                  </a:cubicBezTo>
                  <a:cubicBezTo>
                    <a:pt x="11495" y="1278"/>
                    <a:pt x="11533" y="1241"/>
                    <a:pt x="11559" y="1216"/>
                  </a:cubicBezTo>
                  <a:cubicBezTo>
                    <a:pt x="11572" y="1203"/>
                    <a:pt x="11583" y="1192"/>
                    <a:pt x="11590" y="1185"/>
                  </a:cubicBezTo>
                  <a:cubicBezTo>
                    <a:pt x="11592" y="1184"/>
                    <a:pt x="11593" y="1182"/>
                    <a:pt x="11595" y="1181"/>
                  </a:cubicBezTo>
                  <a:cubicBezTo>
                    <a:pt x="11598" y="1176"/>
                    <a:pt x="11598" y="1176"/>
                    <a:pt x="11600" y="1173"/>
                  </a:cubicBezTo>
                  <a:cubicBezTo>
                    <a:pt x="11615" y="1157"/>
                    <a:pt x="11655" y="1116"/>
                    <a:pt x="11699" y="1070"/>
                  </a:cubicBezTo>
                  <a:cubicBezTo>
                    <a:pt x="11722" y="1046"/>
                    <a:pt x="11746" y="1020"/>
                    <a:pt x="11765" y="999"/>
                  </a:cubicBezTo>
                  <a:cubicBezTo>
                    <a:pt x="11762" y="987"/>
                    <a:pt x="11762" y="987"/>
                    <a:pt x="11762" y="987"/>
                  </a:cubicBezTo>
                  <a:cubicBezTo>
                    <a:pt x="11725" y="928"/>
                    <a:pt x="11586" y="680"/>
                    <a:pt x="11583" y="252"/>
                  </a:cubicBezTo>
                  <a:cubicBezTo>
                    <a:pt x="11582" y="162"/>
                    <a:pt x="11581" y="78"/>
                    <a:pt x="11579" y="0"/>
                  </a:cubicBezTo>
                  <a:cubicBezTo>
                    <a:pt x="11615" y="0"/>
                    <a:pt x="11615" y="0"/>
                    <a:pt x="11615" y="0"/>
                  </a:cubicBezTo>
                  <a:cubicBezTo>
                    <a:pt x="11617" y="78"/>
                    <a:pt x="11618" y="162"/>
                    <a:pt x="11619" y="252"/>
                  </a:cubicBezTo>
                  <a:cubicBezTo>
                    <a:pt x="11621" y="494"/>
                    <a:pt x="11667" y="676"/>
                    <a:pt x="11712" y="798"/>
                  </a:cubicBezTo>
                  <a:cubicBezTo>
                    <a:pt x="11734" y="859"/>
                    <a:pt x="11757" y="905"/>
                    <a:pt x="11774" y="935"/>
                  </a:cubicBezTo>
                  <a:cubicBezTo>
                    <a:pt x="11776" y="940"/>
                    <a:pt x="11778" y="943"/>
                    <a:pt x="11781" y="947"/>
                  </a:cubicBezTo>
                  <a:cubicBezTo>
                    <a:pt x="11797" y="959"/>
                    <a:pt x="11797" y="959"/>
                    <a:pt x="11797" y="959"/>
                  </a:cubicBezTo>
                  <a:cubicBezTo>
                    <a:pt x="11797" y="959"/>
                    <a:pt x="11797" y="959"/>
                    <a:pt x="11797" y="959"/>
                  </a:cubicBezTo>
                  <a:cubicBezTo>
                    <a:pt x="11819" y="927"/>
                    <a:pt x="11858" y="881"/>
                    <a:pt x="11906" y="835"/>
                  </a:cubicBezTo>
                  <a:cubicBezTo>
                    <a:pt x="11954" y="789"/>
                    <a:pt x="12010" y="743"/>
                    <a:pt x="12069" y="716"/>
                  </a:cubicBezTo>
                  <a:cubicBezTo>
                    <a:pt x="12182" y="665"/>
                    <a:pt x="12300" y="664"/>
                    <a:pt x="12422" y="659"/>
                  </a:cubicBezTo>
                  <a:cubicBezTo>
                    <a:pt x="12487" y="657"/>
                    <a:pt x="12926" y="655"/>
                    <a:pt x="13370" y="652"/>
                  </a:cubicBezTo>
                  <a:cubicBezTo>
                    <a:pt x="13591" y="651"/>
                    <a:pt x="13812" y="650"/>
                    <a:pt x="13986" y="648"/>
                  </a:cubicBezTo>
                  <a:cubicBezTo>
                    <a:pt x="13994" y="648"/>
                    <a:pt x="14002" y="648"/>
                    <a:pt x="14009" y="648"/>
                  </a:cubicBezTo>
                  <a:cubicBezTo>
                    <a:pt x="14012" y="642"/>
                    <a:pt x="14012" y="642"/>
                    <a:pt x="14012" y="642"/>
                  </a:cubicBezTo>
                  <a:cubicBezTo>
                    <a:pt x="14017" y="631"/>
                    <a:pt x="14029" y="598"/>
                    <a:pt x="14043" y="558"/>
                  </a:cubicBezTo>
                  <a:cubicBezTo>
                    <a:pt x="14088" y="430"/>
                    <a:pt x="14159" y="211"/>
                    <a:pt x="14176" y="161"/>
                  </a:cubicBezTo>
                  <a:cubicBezTo>
                    <a:pt x="14020" y="0"/>
                    <a:pt x="14020" y="0"/>
                    <a:pt x="14020" y="0"/>
                  </a:cubicBezTo>
                  <a:cubicBezTo>
                    <a:pt x="14040" y="0"/>
                    <a:pt x="14040" y="0"/>
                    <a:pt x="14040" y="0"/>
                  </a:cubicBezTo>
                  <a:cubicBezTo>
                    <a:pt x="14070" y="0"/>
                    <a:pt x="14070" y="0"/>
                    <a:pt x="14070" y="0"/>
                  </a:cubicBezTo>
                  <a:cubicBezTo>
                    <a:pt x="14077" y="0"/>
                    <a:pt x="14077" y="0"/>
                    <a:pt x="14077" y="0"/>
                  </a:cubicBezTo>
                  <a:cubicBezTo>
                    <a:pt x="14221" y="145"/>
                    <a:pt x="14221" y="145"/>
                    <a:pt x="14221" y="145"/>
                  </a:cubicBezTo>
                  <a:cubicBezTo>
                    <a:pt x="14219" y="153"/>
                    <a:pt x="14219" y="153"/>
                    <a:pt x="14219" y="153"/>
                  </a:cubicBezTo>
                  <a:cubicBezTo>
                    <a:pt x="14219" y="153"/>
                    <a:pt x="14179" y="281"/>
                    <a:pt x="14138" y="410"/>
                  </a:cubicBezTo>
                  <a:cubicBezTo>
                    <a:pt x="14117" y="474"/>
                    <a:pt x="14096" y="538"/>
                    <a:pt x="14079" y="586"/>
                  </a:cubicBezTo>
                  <a:cubicBezTo>
                    <a:pt x="14071" y="607"/>
                    <a:pt x="14065" y="625"/>
                    <a:pt x="14059" y="639"/>
                  </a:cubicBezTo>
                  <a:cubicBezTo>
                    <a:pt x="14060" y="647"/>
                    <a:pt x="14060" y="647"/>
                    <a:pt x="14060" y="647"/>
                  </a:cubicBezTo>
                  <a:cubicBezTo>
                    <a:pt x="14195" y="646"/>
                    <a:pt x="14292" y="644"/>
                    <a:pt x="14315" y="642"/>
                  </a:cubicBezTo>
                  <a:cubicBezTo>
                    <a:pt x="14378" y="637"/>
                    <a:pt x="14460" y="631"/>
                    <a:pt x="14534" y="616"/>
                  </a:cubicBezTo>
                  <a:cubicBezTo>
                    <a:pt x="14608" y="603"/>
                    <a:pt x="14674" y="579"/>
                    <a:pt x="14701" y="553"/>
                  </a:cubicBezTo>
                  <a:cubicBezTo>
                    <a:pt x="14775" y="488"/>
                    <a:pt x="14834" y="375"/>
                    <a:pt x="14846" y="346"/>
                  </a:cubicBezTo>
                  <a:cubicBezTo>
                    <a:pt x="14851" y="336"/>
                    <a:pt x="14919" y="189"/>
                    <a:pt x="15006" y="0"/>
                  </a:cubicBezTo>
                  <a:cubicBezTo>
                    <a:pt x="15133" y="0"/>
                    <a:pt x="15133" y="0"/>
                    <a:pt x="15133" y="0"/>
                  </a:cubicBezTo>
                  <a:cubicBezTo>
                    <a:pt x="15035" y="212"/>
                    <a:pt x="14956" y="383"/>
                    <a:pt x="14951" y="394"/>
                  </a:cubicBezTo>
                  <a:cubicBezTo>
                    <a:pt x="14934" y="430"/>
                    <a:pt x="14874" y="552"/>
                    <a:pt x="14777" y="639"/>
                  </a:cubicBezTo>
                  <a:cubicBezTo>
                    <a:pt x="14718" y="690"/>
                    <a:pt x="14638" y="713"/>
                    <a:pt x="14556" y="729"/>
                  </a:cubicBezTo>
                  <a:cubicBezTo>
                    <a:pt x="14473" y="745"/>
                    <a:pt x="14388" y="752"/>
                    <a:pt x="14324" y="757"/>
                  </a:cubicBezTo>
                  <a:cubicBezTo>
                    <a:pt x="14286" y="759"/>
                    <a:pt x="14162" y="761"/>
                    <a:pt x="13987" y="763"/>
                  </a:cubicBezTo>
                  <a:cubicBezTo>
                    <a:pt x="13672" y="766"/>
                    <a:pt x="13201" y="768"/>
                    <a:pt x="12858" y="770"/>
                  </a:cubicBezTo>
                  <a:cubicBezTo>
                    <a:pt x="12857" y="785"/>
                    <a:pt x="12857" y="785"/>
                    <a:pt x="12857" y="785"/>
                  </a:cubicBezTo>
                  <a:cubicBezTo>
                    <a:pt x="12859" y="799"/>
                    <a:pt x="12863" y="819"/>
                    <a:pt x="12868" y="842"/>
                  </a:cubicBezTo>
                  <a:cubicBezTo>
                    <a:pt x="12870" y="854"/>
                    <a:pt x="12873" y="867"/>
                    <a:pt x="12877" y="880"/>
                  </a:cubicBezTo>
                  <a:cubicBezTo>
                    <a:pt x="12984" y="876"/>
                    <a:pt x="13099" y="875"/>
                    <a:pt x="13221" y="875"/>
                  </a:cubicBezTo>
                  <a:cubicBezTo>
                    <a:pt x="13444" y="875"/>
                    <a:pt x="13688" y="879"/>
                    <a:pt x="13934" y="879"/>
                  </a:cubicBezTo>
                  <a:cubicBezTo>
                    <a:pt x="13956" y="879"/>
                    <a:pt x="13979" y="879"/>
                    <a:pt x="14002" y="879"/>
                  </a:cubicBezTo>
                  <a:cubicBezTo>
                    <a:pt x="14331" y="878"/>
                    <a:pt x="14539" y="856"/>
                    <a:pt x="14681" y="823"/>
                  </a:cubicBezTo>
                  <a:cubicBezTo>
                    <a:pt x="14824" y="789"/>
                    <a:pt x="14901" y="747"/>
                    <a:pt x="14983" y="693"/>
                  </a:cubicBezTo>
                  <a:cubicBezTo>
                    <a:pt x="14983" y="693"/>
                    <a:pt x="14986" y="692"/>
                    <a:pt x="14990" y="687"/>
                  </a:cubicBezTo>
                  <a:cubicBezTo>
                    <a:pt x="15007" y="671"/>
                    <a:pt x="15039" y="628"/>
                    <a:pt x="15076" y="569"/>
                  </a:cubicBezTo>
                  <a:cubicBezTo>
                    <a:pt x="15160" y="437"/>
                    <a:pt x="15272" y="226"/>
                    <a:pt x="15387" y="0"/>
                  </a:cubicBezTo>
                  <a:cubicBezTo>
                    <a:pt x="15543" y="0"/>
                    <a:pt x="15543" y="0"/>
                    <a:pt x="15543" y="0"/>
                  </a:cubicBezTo>
                  <a:cubicBezTo>
                    <a:pt x="15459" y="168"/>
                    <a:pt x="15374" y="331"/>
                    <a:pt x="15298" y="467"/>
                  </a:cubicBezTo>
                  <a:cubicBezTo>
                    <a:pt x="15250" y="552"/>
                    <a:pt x="15206" y="626"/>
                    <a:pt x="15168" y="684"/>
                  </a:cubicBezTo>
                  <a:cubicBezTo>
                    <a:pt x="15149" y="713"/>
                    <a:pt x="15131" y="737"/>
                    <a:pt x="15114" y="758"/>
                  </a:cubicBezTo>
                  <a:cubicBezTo>
                    <a:pt x="15096" y="779"/>
                    <a:pt x="15081" y="796"/>
                    <a:pt x="15059" y="810"/>
                  </a:cubicBezTo>
                  <a:cubicBezTo>
                    <a:pt x="14972" y="868"/>
                    <a:pt x="14871" y="922"/>
                    <a:pt x="14713" y="959"/>
                  </a:cubicBezTo>
                  <a:cubicBezTo>
                    <a:pt x="14555" y="996"/>
                    <a:pt x="14338" y="1017"/>
                    <a:pt x="14002" y="1018"/>
                  </a:cubicBezTo>
                  <a:cubicBezTo>
                    <a:pt x="13979" y="1018"/>
                    <a:pt x="13957" y="1018"/>
                    <a:pt x="13934" y="1018"/>
                  </a:cubicBezTo>
                  <a:cubicBezTo>
                    <a:pt x="13686" y="1018"/>
                    <a:pt x="13442" y="1014"/>
                    <a:pt x="13221" y="1014"/>
                  </a:cubicBezTo>
                  <a:cubicBezTo>
                    <a:pt x="13271" y="1016"/>
                    <a:pt x="13271" y="1016"/>
                    <a:pt x="13271" y="1016"/>
                  </a:cubicBezTo>
                  <a:cubicBezTo>
                    <a:pt x="13213" y="1016"/>
                    <a:pt x="13089" y="1045"/>
                    <a:pt x="12940" y="1076"/>
                  </a:cubicBezTo>
                  <a:cubicBezTo>
                    <a:pt x="13003" y="1240"/>
                    <a:pt x="13112" y="1548"/>
                    <a:pt x="13140" y="1656"/>
                  </a:cubicBezTo>
                  <a:cubicBezTo>
                    <a:pt x="13165" y="1753"/>
                    <a:pt x="13187" y="1889"/>
                    <a:pt x="13194" y="1930"/>
                  </a:cubicBezTo>
                  <a:cubicBezTo>
                    <a:pt x="13258" y="1902"/>
                    <a:pt x="13323" y="1901"/>
                    <a:pt x="13371" y="1899"/>
                  </a:cubicBezTo>
                  <a:cubicBezTo>
                    <a:pt x="13372" y="1899"/>
                    <a:pt x="13372" y="1899"/>
                    <a:pt x="13372" y="1899"/>
                  </a:cubicBezTo>
                  <a:cubicBezTo>
                    <a:pt x="13373" y="1899"/>
                    <a:pt x="13373" y="1899"/>
                    <a:pt x="13373" y="1899"/>
                  </a:cubicBezTo>
                  <a:cubicBezTo>
                    <a:pt x="13373" y="1899"/>
                    <a:pt x="13528" y="1903"/>
                    <a:pt x="13742" y="1906"/>
                  </a:cubicBezTo>
                  <a:cubicBezTo>
                    <a:pt x="13956" y="1909"/>
                    <a:pt x="14228" y="1913"/>
                    <a:pt x="14462" y="1913"/>
                  </a:cubicBezTo>
                  <a:cubicBezTo>
                    <a:pt x="14694" y="1913"/>
                    <a:pt x="14890" y="1909"/>
                    <a:pt x="14945" y="1899"/>
                  </a:cubicBezTo>
                  <a:cubicBezTo>
                    <a:pt x="15122" y="1868"/>
                    <a:pt x="15700" y="1824"/>
                    <a:pt x="16203" y="1690"/>
                  </a:cubicBezTo>
                  <a:cubicBezTo>
                    <a:pt x="16699" y="1559"/>
                    <a:pt x="17413" y="1025"/>
                    <a:pt x="17860" y="732"/>
                  </a:cubicBezTo>
                  <a:cubicBezTo>
                    <a:pt x="17853" y="722"/>
                    <a:pt x="17845" y="712"/>
                    <a:pt x="17838" y="703"/>
                  </a:cubicBezTo>
                  <a:cubicBezTo>
                    <a:pt x="17708" y="543"/>
                    <a:pt x="17490" y="301"/>
                    <a:pt x="17025" y="0"/>
                  </a:cubicBezTo>
                  <a:cubicBezTo>
                    <a:pt x="17091" y="0"/>
                    <a:pt x="17091" y="0"/>
                    <a:pt x="17091" y="0"/>
                  </a:cubicBezTo>
                  <a:cubicBezTo>
                    <a:pt x="17527" y="289"/>
                    <a:pt x="17739" y="524"/>
                    <a:pt x="17866" y="680"/>
                  </a:cubicBezTo>
                  <a:cubicBezTo>
                    <a:pt x="17874" y="690"/>
                    <a:pt x="17882" y="701"/>
                    <a:pt x="17890" y="712"/>
                  </a:cubicBezTo>
                  <a:cubicBezTo>
                    <a:pt x="17929" y="686"/>
                    <a:pt x="17969" y="658"/>
                    <a:pt x="18011" y="628"/>
                  </a:cubicBezTo>
                  <a:lnTo>
                    <a:pt x="18011" y="673"/>
                  </a:lnTo>
                  <a:close/>
                  <a:moveTo>
                    <a:pt x="12905" y="1083"/>
                  </a:moveTo>
                  <a:cubicBezTo>
                    <a:pt x="12903" y="1083"/>
                    <a:pt x="12902" y="1084"/>
                    <a:pt x="12901" y="1084"/>
                  </a:cubicBezTo>
                  <a:cubicBezTo>
                    <a:pt x="12788" y="1107"/>
                    <a:pt x="12659" y="1124"/>
                    <a:pt x="12555" y="1153"/>
                  </a:cubicBezTo>
                  <a:cubicBezTo>
                    <a:pt x="12381" y="1200"/>
                    <a:pt x="12269" y="1255"/>
                    <a:pt x="12241" y="1271"/>
                  </a:cubicBezTo>
                  <a:cubicBezTo>
                    <a:pt x="12171" y="1310"/>
                    <a:pt x="11805" y="1605"/>
                    <a:pt x="11625" y="1731"/>
                  </a:cubicBezTo>
                  <a:cubicBezTo>
                    <a:pt x="11578" y="1774"/>
                    <a:pt x="11531" y="1818"/>
                    <a:pt x="11485" y="1861"/>
                  </a:cubicBezTo>
                  <a:cubicBezTo>
                    <a:pt x="11340" y="1998"/>
                    <a:pt x="11203" y="2128"/>
                    <a:pt x="11092" y="2230"/>
                  </a:cubicBezTo>
                  <a:cubicBezTo>
                    <a:pt x="11036" y="2281"/>
                    <a:pt x="10987" y="2325"/>
                    <a:pt x="10947" y="2360"/>
                  </a:cubicBezTo>
                  <a:cubicBezTo>
                    <a:pt x="10906" y="2395"/>
                    <a:pt x="10876" y="2419"/>
                    <a:pt x="10849" y="2435"/>
                  </a:cubicBezTo>
                  <a:cubicBezTo>
                    <a:pt x="10829" y="2447"/>
                    <a:pt x="10808" y="2455"/>
                    <a:pt x="10776" y="2467"/>
                  </a:cubicBezTo>
                  <a:cubicBezTo>
                    <a:pt x="10729" y="2484"/>
                    <a:pt x="10664" y="2505"/>
                    <a:pt x="10584" y="2530"/>
                  </a:cubicBezTo>
                  <a:cubicBezTo>
                    <a:pt x="10616" y="2651"/>
                    <a:pt x="10657" y="2803"/>
                    <a:pt x="10696" y="2958"/>
                  </a:cubicBezTo>
                  <a:cubicBezTo>
                    <a:pt x="10697" y="2958"/>
                    <a:pt x="10697" y="2957"/>
                    <a:pt x="10698" y="2957"/>
                  </a:cubicBezTo>
                  <a:cubicBezTo>
                    <a:pt x="10700" y="2956"/>
                    <a:pt x="10700" y="2956"/>
                    <a:pt x="10700" y="2956"/>
                  </a:cubicBezTo>
                  <a:cubicBezTo>
                    <a:pt x="10700" y="2956"/>
                    <a:pt x="10700" y="2956"/>
                    <a:pt x="10700" y="2956"/>
                  </a:cubicBezTo>
                  <a:cubicBezTo>
                    <a:pt x="10706" y="2956"/>
                    <a:pt x="12290" y="2922"/>
                    <a:pt x="12291" y="2922"/>
                  </a:cubicBezTo>
                  <a:cubicBezTo>
                    <a:pt x="12290" y="2922"/>
                    <a:pt x="12293" y="2922"/>
                    <a:pt x="12298" y="2922"/>
                  </a:cubicBezTo>
                  <a:cubicBezTo>
                    <a:pt x="12317" y="2922"/>
                    <a:pt x="12367" y="2924"/>
                    <a:pt x="12422" y="2942"/>
                  </a:cubicBezTo>
                  <a:cubicBezTo>
                    <a:pt x="12434" y="2914"/>
                    <a:pt x="12476" y="2816"/>
                    <a:pt x="12494" y="2778"/>
                  </a:cubicBezTo>
                  <a:cubicBezTo>
                    <a:pt x="12502" y="2762"/>
                    <a:pt x="12529" y="2727"/>
                    <a:pt x="12568" y="2675"/>
                  </a:cubicBezTo>
                  <a:cubicBezTo>
                    <a:pt x="12682" y="2529"/>
                    <a:pt x="12889" y="2275"/>
                    <a:pt x="12901" y="2260"/>
                  </a:cubicBezTo>
                  <a:cubicBezTo>
                    <a:pt x="12909" y="2249"/>
                    <a:pt x="13014" y="2092"/>
                    <a:pt x="13094" y="2001"/>
                  </a:cubicBezTo>
                  <a:cubicBezTo>
                    <a:pt x="13115" y="1978"/>
                    <a:pt x="13137" y="1961"/>
                    <a:pt x="13160" y="1947"/>
                  </a:cubicBezTo>
                  <a:cubicBezTo>
                    <a:pt x="13158" y="1938"/>
                    <a:pt x="13133" y="1775"/>
                    <a:pt x="13105" y="1665"/>
                  </a:cubicBezTo>
                  <a:cubicBezTo>
                    <a:pt x="13078" y="1560"/>
                    <a:pt x="12967" y="1245"/>
                    <a:pt x="12905" y="1083"/>
                  </a:cubicBezTo>
                  <a:close/>
                  <a:moveTo>
                    <a:pt x="13066" y="4821"/>
                  </a:moveTo>
                  <a:cubicBezTo>
                    <a:pt x="13074" y="4809"/>
                    <a:pt x="13089" y="4785"/>
                    <a:pt x="13110" y="4749"/>
                  </a:cubicBezTo>
                  <a:cubicBezTo>
                    <a:pt x="13143" y="4693"/>
                    <a:pt x="13188" y="4611"/>
                    <a:pt x="13239" y="4501"/>
                  </a:cubicBezTo>
                  <a:cubicBezTo>
                    <a:pt x="13274" y="4427"/>
                    <a:pt x="13285" y="4362"/>
                    <a:pt x="13285" y="4309"/>
                  </a:cubicBezTo>
                  <a:cubicBezTo>
                    <a:pt x="13285" y="4260"/>
                    <a:pt x="13275" y="4221"/>
                    <a:pt x="13266" y="4195"/>
                  </a:cubicBezTo>
                  <a:cubicBezTo>
                    <a:pt x="13261" y="4181"/>
                    <a:pt x="13256" y="4171"/>
                    <a:pt x="13253" y="4164"/>
                  </a:cubicBezTo>
                  <a:cubicBezTo>
                    <a:pt x="13249" y="4158"/>
                    <a:pt x="13247" y="4155"/>
                    <a:pt x="13247" y="4155"/>
                  </a:cubicBezTo>
                  <a:cubicBezTo>
                    <a:pt x="12508" y="3031"/>
                    <a:pt x="12508" y="3031"/>
                    <a:pt x="12508" y="3031"/>
                  </a:cubicBezTo>
                  <a:cubicBezTo>
                    <a:pt x="12435" y="2964"/>
                    <a:pt x="12326" y="2958"/>
                    <a:pt x="12298" y="2958"/>
                  </a:cubicBezTo>
                  <a:cubicBezTo>
                    <a:pt x="12294" y="2958"/>
                    <a:pt x="12292" y="2958"/>
                    <a:pt x="12292" y="2958"/>
                  </a:cubicBezTo>
                  <a:cubicBezTo>
                    <a:pt x="12290" y="2958"/>
                    <a:pt x="11894" y="2967"/>
                    <a:pt x="11497" y="2975"/>
                  </a:cubicBezTo>
                  <a:cubicBezTo>
                    <a:pt x="11298" y="2980"/>
                    <a:pt x="11099" y="2984"/>
                    <a:pt x="10950" y="2987"/>
                  </a:cubicBezTo>
                  <a:cubicBezTo>
                    <a:pt x="10876" y="2989"/>
                    <a:pt x="10814" y="2990"/>
                    <a:pt x="10770" y="2991"/>
                  </a:cubicBezTo>
                  <a:cubicBezTo>
                    <a:pt x="10749" y="2991"/>
                    <a:pt x="10731" y="2992"/>
                    <a:pt x="10720" y="2992"/>
                  </a:cubicBezTo>
                  <a:cubicBezTo>
                    <a:pt x="10714" y="2992"/>
                    <a:pt x="10710" y="2992"/>
                    <a:pt x="10707" y="2992"/>
                  </a:cubicBezTo>
                  <a:cubicBezTo>
                    <a:pt x="10706" y="2992"/>
                    <a:pt x="10705" y="2992"/>
                    <a:pt x="10705" y="2992"/>
                  </a:cubicBezTo>
                  <a:cubicBezTo>
                    <a:pt x="10796" y="3357"/>
                    <a:pt x="10882" y="3728"/>
                    <a:pt x="10894" y="3762"/>
                  </a:cubicBezTo>
                  <a:cubicBezTo>
                    <a:pt x="10906" y="3799"/>
                    <a:pt x="10948" y="3951"/>
                    <a:pt x="11022" y="4103"/>
                  </a:cubicBezTo>
                  <a:cubicBezTo>
                    <a:pt x="11095" y="4256"/>
                    <a:pt x="11202" y="4406"/>
                    <a:pt x="11334" y="4440"/>
                  </a:cubicBezTo>
                  <a:cubicBezTo>
                    <a:pt x="11463" y="4474"/>
                    <a:pt x="11592" y="4483"/>
                    <a:pt x="11702" y="4483"/>
                  </a:cubicBezTo>
                  <a:cubicBezTo>
                    <a:pt x="11832" y="4483"/>
                    <a:pt x="11933" y="4470"/>
                    <a:pt x="11979" y="4470"/>
                  </a:cubicBezTo>
                  <a:cubicBezTo>
                    <a:pt x="12018" y="4470"/>
                    <a:pt x="12087" y="4471"/>
                    <a:pt x="12151" y="4502"/>
                  </a:cubicBezTo>
                  <a:cubicBezTo>
                    <a:pt x="12212" y="4531"/>
                    <a:pt x="12268" y="4590"/>
                    <a:pt x="12290" y="4694"/>
                  </a:cubicBezTo>
                  <a:cubicBezTo>
                    <a:pt x="12360" y="4698"/>
                    <a:pt x="12711" y="4722"/>
                    <a:pt x="12896" y="4772"/>
                  </a:cubicBezTo>
                  <a:lnTo>
                    <a:pt x="13066" y="4821"/>
                  </a:lnTo>
                  <a:close/>
                  <a:moveTo>
                    <a:pt x="12495" y="8730"/>
                  </a:moveTo>
                  <a:cubicBezTo>
                    <a:pt x="12033" y="7227"/>
                    <a:pt x="12033" y="7227"/>
                    <a:pt x="12033" y="7227"/>
                  </a:cubicBezTo>
                  <a:cubicBezTo>
                    <a:pt x="12033" y="7226"/>
                    <a:pt x="12031" y="7219"/>
                    <a:pt x="12026" y="7208"/>
                  </a:cubicBezTo>
                  <a:cubicBezTo>
                    <a:pt x="12013" y="7173"/>
                    <a:pt x="11975" y="7101"/>
                    <a:pt x="11898" y="7072"/>
                  </a:cubicBezTo>
                  <a:cubicBezTo>
                    <a:pt x="11853" y="7146"/>
                    <a:pt x="11792" y="7207"/>
                    <a:pt x="11708" y="7224"/>
                  </a:cubicBezTo>
                  <a:cubicBezTo>
                    <a:pt x="11701" y="7227"/>
                    <a:pt x="11695" y="7227"/>
                    <a:pt x="11685" y="7228"/>
                  </a:cubicBezTo>
                  <a:cubicBezTo>
                    <a:pt x="11674" y="7228"/>
                    <a:pt x="11661" y="7228"/>
                    <a:pt x="11646" y="7228"/>
                  </a:cubicBezTo>
                  <a:cubicBezTo>
                    <a:pt x="11547" y="7228"/>
                    <a:pt x="11360" y="7218"/>
                    <a:pt x="11360" y="7218"/>
                  </a:cubicBezTo>
                  <a:cubicBezTo>
                    <a:pt x="11359" y="7218"/>
                    <a:pt x="11208" y="7207"/>
                    <a:pt x="11057" y="7196"/>
                  </a:cubicBezTo>
                  <a:cubicBezTo>
                    <a:pt x="10982" y="7191"/>
                    <a:pt x="10906" y="7185"/>
                    <a:pt x="10849" y="7181"/>
                  </a:cubicBezTo>
                  <a:cubicBezTo>
                    <a:pt x="10821" y="7179"/>
                    <a:pt x="10797" y="7177"/>
                    <a:pt x="10781" y="7176"/>
                  </a:cubicBezTo>
                  <a:cubicBezTo>
                    <a:pt x="10773" y="7175"/>
                    <a:pt x="10766" y="7174"/>
                    <a:pt x="10762" y="7174"/>
                  </a:cubicBezTo>
                  <a:cubicBezTo>
                    <a:pt x="10759" y="7174"/>
                    <a:pt x="10758" y="7174"/>
                    <a:pt x="10756" y="7174"/>
                  </a:cubicBezTo>
                  <a:cubicBezTo>
                    <a:pt x="10756" y="7174"/>
                    <a:pt x="10755" y="7174"/>
                    <a:pt x="10755" y="7173"/>
                  </a:cubicBezTo>
                  <a:cubicBezTo>
                    <a:pt x="10755" y="7173"/>
                    <a:pt x="10754" y="7173"/>
                    <a:pt x="10754" y="7173"/>
                  </a:cubicBezTo>
                  <a:cubicBezTo>
                    <a:pt x="10754" y="7173"/>
                    <a:pt x="10753" y="7173"/>
                    <a:pt x="10752" y="7173"/>
                  </a:cubicBezTo>
                  <a:cubicBezTo>
                    <a:pt x="10752" y="7173"/>
                    <a:pt x="10751" y="7173"/>
                    <a:pt x="10750" y="7172"/>
                  </a:cubicBezTo>
                  <a:cubicBezTo>
                    <a:pt x="10749" y="7172"/>
                    <a:pt x="10748" y="7172"/>
                    <a:pt x="10746" y="7170"/>
                  </a:cubicBezTo>
                  <a:cubicBezTo>
                    <a:pt x="10745" y="7170"/>
                    <a:pt x="10744" y="7169"/>
                    <a:pt x="10743" y="7167"/>
                  </a:cubicBezTo>
                  <a:cubicBezTo>
                    <a:pt x="10738" y="7164"/>
                    <a:pt x="10727" y="7157"/>
                    <a:pt x="10712" y="7148"/>
                  </a:cubicBezTo>
                  <a:cubicBezTo>
                    <a:pt x="10269" y="8401"/>
                    <a:pt x="10269" y="8401"/>
                    <a:pt x="10269" y="8401"/>
                  </a:cubicBezTo>
                  <a:cubicBezTo>
                    <a:pt x="10268" y="8424"/>
                    <a:pt x="10268" y="8424"/>
                    <a:pt x="10268" y="8424"/>
                  </a:cubicBezTo>
                  <a:cubicBezTo>
                    <a:pt x="10275" y="8426"/>
                    <a:pt x="10282" y="8429"/>
                    <a:pt x="10290" y="8431"/>
                  </a:cubicBezTo>
                  <a:cubicBezTo>
                    <a:pt x="10539" y="8513"/>
                    <a:pt x="10774" y="8573"/>
                    <a:pt x="10946" y="8612"/>
                  </a:cubicBezTo>
                  <a:cubicBezTo>
                    <a:pt x="11032" y="8631"/>
                    <a:pt x="11103" y="8645"/>
                    <a:pt x="11152" y="8655"/>
                  </a:cubicBezTo>
                  <a:cubicBezTo>
                    <a:pt x="11193" y="8663"/>
                    <a:pt x="11219" y="8667"/>
                    <a:pt x="11225" y="8668"/>
                  </a:cubicBezTo>
                  <a:cubicBezTo>
                    <a:pt x="11272" y="8672"/>
                    <a:pt x="11938" y="8718"/>
                    <a:pt x="12136" y="8726"/>
                  </a:cubicBezTo>
                  <a:cubicBezTo>
                    <a:pt x="12241" y="8731"/>
                    <a:pt x="12361" y="8736"/>
                    <a:pt x="12494" y="8748"/>
                  </a:cubicBezTo>
                  <a:cubicBezTo>
                    <a:pt x="12495" y="8742"/>
                    <a:pt x="12495" y="8733"/>
                    <a:pt x="12495" y="8730"/>
                  </a:cubicBezTo>
                  <a:close/>
                  <a:moveTo>
                    <a:pt x="12372" y="11185"/>
                  </a:moveTo>
                  <a:cubicBezTo>
                    <a:pt x="12509" y="11051"/>
                    <a:pt x="12636" y="10926"/>
                    <a:pt x="12660" y="10901"/>
                  </a:cubicBezTo>
                  <a:cubicBezTo>
                    <a:pt x="11986" y="10332"/>
                    <a:pt x="11986" y="10332"/>
                    <a:pt x="11986" y="10332"/>
                  </a:cubicBezTo>
                  <a:cubicBezTo>
                    <a:pt x="11985" y="10332"/>
                    <a:pt x="11984" y="10331"/>
                    <a:pt x="11982" y="10330"/>
                  </a:cubicBezTo>
                  <a:cubicBezTo>
                    <a:pt x="11972" y="10325"/>
                    <a:pt x="11947" y="10314"/>
                    <a:pt x="11915" y="10314"/>
                  </a:cubicBezTo>
                  <a:cubicBezTo>
                    <a:pt x="11885" y="10314"/>
                    <a:pt x="11850" y="10323"/>
                    <a:pt x="11812" y="10355"/>
                  </a:cubicBezTo>
                  <a:cubicBezTo>
                    <a:pt x="11763" y="10399"/>
                    <a:pt x="11734" y="10420"/>
                    <a:pt x="11717" y="10432"/>
                  </a:cubicBezTo>
                  <a:cubicBezTo>
                    <a:pt x="11714" y="10433"/>
                    <a:pt x="11713" y="10434"/>
                    <a:pt x="11711" y="10436"/>
                  </a:cubicBezTo>
                  <a:cubicBezTo>
                    <a:pt x="12335" y="11221"/>
                    <a:pt x="12335" y="11221"/>
                    <a:pt x="12335" y="11221"/>
                  </a:cubicBezTo>
                  <a:cubicBezTo>
                    <a:pt x="12347" y="11209"/>
                    <a:pt x="12360" y="11197"/>
                    <a:pt x="12372" y="11185"/>
                  </a:cubicBezTo>
                  <a:close/>
                  <a:moveTo>
                    <a:pt x="11379" y="10077"/>
                  </a:moveTo>
                  <a:cubicBezTo>
                    <a:pt x="11373" y="10072"/>
                    <a:pt x="11344" y="10047"/>
                    <a:pt x="11295" y="10009"/>
                  </a:cubicBezTo>
                  <a:cubicBezTo>
                    <a:pt x="11240" y="9967"/>
                    <a:pt x="11160" y="9908"/>
                    <a:pt x="11060" y="9843"/>
                  </a:cubicBezTo>
                  <a:cubicBezTo>
                    <a:pt x="10899" y="9738"/>
                    <a:pt x="10734" y="9628"/>
                    <a:pt x="10675" y="9588"/>
                  </a:cubicBezTo>
                  <a:cubicBezTo>
                    <a:pt x="10672" y="9591"/>
                    <a:pt x="10670" y="9593"/>
                    <a:pt x="10669" y="9594"/>
                  </a:cubicBezTo>
                  <a:cubicBezTo>
                    <a:pt x="9469" y="12136"/>
                    <a:pt x="9469" y="12136"/>
                    <a:pt x="9469" y="12136"/>
                  </a:cubicBezTo>
                  <a:cubicBezTo>
                    <a:pt x="9474" y="12139"/>
                    <a:pt x="9481" y="12143"/>
                    <a:pt x="9491" y="12148"/>
                  </a:cubicBezTo>
                  <a:cubicBezTo>
                    <a:pt x="9551" y="12180"/>
                    <a:pt x="9693" y="12245"/>
                    <a:pt x="9850" y="12244"/>
                  </a:cubicBezTo>
                  <a:cubicBezTo>
                    <a:pt x="9901" y="12244"/>
                    <a:pt x="9952" y="12238"/>
                    <a:pt x="10004" y="12222"/>
                  </a:cubicBezTo>
                  <a:cubicBezTo>
                    <a:pt x="10142" y="12179"/>
                    <a:pt x="10607" y="12028"/>
                    <a:pt x="11036" y="11888"/>
                  </a:cubicBezTo>
                  <a:cubicBezTo>
                    <a:pt x="11251" y="11818"/>
                    <a:pt x="11457" y="11750"/>
                    <a:pt x="11609" y="11701"/>
                  </a:cubicBezTo>
                  <a:cubicBezTo>
                    <a:pt x="11762" y="11651"/>
                    <a:pt x="11860" y="11618"/>
                    <a:pt x="11860" y="11618"/>
                  </a:cubicBezTo>
                  <a:cubicBezTo>
                    <a:pt x="11860" y="11618"/>
                    <a:pt x="11863" y="11617"/>
                    <a:pt x="11870" y="11614"/>
                  </a:cubicBezTo>
                  <a:cubicBezTo>
                    <a:pt x="11890" y="11606"/>
                    <a:pt x="11941" y="11581"/>
                    <a:pt x="12010" y="11527"/>
                  </a:cubicBezTo>
                  <a:cubicBezTo>
                    <a:pt x="12049" y="11497"/>
                    <a:pt x="12177" y="11375"/>
                    <a:pt x="12309" y="11246"/>
                  </a:cubicBezTo>
                  <a:lnTo>
                    <a:pt x="11379" y="10077"/>
                  </a:lnTo>
                  <a:close/>
                  <a:moveTo>
                    <a:pt x="11002" y="12991"/>
                  </a:moveTo>
                  <a:cubicBezTo>
                    <a:pt x="9697" y="13419"/>
                    <a:pt x="9697" y="13419"/>
                    <a:pt x="9697" y="13419"/>
                  </a:cubicBezTo>
                  <a:cubicBezTo>
                    <a:pt x="8886" y="13695"/>
                    <a:pt x="8886" y="13695"/>
                    <a:pt x="8886" y="13695"/>
                  </a:cubicBezTo>
                  <a:cubicBezTo>
                    <a:pt x="8931" y="13696"/>
                    <a:pt x="8986" y="13698"/>
                    <a:pt x="9048" y="13699"/>
                  </a:cubicBezTo>
                  <a:cubicBezTo>
                    <a:pt x="9213" y="13704"/>
                    <a:pt x="9421" y="13708"/>
                    <a:pt x="9596" y="13708"/>
                  </a:cubicBezTo>
                  <a:cubicBezTo>
                    <a:pt x="9654" y="13708"/>
                    <a:pt x="9708" y="13708"/>
                    <a:pt x="9756" y="13707"/>
                  </a:cubicBezTo>
                  <a:cubicBezTo>
                    <a:pt x="9761" y="13706"/>
                    <a:pt x="9766" y="13706"/>
                    <a:pt x="9771" y="13706"/>
                  </a:cubicBezTo>
                  <a:cubicBezTo>
                    <a:pt x="9936" y="13706"/>
                    <a:pt x="10028" y="13773"/>
                    <a:pt x="10076" y="13841"/>
                  </a:cubicBezTo>
                  <a:cubicBezTo>
                    <a:pt x="10124" y="13908"/>
                    <a:pt x="10129" y="13974"/>
                    <a:pt x="10129" y="13976"/>
                  </a:cubicBezTo>
                  <a:cubicBezTo>
                    <a:pt x="10129" y="13977"/>
                    <a:pt x="10129" y="13977"/>
                    <a:pt x="10129" y="13977"/>
                  </a:cubicBezTo>
                  <a:cubicBezTo>
                    <a:pt x="10129" y="13977"/>
                    <a:pt x="10129" y="13977"/>
                    <a:pt x="10129" y="13977"/>
                  </a:cubicBezTo>
                  <a:cubicBezTo>
                    <a:pt x="10129" y="13978"/>
                    <a:pt x="10136" y="14678"/>
                    <a:pt x="10136" y="15026"/>
                  </a:cubicBezTo>
                  <a:cubicBezTo>
                    <a:pt x="10136" y="15084"/>
                    <a:pt x="10136" y="15132"/>
                    <a:pt x="10136" y="15166"/>
                  </a:cubicBezTo>
                  <a:cubicBezTo>
                    <a:pt x="10135" y="15183"/>
                    <a:pt x="10135" y="15196"/>
                    <a:pt x="10135" y="15205"/>
                  </a:cubicBezTo>
                  <a:cubicBezTo>
                    <a:pt x="10134" y="15210"/>
                    <a:pt x="10134" y="15213"/>
                    <a:pt x="10134" y="15216"/>
                  </a:cubicBezTo>
                  <a:cubicBezTo>
                    <a:pt x="10134" y="15218"/>
                    <a:pt x="10134" y="15219"/>
                    <a:pt x="10133" y="15221"/>
                  </a:cubicBezTo>
                  <a:cubicBezTo>
                    <a:pt x="10133" y="15222"/>
                    <a:pt x="10133" y="15223"/>
                    <a:pt x="10132" y="15225"/>
                  </a:cubicBezTo>
                  <a:cubicBezTo>
                    <a:pt x="10132" y="15226"/>
                    <a:pt x="10131" y="15227"/>
                    <a:pt x="10130" y="15228"/>
                  </a:cubicBezTo>
                  <a:cubicBezTo>
                    <a:pt x="10190" y="15274"/>
                    <a:pt x="10410" y="15442"/>
                    <a:pt x="10547" y="15547"/>
                  </a:cubicBezTo>
                  <a:cubicBezTo>
                    <a:pt x="10705" y="15668"/>
                    <a:pt x="11048" y="15905"/>
                    <a:pt x="11342" y="16118"/>
                  </a:cubicBezTo>
                  <a:cubicBezTo>
                    <a:pt x="11357" y="16129"/>
                    <a:pt x="11372" y="16140"/>
                    <a:pt x="11386" y="16151"/>
                  </a:cubicBezTo>
                  <a:cubicBezTo>
                    <a:pt x="11800" y="15359"/>
                    <a:pt x="11800" y="15359"/>
                    <a:pt x="11800" y="15359"/>
                  </a:cubicBezTo>
                  <a:cubicBezTo>
                    <a:pt x="11800" y="15358"/>
                    <a:pt x="11802" y="15355"/>
                    <a:pt x="11806" y="15346"/>
                  </a:cubicBezTo>
                  <a:cubicBezTo>
                    <a:pt x="11818" y="15322"/>
                    <a:pt x="11842" y="15263"/>
                    <a:pt x="11841" y="15195"/>
                  </a:cubicBezTo>
                  <a:cubicBezTo>
                    <a:pt x="11841" y="15101"/>
                    <a:pt x="11801" y="14989"/>
                    <a:pt x="11620" y="14906"/>
                  </a:cubicBezTo>
                  <a:cubicBezTo>
                    <a:pt x="11610" y="14902"/>
                    <a:pt x="11610" y="14902"/>
                    <a:pt x="11610" y="14902"/>
                  </a:cubicBezTo>
                  <a:cubicBezTo>
                    <a:pt x="11587" y="14495"/>
                    <a:pt x="11587" y="14495"/>
                    <a:pt x="11587" y="14495"/>
                  </a:cubicBezTo>
                  <a:cubicBezTo>
                    <a:pt x="11587" y="14495"/>
                    <a:pt x="11587" y="14495"/>
                    <a:pt x="11587" y="14495"/>
                  </a:cubicBezTo>
                  <a:cubicBezTo>
                    <a:pt x="11587" y="14493"/>
                    <a:pt x="11590" y="14430"/>
                    <a:pt x="11616" y="14365"/>
                  </a:cubicBezTo>
                  <a:cubicBezTo>
                    <a:pt x="11641" y="14300"/>
                    <a:pt x="11693" y="14229"/>
                    <a:pt x="11790" y="14229"/>
                  </a:cubicBezTo>
                  <a:cubicBezTo>
                    <a:pt x="11800" y="14229"/>
                    <a:pt x="11811" y="14230"/>
                    <a:pt x="11823" y="14232"/>
                  </a:cubicBezTo>
                  <a:cubicBezTo>
                    <a:pt x="11999" y="14259"/>
                    <a:pt x="12476" y="14346"/>
                    <a:pt x="12594" y="14368"/>
                  </a:cubicBezTo>
                  <a:cubicBezTo>
                    <a:pt x="12550" y="14168"/>
                    <a:pt x="12550" y="14168"/>
                    <a:pt x="12550" y="14168"/>
                  </a:cubicBezTo>
                  <a:cubicBezTo>
                    <a:pt x="12742" y="13874"/>
                    <a:pt x="12742" y="13874"/>
                    <a:pt x="12742" y="13874"/>
                  </a:cubicBezTo>
                  <a:cubicBezTo>
                    <a:pt x="12811" y="13673"/>
                    <a:pt x="12811" y="13673"/>
                    <a:pt x="12811" y="13673"/>
                  </a:cubicBezTo>
                  <a:cubicBezTo>
                    <a:pt x="12812" y="13672"/>
                    <a:pt x="12812" y="13672"/>
                    <a:pt x="12812" y="13672"/>
                  </a:cubicBezTo>
                  <a:cubicBezTo>
                    <a:pt x="12812" y="13672"/>
                    <a:pt x="12812" y="13672"/>
                    <a:pt x="12812" y="13672"/>
                  </a:cubicBezTo>
                  <a:cubicBezTo>
                    <a:pt x="12812" y="13671"/>
                    <a:pt x="12814" y="13667"/>
                    <a:pt x="12814" y="13661"/>
                  </a:cubicBezTo>
                  <a:cubicBezTo>
                    <a:pt x="12813" y="13649"/>
                    <a:pt x="12809" y="13622"/>
                    <a:pt x="12742" y="13592"/>
                  </a:cubicBezTo>
                  <a:cubicBezTo>
                    <a:pt x="12684" y="13566"/>
                    <a:pt x="12506" y="13459"/>
                    <a:pt x="12339" y="13358"/>
                  </a:cubicBezTo>
                  <a:cubicBezTo>
                    <a:pt x="12173" y="13256"/>
                    <a:pt x="12021" y="13161"/>
                    <a:pt x="12021" y="13161"/>
                  </a:cubicBezTo>
                  <a:cubicBezTo>
                    <a:pt x="12019" y="13160"/>
                    <a:pt x="12019" y="13160"/>
                    <a:pt x="12019" y="13160"/>
                  </a:cubicBezTo>
                  <a:cubicBezTo>
                    <a:pt x="12018" y="13159"/>
                    <a:pt x="12018" y="13159"/>
                    <a:pt x="12018" y="13159"/>
                  </a:cubicBezTo>
                  <a:cubicBezTo>
                    <a:pt x="12018" y="13158"/>
                    <a:pt x="11772" y="12925"/>
                    <a:pt x="11668" y="12805"/>
                  </a:cubicBezTo>
                  <a:lnTo>
                    <a:pt x="11002" y="12991"/>
                  </a:lnTo>
                  <a:close/>
                  <a:moveTo>
                    <a:pt x="10109" y="15213"/>
                  </a:moveTo>
                  <a:cubicBezTo>
                    <a:pt x="10102" y="15207"/>
                    <a:pt x="10102" y="15207"/>
                    <a:pt x="10102" y="15207"/>
                  </a:cubicBezTo>
                  <a:cubicBezTo>
                    <a:pt x="10109" y="15213"/>
                    <a:pt x="10109" y="15213"/>
                    <a:pt x="10109" y="15213"/>
                  </a:cubicBezTo>
                  <a:close/>
                  <a:moveTo>
                    <a:pt x="8762" y="13726"/>
                  </a:moveTo>
                  <a:cubicBezTo>
                    <a:pt x="8672" y="13739"/>
                    <a:pt x="8672" y="13739"/>
                    <a:pt x="8672" y="13739"/>
                  </a:cubicBezTo>
                  <a:cubicBezTo>
                    <a:pt x="7816" y="13773"/>
                    <a:pt x="7816" y="13773"/>
                    <a:pt x="7816" y="13773"/>
                  </a:cubicBezTo>
                  <a:cubicBezTo>
                    <a:pt x="7819" y="13774"/>
                    <a:pt x="7819" y="13774"/>
                    <a:pt x="7819" y="13774"/>
                  </a:cubicBezTo>
                  <a:cubicBezTo>
                    <a:pt x="7802" y="13852"/>
                    <a:pt x="7791" y="14016"/>
                    <a:pt x="7783" y="14160"/>
                  </a:cubicBezTo>
                  <a:cubicBezTo>
                    <a:pt x="7780" y="14232"/>
                    <a:pt x="7776" y="14299"/>
                    <a:pt x="7773" y="14348"/>
                  </a:cubicBezTo>
                  <a:cubicBezTo>
                    <a:pt x="7772" y="14373"/>
                    <a:pt x="7770" y="14393"/>
                    <a:pt x="7768" y="14407"/>
                  </a:cubicBezTo>
                  <a:cubicBezTo>
                    <a:pt x="7767" y="14412"/>
                    <a:pt x="7767" y="14417"/>
                    <a:pt x="7766" y="14421"/>
                  </a:cubicBezTo>
                  <a:cubicBezTo>
                    <a:pt x="7775" y="14428"/>
                    <a:pt x="7790" y="14439"/>
                    <a:pt x="7809" y="14452"/>
                  </a:cubicBezTo>
                  <a:cubicBezTo>
                    <a:pt x="7915" y="14528"/>
                    <a:pt x="8161" y="14700"/>
                    <a:pt x="8380" y="14852"/>
                  </a:cubicBezTo>
                  <a:cubicBezTo>
                    <a:pt x="8599" y="15005"/>
                    <a:pt x="8791" y="15138"/>
                    <a:pt x="8791" y="15138"/>
                  </a:cubicBezTo>
                  <a:cubicBezTo>
                    <a:pt x="8784" y="15149"/>
                    <a:pt x="8784" y="15149"/>
                    <a:pt x="8784" y="15149"/>
                  </a:cubicBezTo>
                  <a:cubicBezTo>
                    <a:pt x="8838" y="15132"/>
                    <a:pt x="8883" y="15131"/>
                    <a:pt x="8890" y="15131"/>
                  </a:cubicBezTo>
                  <a:cubicBezTo>
                    <a:pt x="8891" y="15131"/>
                    <a:pt x="8892" y="15131"/>
                    <a:pt x="8892" y="15131"/>
                  </a:cubicBezTo>
                  <a:cubicBezTo>
                    <a:pt x="10098" y="15212"/>
                    <a:pt x="10098" y="15212"/>
                    <a:pt x="10098" y="15212"/>
                  </a:cubicBezTo>
                  <a:cubicBezTo>
                    <a:pt x="10099" y="15199"/>
                    <a:pt x="10100" y="15126"/>
                    <a:pt x="10100" y="15026"/>
                  </a:cubicBezTo>
                  <a:cubicBezTo>
                    <a:pt x="10100" y="14852"/>
                    <a:pt x="10098" y="14590"/>
                    <a:pt x="10097" y="14372"/>
                  </a:cubicBezTo>
                  <a:cubicBezTo>
                    <a:pt x="10095" y="14161"/>
                    <a:pt x="10093" y="13991"/>
                    <a:pt x="10093" y="13979"/>
                  </a:cubicBezTo>
                  <a:cubicBezTo>
                    <a:pt x="10093" y="13977"/>
                    <a:pt x="10093" y="13975"/>
                    <a:pt x="10092" y="13970"/>
                  </a:cubicBezTo>
                  <a:cubicBezTo>
                    <a:pt x="10088" y="13948"/>
                    <a:pt x="10074" y="13890"/>
                    <a:pt x="10029" y="13839"/>
                  </a:cubicBezTo>
                  <a:cubicBezTo>
                    <a:pt x="9984" y="13789"/>
                    <a:pt x="9907" y="13743"/>
                    <a:pt x="9771" y="13743"/>
                  </a:cubicBezTo>
                  <a:cubicBezTo>
                    <a:pt x="9766" y="13743"/>
                    <a:pt x="9762" y="13743"/>
                    <a:pt x="9757" y="13743"/>
                  </a:cubicBezTo>
                  <a:cubicBezTo>
                    <a:pt x="9709" y="13744"/>
                    <a:pt x="9654" y="13744"/>
                    <a:pt x="9596" y="13744"/>
                  </a:cubicBezTo>
                  <a:cubicBezTo>
                    <a:pt x="9258" y="13744"/>
                    <a:pt x="8793" y="13728"/>
                    <a:pt x="8762" y="13726"/>
                  </a:cubicBezTo>
                  <a:close/>
                  <a:moveTo>
                    <a:pt x="7545" y="15959"/>
                  </a:moveTo>
                  <a:cubicBezTo>
                    <a:pt x="7544" y="15990"/>
                    <a:pt x="7544" y="15990"/>
                    <a:pt x="7544" y="15990"/>
                  </a:cubicBezTo>
                  <a:cubicBezTo>
                    <a:pt x="7566" y="15939"/>
                    <a:pt x="7581" y="15907"/>
                    <a:pt x="7584" y="15899"/>
                  </a:cubicBezTo>
                  <a:cubicBezTo>
                    <a:pt x="7812" y="14505"/>
                    <a:pt x="7812" y="14505"/>
                    <a:pt x="7812" y="14505"/>
                  </a:cubicBezTo>
                  <a:cubicBezTo>
                    <a:pt x="7824" y="14507"/>
                    <a:pt x="7824" y="14507"/>
                    <a:pt x="7824" y="14507"/>
                  </a:cubicBezTo>
                  <a:cubicBezTo>
                    <a:pt x="7807" y="14495"/>
                    <a:pt x="7791" y="14484"/>
                    <a:pt x="7778" y="14474"/>
                  </a:cubicBezTo>
                  <a:cubicBezTo>
                    <a:pt x="7765" y="14465"/>
                    <a:pt x="7754" y="14457"/>
                    <a:pt x="7747" y="14451"/>
                  </a:cubicBezTo>
                  <a:cubicBezTo>
                    <a:pt x="7704" y="14498"/>
                    <a:pt x="7547" y="14653"/>
                    <a:pt x="7316" y="14657"/>
                  </a:cubicBezTo>
                  <a:cubicBezTo>
                    <a:pt x="7055" y="14661"/>
                    <a:pt x="6096" y="14661"/>
                    <a:pt x="6096" y="14661"/>
                  </a:cubicBezTo>
                  <a:cubicBezTo>
                    <a:pt x="6096" y="14625"/>
                    <a:pt x="6096" y="14625"/>
                    <a:pt x="6096" y="14625"/>
                  </a:cubicBezTo>
                  <a:cubicBezTo>
                    <a:pt x="6096" y="14625"/>
                    <a:pt x="6336" y="14625"/>
                    <a:pt x="6608" y="14624"/>
                  </a:cubicBezTo>
                  <a:cubicBezTo>
                    <a:pt x="6880" y="14624"/>
                    <a:pt x="7185" y="14623"/>
                    <a:pt x="7316" y="14621"/>
                  </a:cubicBezTo>
                  <a:cubicBezTo>
                    <a:pt x="7441" y="14619"/>
                    <a:pt x="7545" y="14568"/>
                    <a:pt x="7618" y="14516"/>
                  </a:cubicBezTo>
                  <a:cubicBezTo>
                    <a:pt x="7654" y="14491"/>
                    <a:pt x="7682" y="14465"/>
                    <a:pt x="7702" y="14446"/>
                  </a:cubicBezTo>
                  <a:cubicBezTo>
                    <a:pt x="7720" y="14428"/>
                    <a:pt x="7729" y="14416"/>
                    <a:pt x="7730" y="14416"/>
                  </a:cubicBezTo>
                  <a:cubicBezTo>
                    <a:pt x="7730" y="14415"/>
                    <a:pt x="7730" y="14415"/>
                    <a:pt x="7730" y="14415"/>
                  </a:cubicBezTo>
                  <a:cubicBezTo>
                    <a:pt x="7733" y="14403"/>
                    <a:pt x="7736" y="14365"/>
                    <a:pt x="7739" y="14317"/>
                  </a:cubicBezTo>
                  <a:cubicBezTo>
                    <a:pt x="7748" y="14165"/>
                    <a:pt x="7757" y="13897"/>
                    <a:pt x="7782" y="13774"/>
                  </a:cubicBezTo>
                  <a:cubicBezTo>
                    <a:pt x="7345" y="13792"/>
                    <a:pt x="7345" y="13792"/>
                    <a:pt x="7345" y="13792"/>
                  </a:cubicBezTo>
                  <a:cubicBezTo>
                    <a:pt x="7345" y="13792"/>
                    <a:pt x="7262" y="13795"/>
                    <a:pt x="7159" y="13802"/>
                  </a:cubicBezTo>
                  <a:cubicBezTo>
                    <a:pt x="7055" y="13809"/>
                    <a:pt x="6932" y="13820"/>
                    <a:pt x="6854" y="13836"/>
                  </a:cubicBezTo>
                  <a:cubicBezTo>
                    <a:pt x="6694" y="13869"/>
                    <a:pt x="6531" y="13889"/>
                    <a:pt x="6367" y="13906"/>
                  </a:cubicBezTo>
                  <a:cubicBezTo>
                    <a:pt x="6213" y="13921"/>
                    <a:pt x="5839" y="13922"/>
                    <a:pt x="5788" y="13922"/>
                  </a:cubicBezTo>
                  <a:cubicBezTo>
                    <a:pt x="5658" y="14016"/>
                    <a:pt x="5658" y="14016"/>
                    <a:pt x="5658" y="14016"/>
                  </a:cubicBezTo>
                  <a:cubicBezTo>
                    <a:pt x="5656" y="14024"/>
                    <a:pt x="5656" y="14024"/>
                    <a:pt x="5656" y="14024"/>
                  </a:cubicBezTo>
                  <a:cubicBezTo>
                    <a:pt x="5591" y="14193"/>
                    <a:pt x="5591" y="14193"/>
                    <a:pt x="5591" y="14193"/>
                  </a:cubicBezTo>
                  <a:cubicBezTo>
                    <a:pt x="6093" y="14634"/>
                    <a:pt x="6093" y="14634"/>
                    <a:pt x="6093" y="14634"/>
                  </a:cubicBezTo>
                  <a:cubicBezTo>
                    <a:pt x="6194" y="15919"/>
                    <a:pt x="6194" y="15919"/>
                    <a:pt x="6194" y="15919"/>
                  </a:cubicBezTo>
                  <a:lnTo>
                    <a:pt x="7545" y="15959"/>
                  </a:lnTo>
                  <a:close/>
                  <a:moveTo>
                    <a:pt x="6038" y="16676"/>
                  </a:moveTo>
                  <a:cubicBezTo>
                    <a:pt x="6044" y="16677"/>
                    <a:pt x="6052" y="16677"/>
                    <a:pt x="6061" y="16677"/>
                  </a:cubicBezTo>
                  <a:cubicBezTo>
                    <a:pt x="6104" y="16678"/>
                    <a:pt x="6175" y="16667"/>
                    <a:pt x="6219" y="16624"/>
                  </a:cubicBezTo>
                  <a:cubicBezTo>
                    <a:pt x="6247" y="16598"/>
                    <a:pt x="6263" y="16550"/>
                    <a:pt x="6266" y="16487"/>
                  </a:cubicBezTo>
                  <a:cubicBezTo>
                    <a:pt x="6273" y="16291"/>
                    <a:pt x="6274" y="16008"/>
                    <a:pt x="6274" y="15957"/>
                  </a:cubicBezTo>
                  <a:cubicBezTo>
                    <a:pt x="6183" y="15955"/>
                    <a:pt x="6183" y="15955"/>
                    <a:pt x="6183" y="15955"/>
                  </a:cubicBezTo>
                  <a:cubicBezTo>
                    <a:pt x="5949" y="16128"/>
                    <a:pt x="5949" y="16128"/>
                    <a:pt x="5949" y="16128"/>
                  </a:cubicBezTo>
                  <a:cubicBezTo>
                    <a:pt x="5962" y="16191"/>
                    <a:pt x="6026" y="16502"/>
                    <a:pt x="6038" y="16676"/>
                  </a:cubicBezTo>
                  <a:close/>
                  <a:moveTo>
                    <a:pt x="5923" y="16102"/>
                  </a:moveTo>
                  <a:cubicBezTo>
                    <a:pt x="6159" y="15928"/>
                    <a:pt x="6159" y="15928"/>
                    <a:pt x="6159" y="15928"/>
                  </a:cubicBezTo>
                  <a:cubicBezTo>
                    <a:pt x="6058" y="14652"/>
                    <a:pt x="6058" y="14652"/>
                    <a:pt x="6058" y="14652"/>
                  </a:cubicBezTo>
                  <a:cubicBezTo>
                    <a:pt x="5548" y="14203"/>
                    <a:pt x="5548" y="14203"/>
                    <a:pt x="5548" y="14203"/>
                  </a:cubicBezTo>
                  <a:cubicBezTo>
                    <a:pt x="5606" y="14053"/>
                    <a:pt x="5606" y="14053"/>
                    <a:pt x="5606" y="14053"/>
                  </a:cubicBezTo>
                  <a:cubicBezTo>
                    <a:pt x="5167" y="14370"/>
                    <a:pt x="5167" y="14370"/>
                    <a:pt x="5167" y="14370"/>
                  </a:cubicBezTo>
                  <a:cubicBezTo>
                    <a:pt x="4072" y="14994"/>
                    <a:pt x="4072" y="14994"/>
                    <a:pt x="4072" y="14994"/>
                  </a:cubicBezTo>
                  <a:cubicBezTo>
                    <a:pt x="4033" y="15015"/>
                    <a:pt x="4033" y="15015"/>
                    <a:pt x="4033" y="15015"/>
                  </a:cubicBezTo>
                  <a:cubicBezTo>
                    <a:pt x="4037" y="15018"/>
                    <a:pt x="4037" y="15018"/>
                    <a:pt x="4037" y="15018"/>
                  </a:cubicBezTo>
                  <a:cubicBezTo>
                    <a:pt x="4038" y="15021"/>
                    <a:pt x="4038" y="15021"/>
                    <a:pt x="4038" y="15021"/>
                  </a:cubicBezTo>
                  <a:cubicBezTo>
                    <a:pt x="4038" y="15021"/>
                    <a:pt x="4113" y="15144"/>
                    <a:pt x="4192" y="15279"/>
                  </a:cubicBezTo>
                  <a:cubicBezTo>
                    <a:pt x="4271" y="15414"/>
                    <a:pt x="4353" y="15559"/>
                    <a:pt x="4370" y="15612"/>
                  </a:cubicBezTo>
                  <a:cubicBezTo>
                    <a:pt x="4403" y="15709"/>
                    <a:pt x="4461" y="16027"/>
                    <a:pt x="4477" y="16114"/>
                  </a:cubicBezTo>
                  <a:lnTo>
                    <a:pt x="5923" y="16102"/>
                  </a:lnTo>
                  <a:close/>
                  <a:moveTo>
                    <a:pt x="2749" y="15694"/>
                  </a:moveTo>
                  <a:cubicBezTo>
                    <a:pt x="2819" y="15637"/>
                    <a:pt x="2889" y="15610"/>
                    <a:pt x="2901" y="15606"/>
                  </a:cubicBezTo>
                  <a:cubicBezTo>
                    <a:pt x="3979" y="15004"/>
                    <a:pt x="3979" y="15004"/>
                    <a:pt x="3979" y="15004"/>
                  </a:cubicBezTo>
                  <a:cubicBezTo>
                    <a:pt x="3909" y="14836"/>
                    <a:pt x="3909" y="14836"/>
                    <a:pt x="3909" y="14836"/>
                  </a:cubicBezTo>
                  <a:cubicBezTo>
                    <a:pt x="3882" y="14834"/>
                    <a:pt x="3806" y="14831"/>
                    <a:pt x="3716" y="14831"/>
                  </a:cubicBezTo>
                  <a:cubicBezTo>
                    <a:pt x="3607" y="14831"/>
                    <a:pt x="3478" y="14836"/>
                    <a:pt x="3404" y="14856"/>
                  </a:cubicBezTo>
                  <a:cubicBezTo>
                    <a:pt x="3403" y="14856"/>
                    <a:pt x="3403" y="14856"/>
                    <a:pt x="3403" y="14856"/>
                  </a:cubicBezTo>
                  <a:cubicBezTo>
                    <a:pt x="3401" y="14856"/>
                    <a:pt x="3401" y="14856"/>
                    <a:pt x="3401" y="14856"/>
                  </a:cubicBezTo>
                  <a:cubicBezTo>
                    <a:pt x="3401" y="14856"/>
                    <a:pt x="3394" y="14857"/>
                    <a:pt x="3379" y="14859"/>
                  </a:cubicBezTo>
                  <a:cubicBezTo>
                    <a:pt x="3336" y="14868"/>
                    <a:pt x="3236" y="14895"/>
                    <a:pt x="3135" y="14985"/>
                  </a:cubicBezTo>
                  <a:cubicBezTo>
                    <a:pt x="3079" y="15035"/>
                    <a:pt x="2984" y="15102"/>
                    <a:pt x="2893" y="15182"/>
                  </a:cubicBezTo>
                  <a:cubicBezTo>
                    <a:pt x="2751" y="15306"/>
                    <a:pt x="2611" y="15445"/>
                    <a:pt x="2589" y="15466"/>
                  </a:cubicBezTo>
                  <a:cubicBezTo>
                    <a:pt x="2587" y="15467"/>
                    <a:pt x="2587" y="15467"/>
                    <a:pt x="2587" y="15467"/>
                  </a:cubicBezTo>
                  <a:cubicBezTo>
                    <a:pt x="2586" y="15468"/>
                    <a:pt x="2586" y="15468"/>
                    <a:pt x="2586" y="15468"/>
                  </a:cubicBezTo>
                  <a:cubicBezTo>
                    <a:pt x="2585" y="15469"/>
                    <a:pt x="2441" y="15552"/>
                    <a:pt x="2306" y="15581"/>
                  </a:cubicBezTo>
                  <a:cubicBezTo>
                    <a:pt x="2242" y="15595"/>
                    <a:pt x="2202" y="15604"/>
                    <a:pt x="2178" y="15611"/>
                  </a:cubicBezTo>
                  <a:cubicBezTo>
                    <a:pt x="2312" y="15719"/>
                    <a:pt x="2368" y="15832"/>
                    <a:pt x="2383" y="15867"/>
                  </a:cubicBezTo>
                  <a:cubicBezTo>
                    <a:pt x="2608" y="15899"/>
                    <a:pt x="2608" y="15899"/>
                    <a:pt x="2608" y="15899"/>
                  </a:cubicBezTo>
                  <a:cubicBezTo>
                    <a:pt x="2635" y="15808"/>
                    <a:pt x="2692" y="15740"/>
                    <a:pt x="2749" y="15694"/>
                  </a:cubicBezTo>
                  <a:close/>
                  <a:moveTo>
                    <a:pt x="4011" y="14986"/>
                  </a:moveTo>
                  <a:cubicBezTo>
                    <a:pt x="4054" y="14962"/>
                    <a:pt x="4054" y="14962"/>
                    <a:pt x="4054" y="14962"/>
                  </a:cubicBezTo>
                  <a:cubicBezTo>
                    <a:pt x="5120" y="14355"/>
                    <a:pt x="5120" y="14355"/>
                    <a:pt x="5120" y="14355"/>
                  </a:cubicBezTo>
                  <a:cubicBezTo>
                    <a:pt x="5119" y="14353"/>
                    <a:pt x="5119" y="14351"/>
                    <a:pt x="5119" y="14348"/>
                  </a:cubicBezTo>
                  <a:cubicBezTo>
                    <a:pt x="5115" y="14338"/>
                    <a:pt x="5111" y="14326"/>
                    <a:pt x="5104" y="14311"/>
                  </a:cubicBezTo>
                  <a:cubicBezTo>
                    <a:pt x="5089" y="14275"/>
                    <a:pt x="5066" y="14226"/>
                    <a:pt x="5035" y="14173"/>
                  </a:cubicBezTo>
                  <a:cubicBezTo>
                    <a:pt x="5000" y="14114"/>
                    <a:pt x="4979" y="14060"/>
                    <a:pt x="4966" y="14022"/>
                  </a:cubicBezTo>
                  <a:cubicBezTo>
                    <a:pt x="4965" y="14020"/>
                    <a:pt x="4965" y="14020"/>
                    <a:pt x="4965" y="14020"/>
                  </a:cubicBezTo>
                  <a:cubicBezTo>
                    <a:pt x="4965" y="14020"/>
                    <a:pt x="4964" y="14016"/>
                    <a:pt x="4963" y="14011"/>
                  </a:cubicBezTo>
                  <a:cubicBezTo>
                    <a:pt x="4955" y="13987"/>
                    <a:pt x="4952" y="13972"/>
                    <a:pt x="4952" y="13971"/>
                  </a:cubicBezTo>
                  <a:cubicBezTo>
                    <a:pt x="4955" y="13971"/>
                    <a:pt x="4955" y="13971"/>
                    <a:pt x="4955" y="13971"/>
                  </a:cubicBezTo>
                  <a:cubicBezTo>
                    <a:pt x="4954" y="13969"/>
                    <a:pt x="4954" y="13968"/>
                    <a:pt x="4954" y="13966"/>
                  </a:cubicBezTo>
                  <a:cubicBezTo>
                    <a:pt x="4952" y="13944"/>
                    <a:pt x="4953" y="13929"/>
                    <a:pt x="4953" y="13908"/>
                  </a:cubicBezTo>
                  <a:cubicBezTo>
                    <a:pt x="4953" y="13886"/>
                    <a:pt x="4954" y="13867"/>
                    <a:pt x="4955" y="13857"/>
                  </a:cubicBezTo>
                  <a:cubicBezTo>
                    <a:pt x="4963" y="13766"/>
                    <a:pt x="4979" y="13649"/>
                    <a:pt x="4985" y="13614"/>
                  </a:cubicBezTo>
                  <a:cubicBezTo>
                    <a:pt x="4989" y="13582"/>
                    <a:pt x="5000" y="13509"/>
                    <a:pt x="5007" y="13444"/>
                  </a:cubicBezTo>
                  <a:cubicBezTo>
                    <a:pt x="5011" y="13410"/>
                    <a:pt x="5014" y="13377"/>
                    <a:pt x="5015" y="13357"/>
                  </a:cubicBezTo>
                  <a:cubicBezTo>
                    <a:pt x="5013" y="13357"/>
                    <a:pt x="5013" y="13357"/>
                    <a:pt x="5013" y="13357"/>
                  </a:cubicBezTo>
                  <a:cubicBezTo>
                    <a:pt x="5015" y="13357"/>
                    <a:pt x="5015" y="13357"/>
                    <a:pt x="5015" y="13357"/>
                  </a:cubicBezTo>
                  <a:cubicBezTo>
                    <a:pt x="5015" y="13353"/>
                    <a:pt x="5016" y="13350"/>
                    <a:pt x="5016" y="13347"/>
                  </a:cubicBezTo>
                  <a:cubicBezTo>
                    <a:pt x="5016" y="13339"/>
                    <a:pt x="5016" y="13328"/>
                    <a:pt x="5016" y="13312"/>
                  </a:cubicBezTo>
                  <a:cubicBezTo>
                    <a:pt x="5016" y="13219"/>
                    <a:pt x="5001" y="13003"/>
                    <a:pt x="4848" y="12841"/>
                  </a:cubicBezTo>
                  <a:cubicBezTo>
                    <a:pt x="4841" y="12836"/>
                    <a:pt x="4841" y="12836"/>
                    <a:pt x="4841" y="12836"/>
                  </a:cubicBezTo>
                  <a:cubicBezTo>
                    <a:pt x="4814" y="12873"/>
                    <a:pt x="4780" y="12922"/>
                    <a:pt x="4752" y="12966"/>
                  </a:cubicBezTo>
                  <a:cubicBezTo>
                    <a:pt x="4732" y="12996"/>
                    <a:pt x="4715" y="13023"/>
                    <a:pt x="4703" y="13042"/>
                  </a:cubicBezTo>
                  <a:cubicBezTo>
                    <a:pt x="4703" y="13042"/>
                    <a:pt x="4703" y="13042"/>
                    <a:pt x="4703" y="13042"/>
                  </a:cubicBezTo>
                  <a:cubicBezTo>
                    <a:pt x="4703" y="13042"/>
                    <a:pt x="4703" y="13042"/>
                    <a:pt x="4703" y="13042"/>
                  </a:cubicBezTo>
                  <a:cubicBezTo>
                    <a:pt x="4702" y="13043"/>
                    <a:pt x="4702" y="13044"/>
                    <a:pt x="4701" y="13045"/>
                  </a:cubicBezTo>
                  <a:cubicBezTo>
                    <a:pt x="4701" y="13046"/>
                    <a:pt x="4700" y="13048"/>
                    <a:pt x="4699" y="13050"/>
                  </a:cubicBezTo>
                  <a:cubicBezTo>
                    <a:pt x="4690" y="13071"/>
                    <a:pt x="4667" y="13129"/>
                    <a:pt x="4643" y="13190"/>
                  </a:cubicBezTo>
                  <a:cubicBezTo>
                    <a:pt x="4613" y="13267"/>
                    <a:pt x="4581" y="13353"/>
                    <a:pt x="4578" y="13373"/>
                  </a:cubicBezTo>
                  <a:cubicBezTo>
                    <a:pt x="4568" y="13422"/>
                    <a:pt x="4549" y="13534"/>
                    <a:pt x="4544" y="13582"/>
                  </a:cubicBezTo>
                  <a:cubicBezTo>
                    <a:pt x="4538" y="13633"/>
                    <a:pt x="4484" y="14005"/>
                    <a:pt x="4471" y="14058"/>
                  </a:cubicBezTo>
                  <a:cubicBezTo>
                    <a:pt x="4458" y="14110"/>
                    <a:pt x="4444" y="14151"/>
                    <a:pt x="4415" y="14194"/>
                  </a:cubicBezTo>
                  <a:cubicBezTo>
                    <a:pt x="4396" y="14222"/>
                    <a:pt x="4367" y="14262"/>
                    <a:pt x="4349" y="14286"/>
                  </a:cubicBezTo>
                  <a:cubicBezTo>
                    <a:pt x="4349" y="14287"/>
                    <a:pt x="4349" y="14287"/>
                    <a:pt x="4349" y="14287"/>
                  </a:cubicBezTo>
                  <a:cubicBezTo>
                    <a:pt x="3942" y="14821"/>
                    <a:pt x="3942" y="14821"/>
                    <a:pt x="3942" y="14821"/>
                  </a:cubicBezTo>
                  <a:lnTo>
                    <a:pt x="4011" y="14986"/>
                  </a:lnTo>
                  <a:close/>
                  <a:moveTo>
                    <a:pt x="2709" y="13702"/>
                  </a:moveTo>
                  <a:cubicBezTo>
                    <a:pt x="2709" y="13702"/>
                    <a:pt x="2709" y="13702"/>
                    <a:pt x="2709" y="13702"/>
                  </a:cubicBezTo>
                  <a:cubicBezTo>
                    <a:pt x="2710" y="13697"/>
                    <a:pt x="2711" y="13691"/>
                    <a:pt x="2713" y="13684"/>
                  </a:cubicBezTo>
                  <a:cubicBezTo>
                    <a:pt x="2713" y="13681"/>
                    <a:pt x="2713" y="13679"/>
                    <a:pt x="2713" y="13679"/>
                  </a:cubicBezTo>
                  <a:cubicBezTo>
                    <a:pt x="2714" y="13679"/>
                    <a:pt x="2714" y="13679"/>
                    <a:pt x="2714" y="13679"/>
                  </a:cubicBezTo>
                  <a:cubicBezTo>
                    <a:pt x="2728" y="13611"/>
                    <a:pt x="2759" y="13488"/>
                    <a:pt x="2811" y="13405"/>
                  </a:cubicBezTo>
                  <a:cubicBezTo>
                    <a:pt x="2842" y="13357"/>
                    <a:pt x="2894" y="13339"/>
                    <a:pt x="2956" y="13317"/>
                  </a:cubicBezTo>
                  <a:cubicBezTo>
                    <a:pt x="3066" y="13279"/>
                    <a:pt x="3268" y="13263"/>
                    <a:pt x="3357" y="13230"/>
                  </a:cubicBezTo>
                  <a:cubicBezTo>
                    <a:pt x="3363" y="13227"/>
                    <a:pt x="3411" y="13203"/>
                    <a:pt x="3465" y="13165"/>
                  </a:cubicBezTo>
                  <a:cubicBezTo>
                    <a:pt x="3523" y="13124"/>
                    <a:pt x="3585" y="13066"/>
                    <a:pt x="3606" y="13005"/>
                  </a:cubicBezTo>
                  <a:cubicBezTo>
                    <a:pt x="3619" y="12968"/>
                    <a:pt x="3625" y="12936"/>
                    <a:pt x="3625" y="12907"/>
                  </a:cubicBezTo>
                  <a:cubicBezTo>
                    <a:pt x="3625" y="12838"/>
                    <a:pt x="3592" y="12788"/>
                    <a:pt x="3539" y="12737"/>
                  </a:cubicBezTo>
                  <a:cubicBezTo>
                    <a:pt x="3466" y="12665"/>
                    <a:pt x="3290" y="12542"/>
                    <a:pt x="3145" y="12499"/>
                  </a:cubicBezTo>
                  <a:cubicBezTo>
                    <a:pt x="2995" y="12454"/>
                    <a:pt x="2865" y="12410"/>
                    <a:pt x="2625" y="12386"/>
                  </a:cubicBezTo>
                  <a:cubicBezTo>
                    <a:pt x="2438" y="12368"/>
                    <a:pt x="2337" y="12356"/>
                    <a:pt x="2300" y="12352"/>
                  </a:cubicBezTo>
                  <a:cubicBezTo>
                    <a:pt x="2246" y="12347"/>
                    <a:pt x="2071" y="12330"/>
                    <a:pt x="1984" y="12323"/>
                  </a:cubicBezTo>
                  <a:cubicBezTo>
                    <a:pt x="1941" y="12374"/>
                    <a:pt x="1890" y="12441"/>
                    <a:pt x="1833" y="12509"/>
                  </a:cubicBezTo>
                  <a:cubicBezTo>
                    <a:pt x="1721" y="12644"/>
                    <a:pt x="1601" y="12784"/>
                    <a:pt x="1562" y="12830"/>
                  </a:cubicBezTo>
                  <a:cubicBezTo>
                    <a:pt x="1595" y="12847"/>
                    <a:pt x="1595" y="12847"/>
                    <a:pt x="1595" y="12847"/>
                  </a:cubicBezTo>
                  <a:cubicBezTo>
                    <a:pt x="1662" y="13323"/>
                    <a:pt x="1662" y="13323"/>
                    <a:pt x="1662" y="13323"/>
                  </a:cubicBezTo>
                  <a:cubicBezTo>
                    <a:pt x="1908" y="13411"/>
                    <a:pt x="1908" y="13411"/>
                    <a:pt x="1908" y="13411"/>
                  </a:cubicBezTo>
                  <a:cubicBezTo>
                    <a:pt x="1908" y="13411"/>
                    <a:pt x="1908" y="13411"/>
                    <a:pt x="1908" y="13411"/>
                  </a:cubicBezTo>
                  <a:lnTo>
                    <a:pt x="2709" y="13702"/>
                  </a:lnTo>
                  <a:close/>
                  <a:moveTo>
                    <a:pt x="1503" y="13521"/>
                  </a:moveTo>
                  <a:cubicBezTo>
                    <a:pt x="1503" y="13521"/>
                    <a:pt x="1534" y="13473"/>
                    <a:pt x="1565" y="13425"/>
                  </a:cubicBezTo>
                  <a:cubicBezTo>
                    <a:pt x="1581" y="13400"/>
                    <a:pt x="1597" y="13376"/>
                    <a:pt x="1609" y="13358"/>
                  </a:cubicBezTo>
                  <a:cubicBezTo>
                    <a:pt x="1615" y="13348"/>
                    <a:pt x="1620" y="13341"/>
                    <a:pt x="1623" y="13335"/>
                  </a:cubicBezTo>
                  <a:cubicBezTo>
                    <a:pt x="1624" y="13334"/>
                    <a:pt x="1625" y="13333"/>
                    <a:pt x="1625" y="13332"/>
                  </a:cubicBezTo>
                  <a:cubicBezTo>
                    <a:pt x="1561" y="12872"/>
                    <a:pt x="1561" y="12872"/>
                    <a:pt x="1561" y="12872"/>
                  </a:cubicBezTo>
                  <a:cubicBezTo>
                    <a:pt x="1329" y="12758"/>
                    <a:pt x="1329" y="12758"/>
                    <a:pt x="1329" y="12758"/>
                  </a:cubicBezTo>
                  <a:cubicBezTo>
                    <a:pt x="1307" y="12763"/>
                    <a:pt x="1230" y="12780"/>
                    <a:pt x="1153" y="12797"/>
                  </a:cubicBezTo>
                  <a:cubicBezTo>
                    <a:pt x="1107" y="12807"/>
                    <a:pt x="1061" y="12817"/>
                    <a:pt x="1027" y="12825"/>
                  </a:cubicBezTo>
                  <a:cubicBezTo>
                    <a:pt x="1010" y="12829"/>
                    <a:pt x="995" y="12832"/>
                    <a:pt x="985" y="12835"/>
                  </a:cubicBezTo>
                  <a:cubicBezTo>
                    <a:pt x="980" y="12836"/>
                    <a:pt x="969" y="12839"/>
                    <a:pt x="969" y="12839"/>
                  </a:cubicBezTo>
                  <a:cubicBezTo>
                    <a:pt x="969" y="12838"/>
                    <a:pt x="969" y="12838"/>
                    <a:pt x="969" y="12838"/>
                  </a:cubicBezTo>
                  <a:cubicBezTo>
                    <a:pt x="931" y="12846"/>
                    <a:pt x="815" y="12870"/>
                    <a:pt x="815" y="12870"/>
                  </a:cubicBezTo>
                  <a:cubicBezTo>
                    <a:pt x="772" y="12880"/>
                    <a:pt x="733" y="12887"/>
                    <a:pt x="702" y="12894"/>
                  </a:cubicBezTo>
                  <a:cubicBezTo>
                    <a:pt x="686" y="12898"/>
                    <a:pt x="673" y="12901"/>
                    <a:pt x="664" y="12903"/>
                  </a:cubicBezTo>
                  <a:cubicBezTo>
                    <a:pt x="668" y="12922"/>
                    <a:pt x="670" y="12940"/>
                    <a:pt x="671" y="12956"/>
                  </a:cubicBezTo>
                  <a:cubicBezTo>
                    <a:pt x="671" y="12963"/>
                    <a:pt x="671" y="12973"/>
                    <a:pt x="671" y="12986"/>
                  </a:cubicBezTo>
                  <a:cubicBezTo>
                    <a:pt x="671" y="13035"/>
                    <a:pt x="669" y="13125"/>
                    <a:pt x="664" y="13208"/>
                  </a:cubicBezTo>
                  <a:cubicBezTo>
                    <a:pt x="1024" y="13204"/>
                    <a:pt x="1024" y="13204"/>
                    <a:pt x="1024" y="13204"/>
                  </a:cubicBezTo>
                  <a:cubicBezTo>
                    <a:pt x="1126" y="13298"/>
                    <a:pt x="1126" y="13298"/>
                    <a:pt x="1126" y="13298"/>
                  </a:cubicBezTo>
                  <a:cubicBezTo>
                    <a:pt x="1456" y="13587"/>
                    <a:pt x="1456" y="13587"/>
                    <a:pt x="1456" y="13587"/>
                  </a:cubicBezTo>
                  <a:lnTo>
                    <a:pt x="1503" y="13521"/>
                  </a:lnTo>
                  <a:close/>
                  <a:moveTo>
                    <a:pt x="4305" y="14281"/>
                  </a:moveTo>
                  <a:cubicBezTo>
                    <a:pt x="4312" y="14272"/>
                    <a:pt x="4359" y="14210"/>
                    <a:pt x="4384" y="14173"/>
                  </a:cubicBezTo>
                  <a:cubicBezTo>
                    <a:pt x="4409" y="14134"/>
                    <a:pt x="4422" y="14099"/>
                    <a:pt x="4434" y="14050"/>
                  </a:cubicBezTo>
                  <a:cubicBezTo>
                    <a:pt x="4446" y="14002"/>
                    <a:pt x="4501" y="13625"/>
                    <a:pt x="4506" y="13578"/>
                  </a:cubicBezTo>
                  <a:cubicBezTo>
                    <a:pt x="4512" y="13527"/>
                    <a:pt x="4531" y="13416"/>
                    <a:pt x="4541" y="13366"/>
                  </a:cubicBezTo>
                  <a:cubicBezTo>
                    <a:pt x="4546" y="13337"/>
                    <a:pt x="4578" y="13255"/>
                    <a:pt x="4608" y="13177"/>
                  </a:cubicBezTo>
                  <a:cubicBezTo>
                    <a:pt x="4623" y="13137"/>
                    <a:pt x="4653" y="13062"/>
                    <a:pt x="4653" y="13062"/>
                  </a:cubicBezTo>
                  <a:cubicBezTo>
                    <a:pt x="4653" y="13062"/>
                    <a:pt x="4653" y="13062"/>
                    <a:pt x="4653" y="13062"/>
                  </a:cubicBezTo>
                  <a:cubicBezTo>
                    <a:pt x="4653" y="13062"/>
                    <a:pt x="4654" y="13061"/>
                    <a:pt x="4650" y="13059"/>
                  </a:cubicBezTo>
                  <a:cubicBezTo>
                    <a:pt x="4646" y="13057"/>
                    <a:pt x="4637" y="13054"/>
                    <a:pt x="4637" y="13054"/>
                  </a:cubicBezTo>
                  <a:cubicBezTo>
                    <a:pt x="4637" y="13054"/>
                    <a:pt x="4637" y="13054"/>
                    <a:pt x="4637" y="13054"/>
                  </a:cubicBezTo>
                  <a:cubicBezTo>
                    <a:pt x="4291" y="12955"/>
                    <a:pt x="4291" y="12955"/>
                    <a:pt x="4291" y="12955"/>
                  </a:cubicBezTo>
                  <a:cubicBezTo>
                    <a:pt x="4286" y="12953"/>
                    <a:pt x="4286" y="12953"/>
                    <a:pt x="4286" y="12953"/>
                  </a:cubicBezTo>
                  <a:cubicBezTo>
                    <a:pt x="4286" y="12953"/>
                    <a:pt x="4281" y="12953"/>
                    <a:pt x="4281" y="12945"/>
                  </a:cubicBezTo>
                  <a:cubicBezTo>
                    <a:pt x="4281" y="12944"/>
                    <a:pt x="4282" y="12943"/>
                    <a:pt x="4282" y="12942"/>
                  </a:cubicBezTo>
                  <a:cubicBezTo>
                    <a:pt x="4281" y="12942"/>
                    <a:pt x="4281" y="12942"/>
                    <a:pt x="4281" y="12942"/>
                  </a:cubicBezTo>
                  <a:cubicBezTo>
                    <a:pt x="4283" y="12938"/>
                    <a:pt x="4284" y="12933"/>
                    <a:pt x="4284" y="12928"/>
                  </a:cubicBezTo>
                  <a:cubicBezTo>
                    <a:pt x="4284" y="12910"/>
                    <a:pt x="4271" y="12884"/>
                    <a:pt x="4258" y="12864"/>
                  </a:cubicBezTo>
                  <a:cubicBezTo>
                    <a:pt x="4251" y="12854"/>
                    <a:pt x="4244" y="12845"/>
                    <a:pt x="4239" y="12839"/>
                  </a:cubicBezTo>
                  <a:cubicBezTo>
                    <a:pt x="4236" y="12836"/>
                    <a:pt x="4234" y="12833"/>
                    <a:pt x="4232" y="12831"/>
                  </a:cubicBezTo>
                  <a:cubicBezTo>
                    <a:pt x="4232" y="12830"/>
                    <a:pt x="4231" y="12829"/>
                    <a:pt x="4230" y="12829"/>
                  </a:cubicBezTo>
                  <a:cubicBezTo>
                    <a:pt x="4230" y="12828"/>
                    <a:pt x="4230" y="12828"/>
                    <a:pt x="4230" y="12828"/>
                  </a:cubicBezTo>
                  <a:cubicBezTo>
                    <a:pt x="4230" y="12828"/>
                    <a:pt x="4230" y="12828"/>
                    <a:pt x="4230" y="12828"/>
                  </a:cubicBezTo>
                  <a:cubicBezTo>
                    <a:pt x="4222" y="12821"/>
                    <a:pt x="4191" y="12797"/>
                    <a:pt x="4153" y="12762"/>
                  </a:cubicBezTo>
                  <a:cubicBezTo>
                    <a:pt x="4083" y="12700"/>
                    <a:pt x="3988" y="12613"/>
                    <a:pt x="3965" y="12592"/>
                  </a:cubicBezTo>
                  <a:cubicBezTo>
                    <a:pt x="3951" y="12618"/>
                    <a:pt x="3930" y="12647"/>
                    <a:pt x="3892" y="12680"/>
                  </a:cubicBezTo>
                  <a:cubicBezTo>
                    <a:pt x="3823" y="12739"/>
                    <a:pt x="3651" y="12782"/>
                    <a:pt x="3617" y="12790"/>
                  </a:cubicBezTo>
                  <a:cubicBezTo>
                    <a:pt x="3638" y="12824"/>
                    <a:pt x="3651" y="12862"/>
                    <a:pt x="3651" y="12907"/>
                  </a:cubicBezTo>
                  <a:cubicBezTo>
                    <a:pt x="3651" y="12939"/>
                    <a:pt x="3645" y="12975"/>
                    <a:pt x="3631" y="13014"/>
                  </a:cubicBezTo>
                  <a:cubicBezTo>
                    <a:pt x="3580" y="13154"/>
                    <a:pt x="3369" y="13253"/>
                    <a:pt x="3368" y="13254"/>
                  </a:cubicBezTo>
                  <a:cubicBezTo>
                    <a:pt x="3367" y="13254"/>
                    <a:pt x="3367" y="13254"/>
                    <a:pt x="3367" y="13254"/>
                  </a:cubicBezTo>
                  <a:cubicBezTo>
                    <a:pt x="3367" y="13254"/>
                    <a:pt x="3367" y="13254"/>
                    <a:pt x="3367" y="13254"/>
                  </a:cubicBezTo>
                  <a:cubicBezTo>
                    <a:pt x="3271" y="13290"/>
                    <a:pt x="3069" y="13305"/>
                    <a:pt x="2965" y="13342"/>
                  </a:cubicBezTo>
                  <a:cubicBezTo>
                    <a:pt x="2902" y="13364"/>
                    <a:pt x="2857" y="13381"/>
                    <a:pt x="2834" y="13419"/>
                  </a:cubicBezTo>
                  <a:cubicBezTo>
                    <a:pt x="2798" y="13475"/>
                    <a:pt x="2772" y="13553"/>
                    <a:pt x="2755" y="13618"/>
                  </a:cubicBezTo>
                  <a:cubicBezTo>
                    <a:pt x="2747" y="13649"/>
                    <a:pt x="2741" y="13677"/>
                    <a:pt x="2737" y="13698"/>
                  </a:cubicBezTo>
                  <a:cubicBezTo>
                    <a:pt x="2737" y="13702"/>
                    <a:pt x="2738" y="13708"/>
                    <a:pt x="2739" y="13713"/>
                  </a:cubicBezTo>
                  <a:lnTo>
                    <a:pt x="4305" y="14281"/>
                  </a:lnTo>
                  <a:close/>
                  <a:moveTo>
                    <a:pt x="2509" y="11727"/>
                  </a:moveTo>
                  <a:cubicBezTo>
                    <a:pt x="2681" y="11678"/>
                    <a:pt x="2681" y="11678"/>
                    <a:pt x="2681" y="11678"/>
                  </a:cubicBezTo>
                  <a:cubicBezTo>
                    <a:pt x="2777" y="11584"/>
                    <a:pt x="2777" y="11584"/>
                    <a:pt x="2777" y="11584"/>
                  </a:cubicBezTo>
                  <a:cubicBezTo>
                    <a:pt x="2847" y="11400"/>
                    <a:pt x="2847" y="11400"/>
                    <a:pt x="2847" y="11400"/>
                  </a:cubicBezTo>
                  <a:cubicBezTo>
                    <a:pt x="2877" y="11260"/>
                    <a:pt x="2877" y="11260"/>
                    <a:pt x="2877" y="11260"/>
                  </a:cubicBezTo>
                  <a:cubicBezTo>
                    <a:pt x="2877" y="11250"/>
                    <a:pt x="2879" y="11179"/>
                    <a:pt x="2879" y="11146"/>
                  </a:cubicBezTo>
                  <a:cubicBezTo>
                    <a:pt x="2879" y="11141"/>
                    <a:pt x="2879" y="11136"/>
                    <a:pt x="2879" y="11133"/>
                  </a:cubicBezTo>
                  <a:cubicBezTo>
                    <a:pt x="2879" y="11133"/>
                    <a:pt x="2878" y="11133"/>
                    <a:pt x="2876" y="11131"/>
                  </a:cubicBezTo>
                  <a:cubicBezTo>
                    <a:pt x="2872" y="11129"/>
                    <a:pt x="2864" y="11124"/>
                    <a:pt x="2847" y="11119"/>
                  </a:cubicBezTo>
                  <a:cubicBezTo>
                    <a:pt x="2828" y="11113"/>
                    <a:pt x="2784" y="11100"/>
                    <a:pt x="2745" y="11088"/>
                  </a:cubicBezTo>
                  <a:cubicBezTo>
                    <a:pt x="2725" y="11082"/>
                    <a:pt x="2707" y="11076"/>
                    <a:pt x="2693" y="11072"/>
                  </a:cubicBezTo>
                  <a:cubicBezTo>
                    <a:pt x="2690" y="11072"/>
                    <a:pt x="2688" y="11071"/>
                    <a:pt x="2686" y="11071"/>
                  </a:cubicBezTo>
                  <a:cubicBezTo>
                    <a:pt x="2644" y="11126"/>
                    <a:pt x="2609" y="11175"/>
                    <a:pt x="2577" y="11227"/>
                  </a:cubicBezTo>
                  <a:cubicBezTo>
                    <a:pt x="2546" y="11275"/>
                    <a:pt x="2517" y="11323"/>
                    <a:pt x="2482" y="11389"/>
                  </a:cubicBezTo>
                  <a:cubicBezTo>
                    <a:pt x="2418" y="11512"/>
                    <a:pt x="2360" y="11642"/>
                    <a:pt x="2322" y="11740"/>
                  </a:cubicBezTo>
                  <a:cubicBezTo>
                    <a:pt x="2322" y="11740"/>
                    <a:pt x="2330" y="11741"/>
                    <a:pt x="2335" y="11741"/>
                  </a:cubicBezTo>
                  <a:lnTo>
                    <a:pt x="2509" y="11727"/>
                  </a:lnTo>
                  <a:close/>
                  <a:moveTo>
                    <a:pt x="2801" y="11590"/>
                  </a:moveTo>
                  <a:cubicBezTo>
                    <a:pt x="2899" y="11701"/>
                    <a:pt x="2899" y="11701"/>
                    <a:pt x="2899" y="11701"/>
                  </a:cubicBezTo>
                  <a:cubicBezTo>
                    <a:pt x="3242" y="11820"/>
                    <a:pt x="3242" y="11820"/>
                    <a:pt x="3242" y="11820"/>
                  </a:cubicBezTo>
                  <a:cubicBezTo>
                    <a:pt x="3391" y="11896"/>
                    <a:pt x="3391" y="11896"/>
                    <a:pt x="3391" y="11896"/>
                  </a:cubicBezTo>
                  <a:cubicBezTo>
                    <a:pt x="3611" y="12176"/>
                    <a:pt x="3611" y="12176"/>
                    <a:pt x="3611" y="12176"/>
                  </a:cubicBezTo>
                  <a:cubicBezTo>
                    <a:pt x="3811" y="12378"/>
                    <a:pt x="3811" y="12378"/>
                    <a:pt x="3811" y="12378"/>
                  </a:cubicBezTo>
                  <a:cubicBezTo>
                    <a:pt x="3892" y="12646"/>
                    <a:pt x="3892" y="12646"/>
                    <a:pt x="3892" y="12646"/>
                  </a:cubicBezTo>
                  <a:cubicBezTo>
                    <a:pt x="3945" y="12595"/>
                    <a:pt x="3953" y="12558"/>
                    <a:pt x="3966" y="12522"/>
                  </a:cubicBezTo>
                  <a:cubicBezTo>
                    <a:pt x="3980" y="12486"/>
                    <a:pt x="4011" y="12370"/>
                    <a:pt x="4022" y="12338"/>
                  </a:cubicBezTo>
                  <a:cubicBezTo>
                    <a:pt x="4028" y="12320"/>
                    <a:pt x="4035" y="12294"/>
                    <a:pt x="4047" y="12266"/>
                  </a:cubicBezTo>
                  <a:cubicBezTo>
                    <a:pt x="4042" y="12261"/>
                    <a:pt x="4033" y="12254"/>
                    <a:pt x="4021" y="12244"/>
                  </a:cubicBezTo>
                  <a:cubicBezTo>
                    <a:pt x="3971" y="12201"/>
                    <a:pt x="3877" y="12119"/>
                    <a:pt x="3877" y="12119"/>
                  </a:cubicBezTo>
                  <a:cubicBezTo>
                    <a:pt x="3876" y="12117"/>
                    <a:pt x="3876" y="12117"/>
                    <a:pt x="3876" y="12117"/>
                  </a:cubicBezTo>
                  <a:cubicBezTo>
                    <a:pt x="3737" y="11825"/>
                    <a:pt x="3737" y="11825"/>
                    <a:pt x="3737" y="11825"/>
                  </a:cubicBezTo>
                  <a:cubicBezTo>
                    <a:pt x="3726" y="11817"/>
                    <a:pt x="3686" y="11788"/>
                    <a:pt x="3645" y="11758"/>
                  </a:cubicBezTo>
                  <a:cubicBezTo>
                    <a:pt x="3622" y="11741"/>
                    <a:pt x="3598" y="11723"/>
                    <a:pt x="3580" y="11711"/>
                  </a:cubicBezTo>
                  <a:cubicBezTo>
                    <a:pt x="3571" y="11704"/>
                    <a:pt x="3564" y="11699"/>
                    <a:pt x="3558" y="11695"/>
                  </a:cubicBezTo>
                  <a:cubicBezTo>
                    <a:pt x="3556" y="11693"/>
                    <a:pt x="3554" y="11692"/>
                    <a:pt x="3552" y="11691"/>
                  </a:cubicBezTo>
                  <a:cubicBezTo>
                    <a:pt x="3552" y="11691"/>
                    <a:pt x="3552" y="11690"/>
                    <a:pt x="3551" y="11690"/>
                  </a:cubicBezTo>
                  <a:cubicBezTo>
                    <a:pt x="3549" y="11689"/>
                    <a:pt x="3549" y="11688"/>
                    <a:pt x="3548" y="11688"/>
                  </a:cubicBezTo>
                  <a:cubicBezTo>
                    <a:pt x="3546" y="11685"/>
                    <a:pt x="3546" y="11685"/>
                    <a:pt x="3545" y="11684"/>
                  </a:cubicBezTo>
                  <a:cubicBezTo>
                    <a:pt x="3536" y="11668"/>
                    <a:pt x="3462" y="11502"/>
                    <a:pt x="3450" y="11475"/>
                  </a:cubicBezTo>
                  <a:cubicBezTo>
                    <a:pt x="3152" y="11316"/>
                    <a:pt x="3152" y="11316"/>
                    <a:pt x="3152" y="11316"/>
                  </a:cubicBezTo>
                  <a:cubicBezTo>
                    <a:pt x="3164" y="11294"/>
                    <a:pt x="3164" y="11294"/>
                    <a:pt x="3164" y="11294"/>
                  </a:cubicBezTo>
                  <a:cubicBezTo>
                    <a:pt x="3469" y="11457"/>
                    <a:pt x="3469" y="11457"/>
                    <a:pt x="3469" y="11457"/>
                  </a:cubicBezTo>
                  <a:cubicBezTo>
                    <a:pt x="3470" y="11461"/>
                    <a:pt x="3470" y="11461"/>
                    <a:pt x="3470" y="11461"/>
                  </a:cubicBezTo>
                  <a:cubicBezTo>
                    <a:pt x="3470" y="11461"/>
                    <a:pt x="3494" y="11514"/>
                    <a:pt x="3518" y="11568"/>
                  </a:cubicBezTo>
                  <a:cubicBezTo>
                    <a:pt x="3530" y="11594"/>
                    <a:pt x="3543" y="11621"/>
                    <a:pt x="3552" y="11641"/>
                  </a:cubicBezTo>
                  <a:cubicBezTo>
                    <a:pt x="3556" y="11651"/>
                    <a:pt x="3560" y="11659"/>
                    <a:pt x="3563" y="11665"/>
                  </a:cubicBezTo>
                  <a:cubicBezTo>
                    <a:pt x="3564" y="11667"/>
                    <a:pt x="3565" y="11669"/>
                    <a:pt x="3566" y="11670"/>
                  </a:cubicBezTo>
                  <a:cubicBezTo>
                    <a:pt x="3578" y="11679"/>
                    <a:pt x="3619" y="11709"/>
                    <a:pt x="3662" y="11740"/>
                  </a:cubicBezTo>
                  <a:cubicBezTo>
                    <a:pt x="3708" y="11773"/>
                    <a:pt x="3754" y="11807"/>
                    <a:pt x="3754" y="11807"/>
                  </a:cubicBezTo>
                  <a:cubicBezTo>
                    <a:pt x="3756" y="11809"/>
                    <a:pt x="3756" y="11809"/>
                    <a:pt x="3756" y="11809"/>
                  </a:cubicBezTo>
                  <a:cubicBezTo>
                    <a:pt x="3896" y="12102"/>
                    <a:pt x="3896" y="12102"/>
                    <a:pt x="3896" y="12102"/>
                  </a:cubicBezTo>
                  <a:cubicBezTo>
                    <a:pt x="3904" y="12110"/>
                    <a:pt x="3942" y="12143"/>
                    <a:pt x="3980" y="12176"/>
                  </a:cubicBezTo>
                  <a:cubicBezTo>
                    <a:pt x="4002" y="12194"/>
                    <a:pt x="4023" y="12213"/>
                    <a:pt x="4040" y="12227"/>
                  </a:cubicBezTo>
                  <a:cubicBezTo>
                    <a:pt x="4047" y="12234"/>
                    <a:pt x="4053" y="12239"/>
                    <a:pt x="4058" y="12243"/>
                  </a:cubicBezTo>
                  <a:cubicBezTo>
                    <a:pt x="4066" y="12227"/>
                    <a:pt x="4076" y="12212"/>
                    <a:pt x="4089" y="12197"/>
                  </a:cubicBezTo>
                  <a:cubicBezTo>
                    <a:pt x="4106" y="12177"/>
                    <a:pt x="4128" y="12154"/>
                    <a:pt x="4151" y="12133"/>
                  </a:cubicBezTo>
                  <a:cubicBezTo>
                    <a:pt x="4184" y="12102"/>
                    <a:pt x="4216" y="12078"/>
                    <a:pt x="4217" y="12076"/>
                  </a:cubicBezTo>
                  <a:cubicBezTo>
                    <a:pt x="4222" y="12082"/>
                    <a:pt x="4222" y="12082"/>
                    <a:pt x="4222" y="12082"/>
                  </a:cubicBezTo>
                  <a:cubicBezTo>
                    <a:pt x="4217" y="12077"/>
                    <a:pt x="4217" y="12077"/>
                    <a:pt x="4217" y="12077"/>
                  </a:cubicBezTo>
                  <a:cubicBezTo>
                    <a:pt x="4226" y="12063"/>
                    <a:pt x="4226" y="12063"/>
                    <a:pt x="4226" y="12063"/>
                  </a:cubicBezTo>
                  <a:cubicBezTo>
                    <a:pt x="4224" y="12060"/>
                    <a:pt x="4223" y="12059"/>
                    <a:pt x="4223" y="12059"/>
                  </a:cubicBezTo>
                  <a:cubicBezTo>
                    <a:pt x="4223" y="12057"/>
                    <a:pt x="4223" y="12057"/>
                    <a:pt x="4223" y="12057"/>
                  </a:cubicBezTo>
                  <a:cubicBezTo>
                    <a:pt x="3414" y="10998"/>
                    <a:pt x="3414" y="10998"/>
                    <a:pt x="3414" y="10998"/>
                  </a:cubicBezTo>
                  <a:cubicBezTo>
                    <a:pt x="3414" y="10998"/>
                    <a:pt x="3414" y="10998"/>
                    <a:pt x="3414" y="10998"/>
                  </a:cubicBezTo>
                  <a:cubicBezTo>
                    <a:pt x="3173" y="10687"/>
                    <a:pt x="3173" y="10687"/>
                    <a:pt x="3173" y="10687"/>
                  </a:cubicBezTo>
                  <a:cubicBezTo>
                    <a:pt x="3122" y="10706"/>
                    <a:pt x="2993" y="10758"/>
                    <a:pt x="2895" y="10848"/>
                  </a:cubicBezTo>
                  <a:cubicBezTo>
                    <a:pt x="2885" y="10858"/>
                    <a:pt x="2868" y="10874"/>
                    <a:pt x="2844" y="10896"/>
                  </a:cubicBezTo>
                  <a:cubicBezTo>
                    <a:pt x="2804" y="10935"/>
                    <a:pt x="2751" y="10988"/>
                    <a:pt x="2705" y="11047"/>
                  </a:cubicBezTo>
                  <a:cubicBezTo>
                    <a:pt x="2704" y="11048"/>
                    <a:pt x="2703" y="11049"/>
                    <a:pt x="2703" y="11050"/>
                  </a:cubicBezTo>
                  <a:cubicBezTo>
                    <a:pt x="2746" y="11062"/>
                    <a:pt x="2826" y="11087"/>
                    <a:pt x="2854" y="11096"/>
                  </a:cubicBezTo>
                  <a:cubicBezTo>
                    <a:pt x="2875" y="11102"/>
                    <a:pt x="2886" y="11108"/>
                    <a:pt x="2892" y="11112"/>
                  </a:cubicBezTo>
                  <a:cubicBezTo>
                    <a:pt x="2895" y="11114"/>
                    <a:pt x="2897" y="11116"/>
                    <a:pt x="2898" y="11118"/>
                  </a:cubicBezTo>
                  <a:cubicBezTo>
                    <a:pt x="2901" y="11120"/>
                    <a:pt x="2901" y="11122"/>
                    <a:pt x="2902" y="11122"/>
                  </a:cubicBezTo>
                  <a:cubicBezTo>
                    <a:pt x="2904" y="11127"/>
                    <a:pt x="2903" y="11127"/>
                    <a:pt x="2903" y="11129"/>
                  </a:cubicBezTo>
                  <a:cubicBezTo>
                    <a:pt x="2904" y="11132"/>
                    <a:pt x="2904" y="11138"/>
                    <a:pt x="2904" y="11146"/>
                  </a:cubicBezTo>
                  <a:cubicBezTo>
                    <a:pt x="2904" y="11183"/>
                    <a:pt x="2902" y="11262"/>
                    <a:pt x="2902" y="11262"/>
                  </a:cubicBezTo>
                  <a:cubicBezTo>
                    <a:pt x="2902" y="11263"/>
                    <a:pt x="2902" y="11263"/>
                    <a:pt x="2902" y="11263"/>
                  </a:cubicBezTo>
                  <a:cubicBezTo>
                    <a:pt x="2871" y="11407"/>
                    <a:pt x="2871" y="11407"/>
                    <a:pt x="2871" y="11407"/>
                  </a:cubicBezTo>
                  <a:lnTo>
                    <a:pt x="2801" y="11590"/>
                  </a:lnTo>
                  <a:close/>
                  <a:moveTo>
                    <a:pt x="4185" y="9251"/>
                  </a:moveTo>
                  <a:cubicBezTo>
                    <a:pt x="4188" y="9251"/>
                    <a:pt x="4188" y="9251"/>
                    <a:pt x="4188" y="9251"/>
                  </a:cubicBezTo>
                  <a:cubicBezTo>
                    <a:pt x="4301" y="9245"/>
                    <a:pt x="4747" y="9218"/>
                    <a:pt x="4958" y="9185"/>
                  </a:cubicBezTo>
                  <a:cubicBezTo>
                    <a:pt x="5194" y="9147"/>
                    <a:pt x="5332" y="8976"/>
                    <a:pt x="5390" y="8913"/>
                  </a:cubicBezTo>
                  <a:cubicBezTo>
                    <a:pt x="5423" y="8877"/>
                    <a:pt x="5435" y="8826"/>
                    <a:pt x="5435" y="8763"/>
                  </a:cubicBezTo>
                  <a:cubicBezTo>
                    <a:pt x="5435" y="8726"/>
                    <a:pt x="5431" y="8686"/>
                    <a:pt x="5426" y="8643"/>
                  </a:cubicBezTo>
                  <a:cubicBezTo>
                    <a:pt x="5415" y="8555"/>
                    <a:pt x="5381" y="8377"/>
                    <a:pt x="5366" y="8297"/>
                  </a:cubicBezTo>
                  <a:cubicBezTo>
                    <a:pt x="5284" y="8291"/>
                    <a:pt x="5210" y="8285"/>
                    <a:pt x="5152" y="8283"/>
                  </a:cubicBezTo>
                  <a:cubicBezTo>
                    <a:pt x="5074" y="8279"/>
                    <a:pt x="4976" y="8276"/>
                    <a:pt x="4868" y="8276"/>
                  </a:cubicBezTo>
                  <a:cubicBezTo>
                    <a:pt x="4546" y="8275"/>
                    <a:pt x="4128" y="8308"/>
                    <a:pt x="3850" y="8445"/>
                  </a:cubicBezTo>
                  <a:lnTo>
                    <a:pt x="4185" y="9251"/>
                  </a:lnTo>
                  <a:close/>
                  <a:moveTo>
                    <a:pt x="7868" y="6381"/>
                  </a:moveTo>
                  <a:cubicBezTo>
                    <a:pt x="8006" y="6397"/>
                    <a:pt x="8143" y="6412"/>
                    <a:pt x="8260" y="6426"/>
                  </a:cubicBezTo>
                  <a:cubicBezTo>
                    <a:pt x="8243" y="6084"/>
                    <a:pt x="8145" y="5618"/>
                    <a:pt x="7977" y="5240"/>
                  </a:cubicBezTo>
                  <a:cubicBezTo>
                    <a:pt x="7933" y="5140"/>
                    <a:pt x="7875" y="5043"/>
                    <a:pt x="7809" y="4949"/>
                  </a:cubicBezTo>
                  <a:cubicBezTo>
                    <a:pt x="6155" y="4877"/>
                    <a:pt x="6155" y="4877"/>
                    <a:pt x="6155" y="4877"/>
                  </a:cubicBezTo>
                  <a:cubicBezTo>
                    <a:pt x="5942" y="6157"/>
                    <a:pt x="5942" y="6157"/>
                    <a:pt x="5942" y="6157"/>
                  </a:cubicBezTo>
                  <a:cubicBezTo>
                    <a:pt x="7168" y="6304"/>
                    <a:pt x="7168" y="6304"/>
                    <a:pt x="7168" y="6304"/>
                  </a:cubicBezTo>
                  <a:cubicBezTo>
                    <a:pt x="7168" y="6304"/>
                    <a:pt x="7517" y="6342"/>
                    <a:pt x="7868" y="6381"/>
                  </a:cubicBezTo>
                  <a:close/>
                  <a:moveTo>
                    <a:pt x="5198" y="3367"/>
                  </a:moveTo>
                  <a:cubicBezTo>
                    <a:pt x="5035" y="3745"/>
                    <a:pt x="5035" y="3745"/>
                    <a:pt x="5035" y="3745"/>
                  </a:cubicBezTo>
                  <a:cubicBezTo>
                    <a:pt x="5161" y="3781"/>
                    <a:pt x="5286" y="3822"/>
                    <a:pt x="5393" y="3868"/>
                  </a:cubicBezTo>
                  <a:cubicBezTo>
                    <a:pt x="5582" y="3949"/>
                    <a:pt x="5691" y="4077"/>
                    <a:pt x="5956" y="4224"/>
                  </a:cubicBezTo>
                  <a:cubicBezTo>
                    <a:pt x="6138" y="4327"/>
                    <a:pt x="6167" y="4561"/>
                    <a:pt x="6168" y="4714"/>
                  </a:cubicBezTo>
                  <a:cubicBezTo>
                    <a:pt x="6168" y="4771"/>
                    <a:pt x="6163" y="4816"/>
                    <a:pt x="6160" y="4841"/>
                  </a:cubicBezTo>
                  <a:cubicBezTo>
                    <a:pt x="7782" y="4912"/>
                    <a:pt x="7782" y="4912"/>
                    <a:pt x="7782" y="4912"/>
                  </a:cubicBezTo>
                  <a:cubicBezTo>
                    <a:pt x="7666" y="4755"/>
                    <a:pt x="7530" y="4606"/>
                    <a:pt x="7403" y="4466"/>
                  </a:cubicBezTo>
                  <a:cubicBezTo>
                    <a:pt x="7297" y="4348"/>
                    <a:pt x="7198" y="4237"/>
                    <a:pt x="7123" y="4127"/>
                  </a:cubicBezTo>
                  <a:cubicBezTo>
                    <a:pt x="7049" y="4018"/>
                    <a:pt x="6997" y="3908"/>
                    <a:pt x="6996" y="3792"/>
                  </a:cubicBezTo>
                  <a:cubicBezTo>
                    <a:pt x="6996" y="3774"/>
                    <a:pt x="6997" y="3757"/>
                    <a:pt x="7000" y="3739"/>
                  </a:cubicBezTo>
                  <a:cubicBezTo>
                    <a:pt x="7016" y="3629"/>
                    <a:pt x="7066" y="3538"/>
                    <a:pt x="7130" y="3468"/>
                  </a:cubicBezTo>
                  <a:cubicBezTo>
                    <a:pt x="7196" y="3397"/>
                    <a:pt x="7275" y="3346"/>
                    <a:pt x="7354" y="3307"/>
                  </a:cubicBezTo>
                  <a:cubicBezTo>
                    <a:pt x="7338" y="3276"/>
                    <a:pt x="7319" y="3239"/>
                    <a:pt x="7298" y="3203"/>
                  </a:cubicBezTo>
                  <a:cubicBezTo>
                    <a:pt x="7265" y="3148"/>
                    <a:pt x="7226" y="3096"/>
                    <a:pt x="7195" y="3072"/>
                  </a:cubicBezTo>
                  <a:cubicBezTo>
                    <a:pt x="7100" y="2997"/>
                    <a:pt x="6975" y="2976"/>
                    <a:pt x="6864" y="2951"/>
                  </a:cubicBezTo>
                  <a:cubicBezTo>
                    <a:pt x="6754" y="2926"/>
                    <a:pt x="6191" y="2782"/>
                    <a:pt x="6013" y="2729"/>
                  </a:cubicBezTo>
                  <a:cubicBezTo>
                    <a:pt x="5866" y="2685"/>
                    <a:pt x="5463" y="2565"/>
                    <a:pt x="5338" y="2528"/>
                  </a:cubicBezTo>
                  <a:cubicBezTo>
                    <a:pt x="5330" y="2540"/>
                    <a:pt x="5330" y="2540"/>
                    <a:pt x="5330" y="2540"/>
                  </a:cubicBezTo>
                  <a:cubicBezTo>
                    <a:pt x="5294" y="2667"/>
                    <a:pt x="5200" y="2957"/>
                    <a:pt x="5190" y="2989"/>
                  </a:cubicBezTo>
                  <a:lnTo>
                    <a:pt x="5198" y="3367"/>
                  </a:lnTo>
                  <a:close/>
                  <a:moveTo>
                    <a:pt x="7070" y="2434"/>
                  </a:moveTo>
                  <a:cubicBezTo>
                    <a:pt x="6959" y="2418"/>
                    <a:pt x="6834" y="2402"/>
                    <a:pt x="6785" y="2402"/>
                  </a:cubicBezTo>
                  <a:cubicBezTo>
                    <a:pt x="6685" y="2402"/>
                    <a:pt x="6621" y="2420"/>
                    <a:pt x="6581" y="2476"/>
                  </a:cubicBezTo>
                  <a:cubicBezTo>
                    <a:pt x="6509" y="2728"/>
                    <a:pt x="6509" y="2728"/>
                    <a:pt x="6509" y="2728"/>
                  </a:cubicBezTo>
                  <a:cubicBezTo>
                    <a:pt x="6509" y="2733"/>
                    <a:pt x="6509" y="2739"/>
                    <a:pt x="6509" y="2743"/>
                  </a:cubicBezTo>
                  <a:cubicBezTo>
                    <a:pt x="6679" y="2787"/>
                    <a:pt x="6839" y="2827"/>
                    <a:pt x="6890" y="2839"/>
                  </a:cubicBezTo>
                  <a:cubicBezTo>
                    <a:pt x="6994" y="2863"/>
                    <a:pt x="7140" y="2885"/>
                    <a:pt x="7266" y="2982"/>
                  </a:cubicBezTo>
                  <a:cubicBezTo>
                    <a:pt x="7293" y="3003"/>
                    <a:pt x="7318" y="3031"/>
                    <a:pt x="7341" y="3061"/>
                  </a:cubicBezTo>
                  <a:cubicBezTo>
                    <a:pt x="7425" y="3035"/>
                    <a:pt x="7681" y="2956"/>
                    <a:pt x="7937" y="2877"/>
                  </a:cubicBezTo>
                  <a:cubicBezTo>
                    <a:pt x="8093" y="2829"/>
                    <a:pt x="8250" y="2781"/>
                    <a:pt x="8367" y="2745"/>
                  </a:cubicBezTo>
                  <a:cubicBezTo>
                    <a:pt x="8426" y="2727"/>
                    <a:pt x="8475" y="2711"/>
                    <a:pt x="8509" y="2701"/>
                  </a:cubicBezTo>
                  <a:cubicBezTo>
                    <a:pt x="8523" y="2697"/>
                    <a:pt x="8534" y="2693"/>
                    <a:pt x="8543" y="2691"/>
                  </a:cubicBezTo>
                  <a:cubicBezTo>
                    <a:pt x="8545" y="2677"/>
                    <a:pt x="8545" y="2677"/>
                    <a:pt x="8545" y="2677"/>
                  </a:cubicBezTo>
                  <a:cubicBezTo>
                    <a:pt x="8543" y="2625"/>
                    <a:pt x="8538" y="2526"/>
                    <a:pt x="8534" y="2443"/>
                  </a:cubicBezTo>
                  <a:cubicBezTo>
                    <a:pt x="7281" y="2467"/>
                    <a:pt x="7281" y="2467"/>
                    <a:pt x="7281" y="2467"/>
                  </a:cubicBezTo>
                  <a:cubicBezTo>
                    <a:pt x="7280" y="2467"/>
                    <a:pt x="7280" y="2467"/>
                    <a:pt x="7280" y="2467"/>
                  </a:cubicBezTo>
                  <a:cubicBezTo>
                    <a:pt x="7279" y="2467"/>
                    <a:pt x="7181" y="2451"/>
                    <a:pt x="7070" y="2434"/>
                  </a:cubicBezTo>
                  <a:close/>
                  <a:moveTo>
                    <a:pt x="10702" y="2974"/>
                  </a:moveTo>
                  <a:cubicBezTo>
                    <a:pt x="10702" y="2980"/>
                    <a:pt x="10702" y="2980"/>
                    <a:pt x="10702" y="2980"/>
                  </a:cubicBezTo>
                  <a:cubicBezTo>
                    <a:pt x="10702" y="2981"/>
                    <a:pt x="10702" y="2981"/>
                    <a:pt x="10702" y="2982"/>
                  </a:cubicBezTo>
                  <a:cubicBezTo>
                    <a:pt x="10702" y="2980"/>
                    <a:pt x="10702" y="2980"/>
                    <a:pt x="10702" y="2980"/>
                  </a:cubicBezTo>
                  <a:cubicBezTo>
                    <a:pt x="10702" y="2975"/>
                    <a:pt x="10702" y="2975"/>
                    <a:pt x="10702" y="2975"/>
                  </a:cubicBezTo>
                  <a:cubicBezTo>
                    <a:pt x="10702" y="2983"/>
                    <a:pt x="10702" y="2983"/>
                    <a:pt x="10702" y="2983"/>
                  </a:cubicBezTo>
                  <a:cubicBezTo>
                    <a:pt x="10702" y="2984"/>
                    <a:pt x="10703" y="2985"/>
                    <a:pt x="10703" y="2986"/>
                  </a:cubicBezTo>
                  <a:lnTo>
                    <a:pt x="10702" y="2974"/>
                  </a:lnTo>
                  <a:close/>
                  <a:moveTo>
                    <a:pt x="10662" y="2972"/>
                  </a:moveTo>
                  <a:cubicBezTo>
                    <a:pt x="10623" y="2816"/>
                    <a:pt x="10582" y="2663"/>
                    <a:pt x="10549" y="2541"/>
                  </a:cubicBezTo>
                  <a:cubicBezTo>
                    <a:pt x="10430" y="2577"/>
                    <a:pt x="10282" y="2620"/>
                    <a:pt x="10116" y="2668"/>
                  </a:cubicBezTo>
                  <a:cubicBezTo>
                    <a:pt x="9665" y="2796"/>
                    <a:pt x="9084" y="2953"/>
                    <a:pt x="8608" y="3082"/>
                  </a:cubicBezTo>
                  <a:cubicBezTo>
                    <a:pt x="8370" y="3146"/>
                    <a:pt x="8158" y="3203"/>
                    <a:pt x="8002" y="3246"/>
                  </a:cubicBezTo>
                  <a:cubicBezTo>
                    <a:pt x="7924" y="3267"/>
                    <a:pt x="7860" y="3285"/>
                    <a:pt x="7814" y="3298"/>
                  </a:cubicBezTo>
                  <a:cubicBezTo>
                    <a:pt x="7791" y="3304"/>
                    <a:pt x="7773" y="3310"/>
                    <a:pt x="7759" y="3314"/>
                  </a:cubicBezTo>
                  <a:cubicBezTo>
                    <a:pt x="7753" y="3316"/>
                    <a:pt x="7747" y="3317"/>
                    <a:pt x="7744" y="3318"/>
                  </a:cubicBezTo>
                  <a:cubicBezTo>
                    <a:pt x="7742" y="3319"/>
                    <a:pt x="7740" y="3319"/>
                    <a:pt x="7740" y="3320"/>
                  </a:cubicBezTo>
                  <a:cubicBezTo>
                    <a:pt x="7740" y="3320"/>
                    <a:pt x="7740" y="3320"/>
                    <a:pt x="7740" y="3320"/>
                  </a:cubicBezTo>
                  <a:cubicBezTo>
                    <a:pt x="7722" y="3327"/>
                    <a:pt x="7705" y="3332"/>
                    <a:pt x="7682" y="3338"/>
                  </a:cubicBezTo>
                  <a:cubicBezTo>
                    <a:pt x="7639" y="3350"/>
                    <a:pt x="7579" y="3366"/>
                    <a:pt x="7515" y="3390"/>
                  </a:cubicBezTo>
                  <a:cubicBezTo>
                    <a:pt x="7921" y="4406"/>
                    <a:pt x="7921" y="4406"/>
                    <a:pt x="7921" y="4406"/>
                  </a:cubicBezTo>
                  <a:cubicBezTo>
                    <a:pt x="7994" y="4531"/>
                    <a:pt x="7994" y="4531"/>
                    <a:pt x="7994" y="4531"/>
                  </a:cubicBezTo>
                  <a:cubicBezTo>
                    <a:pt x="8020" y="4530"/>
                    <a:pt x="8020" y="4530"/>
                    <a:pt x="8020" y="4530"/>
                  </a:cubicBezTo>
                  <a:cubicBezTo>
                    <a:pt x="10844" y="3715"/>
                    <a:pt x="10844" y="3715"/>
                    <a:pt x="10844" y="3715"/>
                  </a:cubicBezTo>
                  <a:cubicBezTo>
                    <a:pt x="10812" y="3587"/>
                    <a:pt x="10739" y="3276"/>
                    <a:pt x="10662" y="2972"/>
                  </a:cubicBezTo>
                  <a:close/>
                  <a:moveTo>
                    <a:pt x="8547" y="6459"/>
                  </a:moveTo>
                  <a:cubicBezTo>
                    <a:pt x="8547" y="6344"/>
                    <a:pt x="8544" y="6234"/>
                    <a:pt x="8539" y="6148"/>
                  </a:cubicBezTo>
                  <a:cubicBezTo>
                    <a:pt x="8523" y="5843"/>
                    <a:pt x="8348" y="5386"/>
                    <a:pt x="8235" y="5172"/>
                  </a:cubicBezTo>
                  <a:cubicBezTo>
                    <a:pt x="8113" y="4963"/>
                    <a:pt x="8113" y="4963"/>
                    <a:pt x="8113" y="4963"/>
                  </a:cubicBezTo>
                  <a:cubicBezTo>
                    <a:pt x="7982" y="4957"/>
                    <a:pt x="7982" y="4957"/>
                    <a:pt x="7982" y="4957"/>
                  </a:cubicBezTo>
                  <a:cubicBezTo>
                    <a:pt x="8028" y="5030"/>
                    <a:pt x="8070" y="5105"/>
                    <a:pt x="8105" y="5183"/>
                  </a:cubicBezTo>
                  <a:cubicBezTo>
                    <a:pt x="8285" y="5591"/>
                    <a:pt x="8385" y="6078"/>
                    <a:pt x="8400" y="6442"/>
                  </a:cubicBezTo>
                  <a:cubicBezTo>
                    <a:pt x="8446" y="6448"/>
                    <a:pt x="8485" y="6453"/>
                    <a:pt x="8515" y="6456"/>
                  </a:cubicBezTo>
                  <a:cubicBezTo>
                    <a:pt x="8520" y="6457"/>
                    <a:pt x="8525" y="6458"/>
                    <a:pt x="8530" y="6458"/>
                  </a:cubicBezTo>
                  <a:cubicBezTo>
                    <a:pt x="8534" y="6459"/>
                    <a:pt x="8541" y="6459"/>
                    <a:pt x="8547" y="6459"/>
                  </a:cubicBezTo>
                  <a:close/>
                  <a:moveTo>
                    <a:pt x="8089" y="4922"/>
                  </a:moveTo>
                  <a:cubicBezTo>
                    <a:pt x="7818" y="4456"/>
                    <a:pt x="7818" y="4456"/>
                    <a:pt x="7818" y="4456"/>
                  </a:cubicBezTo>
                  <a:cubicBezTo>
                    <a:pt x="7409" y="3435"/>
                    <a:pt x="7409" y="3435"/>
                    <a:pt x="7409" y="3435"/>
                  </a:cubicBezTo>
                  <a:cubicBezTo>
                    <a:pt x="7394" y="3443"/>
                    <a:pt x="7378" y="3451"/>
                    <a:pt x="7363" y="3460"/>
                  </a:cubicBezTo>
                  <a:cubicBezTo>
                    <a:pt x="7249" y="3528"/>
                    <a:pt x="7159" y="3619"/>
                    <a:pt x="7138" y="3760"/>
                  </a:cubicBezTo>
                  <a:cubicBezTo>
                    <a:pt x="7136" y="3770"/>
                    <a:pt x="7135" y="3781"/>
                    <a:pt x="7135" y="3792"/>
                  </a:cubicBezTo>
                  <a:cubicBezTo>
                    <a:pt x="7135" y="3863"/>
                    <a:pt x="7171" y="3950"/>
                    <a:pt x="7239" y="4049"/>
                  </a:cubicBezTo>
                  <a:cubicBezTo>
                    <a:pt x="7339" y="4197"/>
                    <a:pt x="7504" y="4366"/>
                    <a:pt x="7669" y="4553"/>
                  </a:cubicBezTo>
                  <a:cubicBezTo>
                    <a:pt x="7770" y="4668"/>
                    <a:pt x="7871" y="4789"/>
                    <a:pt x="7958" y="4920"/>
                  </a:cubicBezTo>
                  <a:cubicBezTo>
                    <a:pt x="8065" y="4925"/>
                    <a:pt x="8065" y="4925"/>
                    <a:pt x="8065" y="4925"/>
                  </a:cubicBezTo>
                  <a:lnTo>
                    <a:pt x="8089" y="4922"/>
                  </a:lnTo>
                  <a:close/>
                  <a:moveTo>
                    <a:pt x="10227" y="2383"/>
                  </a:moveTo>
                  <a:cubicBezTo>
                    <a:pt x="9955" y="2451"/>
                    <a:pt x="9547" y="2554"/>
                    <a:pt x="9207" y="2640"/>
                  </a:cubicBezTo>
                  <a:cubicBezTo>
                    <a:pt x="9037" y="2683"/>
                    <a:pt x="8884" y="2722"/>
                    <a:pt x="8773" y="2750"/>
                  </a:cubicBezTo>
                  <a:cubicBezTo>
                    <a:pt x="8718" y="2764"/>
                    <a:pt x="8673" y="2775"/>
                    <a:pt x="8642" y="2783"/>
                  </a:cubicBezTo>
                  <a:cubicBezTo>
                    <a:pt x="8627" y="2787"/>
                    <a:pt x="8615" y="2790"/>
                    <a:pt x="8607" y="2792"/>
                  </a:cubicBezTo>
                  <a:cubicBezTo>
                    <a:pt x="8602" y="2793"/>
                    <a:pt x="8599" y="2794"/>
                    <a:pt x="8597" y="2794"/>
                  </a:cubicBezTo>
                  <a:cubicBezTo>
                    <a:pt x="8597" y="2794"/>
                    <a:pt x="8596" y="2794"/>
                    <a:pt x="8596" y="2794"/>
                  </a:cubicBezTo>
                  <a:cubicBezTo>
                    <a:pt x="8589" y="2797"/>
                    <a:pt x="8589" y="2797"/>
                    <a:pt x="8589" y="2797"/>
                  </a:cubicBezTo>
                  <a:cubicBezTo>
                    <a:pt x="8589" y="2797"/>
                    <a:pt x="8589" y="2797"/>
                    <a:pt x="8589" y="2797"/>
                  </a:cubicBezTo>
                  <a:cubicBezTo>
                    <a:pt x="8536" y="2813"/>
                    <a:pt x="8243" y="2903"/>
                    <a:pt x="7954" y="2992"/>
                  </a:cubicBezTo>
                  <a:cubicBezTo>
                    <a:pt x="7730" y="3061"/>
                    <a:pt x="7509" y="3129"/>
                    <a:pt x="7406" y="3161"/>
                  </a:cubicBezTo>
                  <a:cubicBezTo>
                    <a:pt x="7414" y="3175"/>
                    <a:pt x="7422" y="3190"/>
                    <a:pt x="7430" y="3204"/>
                  </a:cubicBezTo>
                  <a:cubicBezTo>
                    <a:pt x="7441" y="3225"/>
                    <a:pt x="7451" y="3244"/>
                    <a:pt x="7459" y="3262"/>
                  </a:cubicBezTo>
                  <a:cubicBezTo>
                    <a:pt x="7461" y="3261"/>
                    <a:pt x="7462" y="3261"/>
                    <a:pt x="7463" y="3260"/>
                  </a:cubicBezTo>
                  <a:cubicBezTo>
                    <a:pt x="7518" y="3240"/>
                    <a:pt x="7568" y="3225"/>
                    <a:pt x="7608" y="3214"/>
                  </a:cubicBezTo>
                  <a:cubicBezTo>
                    <a:pt x="7648" y="3203"/>
                    <a:pt x="7680" y="3194"/>
                    <a:pt x="7686" y="3191"/>
                  </a:cubicBezTo>
                  <a:cubicBezTo>
                    <a:pt x="7694" y="3188"/>
                    <a:pt x="7699" y="3186"/>
                    <a:pt x="7708" y="3184"/>
                  </a:cubicBezTo>
                  <a:cubicBezTo>
                    <a:pt x="7772" y="3164"/>
                    <a:pt x="7984" y="3106"/>
                    <a:pt x="8272" y="3028"/>
                  </a:cubicBezTo>
                  <a:cubicBezTo>
                    <a:pt x="8704" y="2911"/>
                    <a:pt x="9303" y="2750"/>
                    <a:pt x="9811" y="2609"/>
                  </a:cubicBezTo>
                  <a:cubicBezTo>
                    <a:pt x="10064" y="2538"/>
                    <a:pt x="10294" y="2472"/>
                    <a:pt x="10469" y="2420"/>
                  </a:cubicBezTo>
                  <a:cubicBezTo>
                    <a:pt x="10484" y="2415"/>
                    <a:pt x="10498" y="2411"/>
                    <a:pt x="10513" y="2406"/>
                  </a:cubicBezTo>
                  <a:cubicBezTo>
                    <a:pt x="10504" y="2375"/>
                    <a:pt x="10497" y="2349"/>
                    <a:pt x="10492" y="2330"/>
                  </a:cubicBezTo>
                  <a:cubicBezTo>
                    <a:pt x="10483" y="2318"/>
                    <a:pt x="10483" y="2318"/>
                    <a:pt x="10483" y="2318"/>
                  </a:cubicBezTo>
                  <a:cubicBezTo>
                    <a:pt x="10432" y="2331"/>
                    <a:pt x="10341" y="2354"/>
                    <a:pt x="10227" y="2383"/>
                  </a:cubicBezTo>
                  <a:close/>
                  <a:moveTo>
                    <a:pt x="8525" y="2723"/>
                  </a:moveTo>
                  <a:cubicBezTo>
                    <a:pt x="8525" y="2723"/>
                    <a:pt x="8525" y="2723"/>
                    <a:pt x="8525" y="2723"/>
                  </a:cubicBezTo>
                  <a:cubicBezTo>
                    <a:pt x="8526" y="2718"/>
                    <a:pt x="8528" y="2714"/>
                    <a:pt x="8530" y="2710"/>
                  </a:cubicBezTo>
                  <a:cubicBezTo>
                    <a:pt x="8530" y="2711"/>
                    <a:pt x="8530" y="2711"/>
                    <a:pt x="8530" y="2712"/>
                  </a:cubicBezTo>
                  <a:cubicBezTo>
                    <a:pt x="8527" y="2716"/>
                    <a:pt x="8526" y="2720"/>
                    <a:pt x="8525" y="2723"/>
                  </a:cubicBezTo>
                  <a:close/>
                  <a:moveTo>
                    <a:pt x="7290" y="7551"/>
                  </a:moveTo>
                  <a:cubicBezTo>
                    <a:pt x="7008" y="7605"/>
                    <a:pt x="6863" y="7636"/>
                    <a:pt x="6785" y="7669"/>
                  </a:cubicBezTo>
                  <a:cubicBezTo>
                    <a:pt x="6746" y="7685"/>
                    <a:pt x="6724" y="7700"/>
                    <a:pt x="6703" y="7720"/>
                  </a:cubicBezTo>
                  <a:cubicBezTo>
                    <a:pt x="6682" y="7739"/>
                    <a:pt x="6661" y="7767"/>
                    <a:pt x="6632" y="7807"/>
                  </a:cubicBezTo>
                  <a:cubicBezTo>
                    <a:pt x="6591" y="7862"/>
                    <a:pt x="6566" y="7948"/>
                    <a:pt x="6543" y="8035"/>
                  </a:cubicBezTo>
                  <a:cubicBezTo>
                    <a:pt x="6570" y="8037"/>
                    <a:pt x="6587" y="8038"/>
                    <a:pt x="6591" y="8038"/>
                  </a:cubicBezTo>
                  <a:cubicBezTo>
                    <a:pt x="6603" y="8039"/>
                    <a:pt x="6613" y="8039"/>
                    <a:pt x="6623" y="8039"/>
                  </a:cubicBezTo>
                  <a:cubicBezTo>
                    <a:pt x="6636" y="8039"/>
                    <a:pt x="6647" y="8038"/>
                    <a:pt x="6654" y="8037"/>
                  </a:cubicBezTo>
                  <a:cubicBezTo>
                    <a:pt x="6668" y="8007"/>
                    <a:pt x="6696" y="7947"/>
                    <a:pt x="6727" y="7891"/>
                  </a:cubicBezTo>
                  <a:cubicBezTo>
                    <a:pt x="6727" y="7890"/>
                    <a:pt x="6727" y="7890"/>
                    <a:pt x="6727" y="7890"/>
                  </a:cubicBezTo>
                  <a:cubicBezTo>
                    <a:pt x="6728" y="7889"/>
                    <a:pt x="6728" y="7889"/>
                    <a:pt x="6728" y="7889"/>
                  </a:cubicBezTo>
                  <a:cubicBezTo>
                    <a:pt x="6732" y="7882"/>
                    <a:pt x="6804" y="7762"/>
                    <a:pt x="6978" y="7730"/>
                  </a:cubicBezTo>
                  <a:cubicBezTo>
                    <a:pt x="7050" y="7717"/>
                    <a:pt x="7130" y="7708"/>
                    <a:pt x="7218" y="7708"/>
                  </a:cubicBezTo>
                  <a:cubicBezTo>
                    <a:pt x="7323" y="7708"/>
                    <a:pt x="7438" y="7720"/>
                    <a:pt x="7562" y="7751"/>
                  </a:cubicBezTo>
                  <a:cubicBezTo>
                    <a:pt x="7766" y="7803"/>
                    <a:pt x="8008" y="7957"/>
                    <a:pt x="8075" y="8000"/>
                  </a:cubicBezTo>
                  <a:cubicBezTo>
                    <a:pt x="8096" y="7998"/>
                    <a:pt x="8135" y="7994"/>
                    <a:pt x="8181" y="7989"/>
                  </a:cubicBezTo>
                  <a:cubicBezTo>
                    <a:pt x="8253" y="7980"/>
                    <a:pt x="8343" y="7967"/>
                    <a:pt x="8413" y="7951"/>
                  </a:cubicBezTo>
                  <a:cubicBezTo>
                    <a:pt x="8474" y="7938"/>
                    <a:pt x="8549" y="7894"/>
                    <a:pt x="8607" y="7852"/>
                  </a:cubicBezTo>
                  <a:cubicBezTo>
                    <a:pt x="8632" y="7835"/>
                    <a:pt x="8653" y="7818"/>
                    <a:pt x="8670" y="7804"/>
                  </a:cubicBezTo>
                  <a:cubicBezTo>
                    <a:pt x="8631" y="7759"/>
                    <a:pt x="8598" y="7711"/>
                    <a:pt x="8576" y="7661"/>
                  </a:cubicBezTo>
                  <a:cubicBezTo>
                    <a:pt x="8536" y="7571"/>
                    <a:pt x="8528" y="7473"/>
                    <a:pt x="8527" y="7384"/>
                  </a:cubicBezTo>
                  <a:cubicBezTo>
                    <a:pt x="8527" y="7322"/>
                    <a:pt x="8532" y="7264"/>
                    <a:pt x="8534" y="7214"/>
                  </a:cubicBezTo>
                  <a:cubicBezTo>
                    <a:pt x="8538" y="7131"/>
                    <a:pt x="8547" y="6819"/>
                    <a:pt x="8547" y="6528"/>
                  </a:cubicBezTo>
                  <a:cubicBezTo>
                    <a:pt x="8547" y="6518"/>
                    <a:pt x="8547" y="6507"/>
                    <a:pt x="8547" y="6497"/>
                  </a:cubicBezTo>
                  <a:cubicBezTo>
                    <a:pt x="8542" y="6496"/>
                    <a:pt x="8536" y="6496"/>
                    <a:pt x="8529" y="6495"/>
                  </a:cubicBezTo>
                  <a:cubicBezTo>
                    <a:pt x="8519" y="6494"/>
                    <a:pt x="8519" y="6494"/>
                    <a:pt x="8519" y="6494"/>
                  </a:cubicBezTo>
                  <a:cubicBezTo>
                    <a:pt x="8519" y="6494"/>
                    <a:pt x="8519" y="6493"/>
                    <a:pt x="8519" y="6493"/>
                  </a:cubicBezTo>
                  <a:cubicBezTo>
                    <a:pt x="8490" y="6490"/>
                    <a:pt x="8449" y="6485"/>
                    <a:pt x="8402" y="6479"/>
                  </a:cubicBezTo>
                  <a:cubicBezTo>
                    <a:pt x="8402" y="6498"/>
                    <a:pt x="8403" y="6518"/>
                    <a:pt x="8403" y="6536"/>
                  </a:cubicBezTo>
                  <a:cubicBezTo>
                    <a:pt x="8402" y="6697"/>
                    <a:pt x="8386" y="6824"/>
                    <a:pt x="8336" y="6914"/>
                  </a:cubicBezTo>
                  <a:cubicBezTo>
                    <a:pt x="8198" y="7153"/>
                    <a:pt x="7872" y="7438"/>
                    <a:pt x="7290" y="7551"/>
                  </a:cubicBezTo>
                  <a:close/>
                  <a:moveTo>
                    <a:pt x="7294" y="13431"/>
                  </a:moveTo>
                  <a:cubicBezTo>
                    <a:pt x="7294" y="13430"/>
                    <a:pt x="7294" y="13430"/>
                    <a:pt x="7294" y="13430"/>
                  </a:cubicBezTo>
                  <a:cubicBezTo>
                    <a:pt x="7339" y="12863"/>
                    <a:pt x="7339" y="12863"/>
                    <a:pt x="7339" y="12863"/>
                  </a:cubicBezTo>
                  <a:cubicBezTo>
                    <a:pt x="8031" y="11442"/>
                    <a:pt x="8031" y="11442"/>
                    <a:pt x="8031" y="11442"/>
                  </a:cubicBezTo>
                  <a:cubicBezTo>
                    <a:pt x="8013" y="11432"/>
                    <a:pt x="7972" y="11411"/>
                    <a:pt x="7904" y="11376"/>
                  </a:cubicBezTo>
                  <a:cubicBezTo>
                    <a:pt x="7809" y="11328"/>
                    <a:pt x="7663" y="11256"/>
                    <a:pt x="7459" y="11158"/>
                  </a:cubicBezTo>
                  <a:cubicBezTo>
                    <a:pt x="7256" y="11061"/>
                    <a:pt x="7074" y="11001"/>
                    <a:pt x="6942" y="10965"/>
                  </a:cubicBezTo>
                  <a:cubicBezTo>
                    <a:pt x="6876" y="10948"/>
                    <a:pt x="6823" y="10936"/>
                    <a:pt x="6786" y="10929"/>
                  </a:cubicBezTo>
                  <a:cubicBezTo>
                    <a:pt x="6769" y="10925"/>
                    <a:pt x="6755" y="10923"/>
                    <a:pt x="6746" y="10921"/>
                  </a:cubicBezTo>
                  <a:cubicBezTo>
                    <a:pt x="6433" y="13862"/>
                    <a:pt x="6433" y="13862"/>
                    <a:pt x="6433" y="13862"/>
                  </a:cubicBezTo>
                  <a:cubicBezTo>
                    <a:pt x="6572" y="13847"/>
                    <a:pt x="6711" y="13829"/>
                    <a:pt x="6847" y="13801"/>
                  </a:cubicBezTo>
                  <a:cubicBezTo>
                    <a:pt x="6989" y="13772"/>
                    <a:pt x="7261" y="13759"/>
                    <a:pt x="7329" y="13756"/>
                  </a:cubicBezTo>
                  <a:cubicBezTo>
                    <a:pt x="7294" y="13575"/>
                    <a:pt x="7294" y="13432"/>
                    <a:pt x="7294" y="13431"/>
                  </a:cubicBezTo>
                  <a:close/>
                  <a:moveTo>
                    <a:pt x="5626" y="13994"/>
                  </a:moveTo>
                  <a:cubicBezTo>
                    <a:pt x="5650" y="13897"/>
                    <a:pt x="5650" y="13897"/>
                    <a:pt x="5650" y="13897"/>
                  </a:cubicBezTo>
                  <a:cubicBezTo>
                    <a:pt x="5871" y="11940"/>
                    <a:pt x="5871" y="11940"/>
                    <a:pt x="5871" y="11940"/>
                  </a:cubicBezTo>
                  <a:cubicBezTo>
                    <a:pt x="5868" y="11939"/>
                    <a:pt x="5862" y="11937"/>
                    <a:pt x="5856" y="11934"/>
                  </a:cubicBezTo>
                  <a:cubicBezTo>
                    <a:pt x="5126" y="11869"/>
                    <a:pt x="5126" y="11869"/>
                    <a:pt x="5126" y="11869"/>
                  </a:cubicBezTo>
                  <a:cubicBezTo>
                    <a:pt x="5116" y="11873"/>
                    <a:pt x="5116" y="11873"/>
                    <a:pt x="5116" y="11873"/>
                  </a:cubicBezTo>
                  <a:cubicBezTo>
                    <a:pt x="5115" y="11875"/>
                    <a:pt x="5115" y="11877"/>
                    <a:pt x="5115" y="11878"/>
                  </a:cubicBezTo>
                  <a:cubicBezTo>
                    <a:pt x="5091" y="11982"/>
                    <a:pt x="5002" y="12091"/>
                    <a:pt x="4937" y="12187"/>
                  </a:cubicBezTo>
                  <a:cubicBezTo>
                    <a:pt x="4909" y="12227"/>
                    <a:pt x="4900" y="12262"/>
                    <a:pt x="4900" y="12300"/>
                  </a:cubicBezTo>
                  <a:cubicBezTo>
                    <a:pt x="4900" y="12348"/>
                    <a:pt x="4916" y="12401"/>
                    <a:pt x="4935" y="12467"/>
                  </a:cubicBezTo>
                  <a:cubicBezTo>
                    <a:pt x="4947" y="12512"/>
                    <a:pt x="4953" y="12552"/>
                    <a:pt x="4953" y="12588"/>
                  </a:cubicBezTo>
                  <a:cubicBezTo>
                    <a:pt x="4953" y="12690"/>
                    <a:pt x="4907" y="12755"/>
                    <a:pt x="4861" y="12811"/>
                  </a:cubicBezTo>
                  <a:cubicBezTo>
                    <a:pt x="4860" y="12812"/>
                    <a:pt x="4859" y="12813"/>
                    <a:pt x="4859" y="12814"/>
                  </a:cubicBezTo>
                  <a:cubicBezTo>
                    <a:pt x="5027" y="12985"/>
                    <a:pt x="5042" y="13214"/>
                    <a:pt x="5042" y="13312"/>
                  </a:cubicBezTo>
                  <a:cubicBezTo>
                    <a:pt x="5042" y="13340"/>
                    <a:pt x="5041" y="13356"/>
                    <a:pt x="5040" y="13359"/>
                  </a:cubicBezTo>
                  <a:cubicBezTo>
                    <a:pt x="5038" y="13378"/>
                    <a:pt x="5035" y="13411"/>
                    <a:pt x="5031" y="13447"/>
                  </a:cubicBezTo>
                  <a:cubicBezTo>
                    <a:pt x="5024" y="13512"/>
                    <a:pt x="5014" y="13586"/>
                    <a:pt x="5009" y="13617"/>
                  </a:cubicBezTo>
                  <a:cubicBezTo>
                    <a:pt x="5004" y="13653"/>
                    <a:pt x="4987" y="13769"/>
                    <a:pt x="4979" y="13859"/>
                  </a:cubicBezTo>
                  <a:cubicBezTo>
                    <a:pt x="4979" y="13867"/>
                    <a:pt x="4978" y="13887"/>
                    <a:pt x="4978" y="13908"/>
                  </a:cubicBezTo>
                  <a:cubicBezTo>
                    <a:pt x="4978" y="13928"/>
                    <a:pt x="4979" y="13950"/>
                    <a:pt x="4981" y="13963"/>
                  </a:cubicBezTo>
                  <a:cubicBezTo>
                    <a:pt x="4982" y="13976"/>
                    <a:pt x="4989" y="14006"/>
                    <a:pt x="4989" y="14006"/>
                  </a:cubicBezTo>
                  <a:cubicBezTo>
                    <a:pt x="4989" y="14008"/>
                    <a:pt x="4989" y="14008"/>
                    <a:pt x="4989" y="14008"/>
                  </a:cubicBezTo>
                  <a:cubicBezTo>
                    <a:pt x="4991" y="14013"/>
                    <a:pt x="4992" y="14018"/>
                    <a:pt x="4994" y="14023"/>
                  </a:cubicBezTo>
                  <a:cubicBezTo>
                    <a:pt x="5007" y="14059"/>
                    <a:pt x="5027" y="14108"/>
                    <a:pt x="5058" y="14160"/>
                  </a:cubicBezTo>
                  <a:cubicBezTo>
                    <a:pt x="5098" y="14228"/>
                    <a:pt x="5124" y="14290"/>
                    <a:pt x="5139" y="14326"/>
                  </a:cubicBezTo>
                  <a:cubicBezTo>
                    <a:pt x="5142" y="14330"/>
                    <a:pt x="5146" y="14335"/>
                    <a:pt x="5149" y="14339"/>
                  </a:cubicBezTo>
                  <a:lnTo>
                    <a:pt x="5626" y="13994"/>
                  </a:lnTo>
                  <a:close/>
                  <a:moveTo>
                    <a:pt x="4810" y="12817"/>
                  </a:moveTo>
                  <a:cubicBezTo>
                    <a:pt x="4798" y="12801"/>
                    <a:pt x="4763" y="12754"/>
                    <a:pt x="4716" y="12693"/>
                  </a:cubicBezTo>
                  <a:cubicBezTo>
                    <a:pt x="4631" y="12583"/>
                    <a:pt x="4508" y="12425"/>
                    <a:pt x="4406" y="12294"/>
                  </a:cubicBezTo>
                  <a:cubicBezTo>
                    <a:pt x="4333" y="12200"/>
                    <a:pt x="4271" y="12121"/>
                    <a:pt x="4242" y="12083"/>
                  </a:cubicBezTo>
                  <a:cubicBezTo>
                    <a:pt x="4240" y="12103"/>
                    <a:pt x="4240" y="12103"/>
                    <a:pt x="4240" y="12103"/>
                  </a:cubicBezTo>
                  <a:cubicBezTo>
                    <a:pt x="4233" y="12096"/>
                    <a:pt x="4233" y="12096"/>
                    <a:pt x="4233" y="12096"/>
                  </a:cubicBezTo>
                  <a:cubicBezTo>
                    <a:pt x="4230" y="12099"/>
                    <a:pt x="4230" y="12099"/>
                    <a:pt x="4230" y="12099"/>
                  </a:cubicBezTo>
                  <a:cubicBezTo>
                    <a:pt x="4230" y="12099"/>
                    <a:pt x="4200" y="12121"/>
                    <a:pt x="4167" y="12151"/>
                  </a:cubicBezTo>
                  <a:cubicBezTo>
                    <a:pt x="4145" y="12171"/>
                    <a:pt x="4124" y="12194"/>
                    <a:pt x="4108" y="12212"/>
                  </a:cubicBezTo>
                  <a:cubicBezTo>
                    <a:pt x="4069" y="12258"/>
                    <a:pt x="4057" y="12312"/>
                    <a:pt x="4046" y="12345"/>
                  </a:cubicBezTo>
                  <a:cubicBezTo>
                    <a:pt x="4035" y="12376"/>
                    <a:pt x="4004" y="12492"/>
                    <a:pt x="3989" y="12531"/>
                  </a:cubicBezTo>
                  <a:cubicBezTo>
                    <a:pt x="3985" y="12542"/>
                    <a:pt x="3981" y="12555"/>
                    <a:pt x="3975" y="12569"/>
                  </a:cubicBezTo>
                  <a:cubicBezTo>
                    <a:pt x="3976" y="12568"/>
                    <a:pt x="3976" y="12568"/>
                    <a:pt x="3976" y="12568"/>
                  </a:cubicBezTo>
                  <a:cubicBezTo>
                    <a:pt x="3976" y="12568"/>
                    <a:pt x="3976" y="12568"/>
                    <a:pt x="3976" y="12568"/>
                  </a:cubicBezTo>
                  <a:cubicBezTo>
                    <a:pt x="3976" y="12569"/>
                    <a:pt x="4089" y="12672"/>
                    <a:pt x="4169" y="12744"/>
                  </a:cubicBezTo>
                  <a:cubicBezTo>
                    <a:pt x="4191" y="12764"/>
                    <a:pt x="4211" y="12780"/>
                    <a:pt x="4225" y="12792"/>
                  </a:cubicBezTo>
                  <a:cubicBezTo>
                    <a:pt x="4232" y="12798"/>
                    <a:pt x="4237" y="12802"/>
                    <a:pt x="4241" y="12805"/>
                  </a:cubicBezTo>
                  <a:cubicBezTo>
                    <a:pt x="4243" y="12807"/>
                    <a:pt x="4245" y="12808"/>
                    <a:pt x="4246" y="12809"/>
                  </a:cubicBezTo>
                  <a:cubicBezTo>
                    <a:pt x="4246" y="12810"/>
                    <a:pt x="4247" y="12810"/>
                    <a:pt x="4247" y="12811"/>
                  </a:cubicBezTo>
                  <a:cubicBezTo>
                    <a:pt x="4248" y="12811"/>
                    <a:pt x="4248" y="12811"/>
                    <a:pt x="4248" y="12812"/>
                  </a:cubicBezTo>
                  <a:cubicBezTo>
                    <a:pt x="4249" y="12812"/>
                    <a:pt x="4249" y="12812"/>
                    <a:pt x="4249" y="12813"/>
                  </a:cubicBezTo>
                  <a:cubicBezTo>
                    <a:pt x="4249" y="12813"/>
                    <a:pt x="4249" y="12813"/>
                    <a:pt x="4249" y="12813"/>
                  </a:cubicBezTo>
                  <a:cubicBezTo>
                    <a:pt x="4249" y="12813"/>
                    <a:pt x="4250" y="12813"/>
                    <a:pt x="4250" y="12813"/>
                  </a:cubicBezTo>
                  <a:cubicBezTo>
                    <a:pt x="4250" y="12814"/>
                    <a:pt x="4250" y="12814"/>
                    <a:pt x="4251" y="12815"/>
                  </a:cubicBezTo>
                  <a:cubicBezTo>
                    <a:pt x="4259" y="12826"/>
                    <a:pt x="4307" y="12878"/>
                    <a:pt x="4308" y="12928"/>
                  </a:cubicBezTo>
                  <a:cubicBezTo>
                    <a:pt x="4308" y="12930"/>
                    <a:pt x="4308" y="12932"/>
                    <a:pt x="4308" y="12934"/>
                  </a:cubicBezTo>
                  <a:cubicBezTo>
                    <a:pt x="4647" y="13032"/>
                    <a:pt x="4647" y="13032"/>
                    <a:pt x="4647" y="13032"/>
                  </a:cubicBezTo>
                  <a:cubicBezTo>
                    <a:pt x="4643" y="13039"/>
                    <a:pt x="4643" y="13039"/>
                    <a:pt x="4643" y="13039"/>
                  </a:cubicBezTo>
                  <a:cubicBezTo>
                    <a:pt x="4647" y="13032"/>
                    <a:pt x="4647" y="13032"/>
                    <a:pt x="4647" y="13032"/>
                  </a:cubicBezTo>
                  <a:cubicBezTo>
                    <a:pt x="4664" y="13037"/>
                    <a:pt x="4664" y="13037"/>
                    <a:pt x="4664" y="13037"/>
                  </a:cubicBezTo>
                  <a:cubicBezTo>
                    <a:pt x="4664" y="13037"/>
                    <a:pt x="4667" y="13030"/>
                    <a:pt x="4669" y="13029"/>
                  </a:cubicBezTo>
                  <a:cubicBezTo>
                    <a:pt x="4695" y="12986"/>
                    <a:pt x="4760" y="12884"/>
                    <a:pt x="4810" y="12817"/>
                  </a:cubicBezTo>
                  <a:close/>
                  <a:moveTo>
                    <a:pt x="4228" y="12817"/>
                  </a:moveTo>
                  <a:cubicBezTo>
                    <a:pt x="4227" y="12817"/>
                    <a:pt x="4227" y="12818"/>
                    <a:pt x="4227" y="12818"/>
                  </a:cubicBezTo>
                  <a:cubicBezTo>
                    <a:pt x="4227" y="12818"/>
                    <a:pt x="4227" y="12818"/>
                    <a:pt x="4228" y="12817"/>
                  </a:cubicBezTo>
                  <a:close/>
                  <a:moveTo>
                    <a:pt x="4227" y="12820"/>
                  </a:moveTo>
                  <a:cubicBezTo>
                    <a:pt x="4227" y="12820"/>
                    <a:pt x="4227" y="12820"/>
                    <a:pt x="4227" y="12820"/>
                  </a:cubicBezTo>
                  <a:cubicBezTo>
                    <a:pt x="4227" y="12820"/>
                    <a:pt x="4227" y="12820"/>
                    <a:pt x="4227" y="12820"/>
                  </a:cubicBezTo>
                  <a:cubicBezTo>
                    <a:pt x="4227" y="12820"/>
                    <a:pt x="4227" y="12820"/>
                    <a:pt x="4227" y="12820"/>
                  </a:cubicBezTo>
                  <a:close/>
                  <a:moveTo>
                    <a:pt x="3618" y="11204"/>
                  </a:moveTo>
                  <a:cubicBezTo>
                    <a:pt x="4231" y="12005"/>
                    <a:pt x="4231" y="12005"/>
                    <a:pt x="4231" y="12005"/>
                  </a:cubicBezTo>
                  <a:cubicBezTo>
                    <a:pt x="4231" y="12005"/>
                    <a:pt x="4231" y="12005"/>
                    <a:pt x="4231" y="12005"/>
                  </a:cubicBezTo>
                  <a:cubicBezTo>
                    <a:pt x="4231" y="12005"/>
                    <a:pt x="4237" y="12013"/>
                    <a:pt x="4247" y="12025"/>
                  </a:cubicBezTo>
                  <a:cubicBezTo>
                    <a:pt x="4247" y="12026"/>
                    <a:pt x="4247" y="12026"/>
                    <a:pt x="4247" y="12026"/>
                  </a:cubicBezTo>
                  <a:cubicBezTo>
                    <a:pt x="4247" y="12026"/>
                    <a:pt x="4247" y="12026"/>
                    <a:pt x="4247" y="12026"/>
                  </a:cubicBezTo>
                  <a:cubicBezTo>
                    <a:pt x="4292" y="12086"/>
                    <a:pt x="4427" y="12262"/>
                    <a:pt x="4548" y="12418"/>
                  </a:cubicBezTo>
                  <a:cubicBezTo>
                    <a:pt x="4622" y="12513"/>
                    <a:pt x="4696" y="12609"/>
                    <a:pt x="4752" y="12681"/>
                  </a:cubicBezTo>
                  <a:cubicBezTo>
                    <a:pt x="4780" y="12717"/>
                    <a:pt x="4803" y="12748"/>
                    <a:pt x="4819" y="12769"/>
                  </a:cubicBezTo>
                  <a:cubicBezTo>
                    <a:pt x="4825" y="12777"/>
                    <a:pt x="4829" y="12783"/>
                    <a:pt x="4833" y="12788"/>
                  </a:cubicBezTo>
                  <a:cubicBezTo>
                    <a:pt x="4833" y="12788"/>
                    <a:pt x="4833" y="12788"/>
                    <a:pt x="4833" y="12788"/>
                  </a:cubicBezTo>
                  <a:cubicBezTo>
                    <a:pt x="4878" y="12733"/>
                    <a:pt x="4917" y="12678"/>
                    <a:pt x="4917" y="12588"/>
                  </a:cubicBezTo>
                  <a:cubicBezTo>
                    <a:pt x="4917" y="12556"/>
                    <a:pt x="4912" y="12519"/>
                    <a:pt x="4900" y="12476"/>
                  </a:cubicBezTo>
                  <a:cubicBezTo>
                    <a:pt x="4882" y="12412"/>
                    <a:pt x="4864" y="12356"/>
                    <a:pt x="4864" y="12300"/>
                  </a:cubicBezTo>
                  <a:cubicBezTo>
                    <a:pt x="4864" y="12256"/>
                    <a:pt x="4876" y="12212"/>
                    <a:pt x="4907" y="12167"/>
                  </a:cubicBezTo>
                  <a:cubicBezTo>
                    <a:pt x="4971" y="12073"/>
                    <a:pt x="5054" y="11966"/>
                    <a:pt x="5077" y="11878"/>
                  </a:cubicBezTo>
                  <a:cubicBezTo>
                    <a:pt x="5026" y="11812"/>
                    <a:pt x="4636" y="11313"/>
                    <a:pt x="4565" y="11210"/>
                  </a:cubicBezTo>
                  <a:cubicBezTo>
                    <a:pt x="4543" y="11178"/>
                    <a:pt x="4533" y="11148"/>
                    <a:pt x="4533" y="11122"/>
                  </a:cubicBezTo>
                  <a:cubicBezTo>
                    <a:pt x="4533" y="11116"/>
                    <a:pt x="4535" y="11110"/>
                    <a:pt x="4536" y="11104"/>
                  </a:cubicBezTo>
                  <a:cubicBezTo>
                    <a:pt x="4135" y="11030"/>
                    <a:pt x="4135" y="11030"/>
                    <a:pt x="4135" y="11030"/>
                  </a:cubicBezTo>
                  <a:cubicBezTo>
                    <a:pt x="3964" y="11080"/>
                    <a:pt x="3964" y="11080"/>
                    <a:pt x="3964" y="11080"/>
                  </a:cubicBezTo>
                  <a:cubicBezTo>
                    <a:pt x="3965" y="11081"/>
                    <a:pt x="3965" y="11081"/>
                    <a:pt x="3965" y="11081"/>
                  </a:cubicBezTo>
                  <a:cubicBezTo>
                    <a:pt x="3631" y="11196"/>
                    <a:pt x="3631" y="11196"/>
                    <a:pt x="3631" y="11196"/>
                  </a:cubicBezTo>
                  <a:lnTo>
                    <a:pt x="3618" y="11204"/>
                  </a:lnTo>
                  <a:close/>
                  <a:moveTo>
                    <a:pt x="4984" y="10158"/>
                  </a:moveTo>
                  <a:cubicBezTo>
                    <a:pt x="4988" y="10190"/>
                    <a:pt x="5022" y="10487"/>
                    <a:pt x="5059" y="10797"/>
                  </a:cubicBezTo>
                  <a:cubicBezTo>
                    <a:pt x="5097" y="11126"/>
                    <a:pt x="5139" y="11470"/>
                    <a:pt x="5150" y="11525"/>
                  </a:cubicBezTo>
                  <a:cubicBezTo>
                    <a:pt x="5155" y="11551"/>
                    <a:pt x="5157" y="11579"/>
                    <a:pt x="5157" y="11607"/>
                  </a:cubicBezTo>
                  <a:cubicBezTo>
                    <a:pt x="5157" y="11688"/>
                    <a:pt x="5139" y="11772"/>
                    <a:pt x="5123" y="11841"/>
                  </a:cubicBezTo>
                  <a:cubicBezTo>
                    <a:pt x="5130" y="11843"/>
                    <a:pt x="5130" y="11843"/>
                    <a:pt x="5130" y="11843"/>
                  </a:cubicBezTo>
                  <a:cubicBezTo>
                    <a:pt x="5870" y="11909"/>
                    <a:pt x="5870" y="11909"/>
                    <a:pt x="5870" y="11909"/>
                  </a:cubicBezTo>
                  <a:cubicBezTo>
                    <a:pt x="5870" y="11909"/>
                    <a:pt x="5870" y="11909"/>
                    <a:pt x="5870" y="11909"/>
                  </a:cubicBezTo>
                  <a:cubicBezTo>
                    <a:pt x="5875" y="11909"/>
                    <a:pt x="5875" y="11909"/>
                    <a:pt x="5875" y="11909"/>
                  </a:cubicBezTo>
                  <a:cubicBezTo>
                    <a:pt x="5906" y="11634"/>
                    <a:pt x="5906" y="11634"/>
                    <a:pt x="5906" y="11634"/>
                  </a:cubicBezTo>
                  <a:cubicBezTo>
                    <a:pt x="5858" y="11528"/>
                    <a:pt x="5858" y="11528"/>
                    <a:pt x="5858" y="11528"/>
                  </a:cubicBezTo>
                  <a:cubicBezTo>
                    <a:pt x="5971" y="10037"/>
                    <a:pt x="5971" y="10037"/>
                    <a:pt x="5971" y="10037"/>
                  </a:cubicBezTo>
                  <a:cubicBezTo>
                    <a:pt x="5918" y="10040"/>
                    <a:pt x="5861" y="10044"/>
                    <a:pt x="5799" y="10049"/>
                  </a:cubicBezTo>
                  <a:cubicBezTo>
                    <a:pt x="5565" y="10067"/>
                    <a:pt x="5270" y="10100"/>
                    <a:pt x="4984" y="10158"/>
                  </a:cubicBezTo>
                  <a:close/>
                  <a:moveTo>
                    <a:pt x="6018" y="9998"/>
                  </a:moveTo>
                  <a:cubicBezTo>
                    <a:pt x="6166" y="9990"/>
                    <a:pt x="6258" y="9989"/>
                    <a:pt x="6258" y="9989"/>
                  </a:cubicBezTo>
                  <a:cubicBezTo>
                    <a:pt x="6258" y="10013"/>
                    <a:pt x="6258" y="10013"/>
                    <a:pt x="6258" y="10013"/>
                  </a:cubicBezTo>
                  <a:cubicBezTo>
                    <a:pt x="6271" y="9975"/>
                    <a:pt x="6313" y="9852"/>
                    <a:pt x="6372" y="9680"/>
                  </a:cubicBezTo>
                  <a:cubicBezTo>
                    <a:pt x="6477" y="9369"/>
                    <a:pt x="6636" y="8902"/>
                    <a:pt x="6768" y="8513"/>
                  </a:cubicBezTo>
                  <a:cubicBezTo>
                    <a:pt x="6834" y="8318"/>
                    <a:pt x="6893" y="8143"/>
                    <a:pt x="6936" y="8016"/>
                  </a:cubicBezTo>
                  <a:cubicBezTo>
                    <a:pt x="6957" y="7954"/>
                    <a:pt x="6974" y="7904"/>
                    <a:pt x="6986" y="7868"/>
                  </a:cubicBezTo>
                  <a:cubicBezTo>
                    <a:pt x="6985" y="7846"/>
                    <a:pt x="6985" y="7846"/>
                    <a:pt x="6985" y="7846"/>
                  </a:cubicBezTo>
                  <a:cubicBezTo>
                    <a:pt x="6929" y="7859"/>
                    <a:pt x="6890" y="7884"/>
                    <a:pt x="6864" y="7906"/>
                  </a:cubicBezTo>
                  <a:cubicBezTo>
                    <a:pt x="6850" y="7918"/>
                    <a:pt x="6840" y="7929"/>
                    <a:pt x="6834" y="7937"/>
                  </a:cubicBezTo>
                  <a:cubicBezTo>
                    <a:pt x="6831" y="7941"/>
                    <a:pt x="6829" y="7944"/>
                    <a:pt x="6828" y="7946"/>
                  </a:cubicBezTo>
                  <a:cubicBezTo>
                    <a:pt x="6827" y="7946"/>
                    <a:pt x="6827" y="7947"/>
                    <a:pt x="6827" y="7947"/>
                  </a:cubicBezTo>
                  <a:cubicBezTo>
                    <a:pt x="6807" y="7983"/>
                    <a:pt x="6788" y="8022"/>
                    <a:pt x="6774" y="8052"/>
                  </a:cubicBezTo>
                  <a:cubicBezTo>
                    <a:pt x="6759" y="8082"/>
                    <a:pt x="6750" y="8103"/>
                    <a:pt x="6750" y="8103"/>
                  </a:cubicBezTo>
                  <a:cubicBezTo>
                    <a:pt x="6744" y="8116"/>
                    <a:pt x="6744" y="8116"/>
                    <a:pt x="6744" y="8116"/>
                  </a:cubicBezTo>
                  <a:cubicBezTo>
                    <a:pt x="6733" y="8125"/>
                    <a:pt x="6733" y="8125"/>
                    <a:pt x="6733" y="8125"/>
                  </a:cubicBezTo>
                  <a:cubicBezTo>
                    <a:pt x="6713" y="8140"/>
                    <a:pt x="6692" y="8147"/>
                    <a:pt x="6672" y="8150"/>
                  </a:cubicBezTo>
                  <a:lnTo>
                    <a:pt x="6018" y="9998"/>
                  </a:lnTo>
                  <a:close/>
                  <a:moveTo>
                    <a:pt x="8025" y="8105"/>
                  </a:moveTo>
                  <a:cubicBezTo>
                    <a:pt x="8021" y="8102"/>
                    <a:pt x="8005" y="8092"/>
                    <a:pt x="7980" y="8076"/>
                  </a:cubicBezTo>
                  <a:cubicBezTo>
                    <a:pt x="7891" y="8019"/>
                    <a:pt x="7686" y="7899"/>
                    <a:pt x="7534" y="7863"/>
                  </a:cubicBezTo>
                  <a:cubicBezTo>
                    <a:pt x="7534" y="7862"/>
                    <a:pt x="7533" y="7862"/>
                    <a:pt x="7532" y="7862"/>
                  </a:cubicBezTo>
                  <a:cubicBezTo>
                    <a:pt x="7530" y="7866"/>
                    <a:pt x="7527" y="7870"/>
                    <a:pt x="7524" y="7873"/>
                  </a:cubicBezTo>
                  <a:cubicBezTo>
                    <a:pt x="6863" y="9940"/>
                    <a:pt x="6863" y="9940"/>
                    <a:pt x="6863" y="9940"/>
                  </a:cubicBezTo>
                  <a:cubicBezTo>
                    <a:pt x="7220" y="9693"/>
                    <a:pt x="7220" y="9693"/>
                    <a:pt x="7220" y="9693"/>
                  </a:cubicBezTo>
                  <a:cubicBezTo>
                    <a:pt x="8022" y="8113"/>
                    <a:pt x="8022" y="8113"/>
                    <a:pt x="8022" y="8113"/>
                  </a:cubicBezTo>
                  <a:cubicBezTo>
                    <a:pt x="8023" y="8111"/>
                    <a:pt x="8024" y="8108"/>
                    <a:pt x="8025" y="8105"/>
                  </a:cubicBezTo>
                  <a:close/>
                  <a:moveTo>
                    <a:pt x="7489" y="7853"/>
                  </a:moveTo>
                  <a:cubicBezTo>
                    <a:pt x="7392" y="7832"/>
                    <a:pt x="7301" y="7823"/>
                    <a:pt x="7218" y="7823"/>
                  </a:cubicBezTo>
                  <a:cubicBezTo>
                    <a:pt x="7153" y="7823"/>
                    <a:pt x="7093" y="7828"/>
                    <a:pt x="7037" y="7837"/>
                  </a:cubicBezTo>
                  <a:cubicBezTo>
                    <a:pt x="7031" y="7846"/>
                    <a:pt x="7031" y="7846"/>
                    <a:pt x="7031" y="7846"/>
                  </a:cubicBezTo>
                  <a:cubicBezTo>
                    <a:pt x="6951" y="8087"/>
                    <a:pt x="6306" y="9986"/>
                    <a:pt x="6289" y="10036"/>
                  </a:cubicBezTo>
                  <a:cubicBezTo>
                    <a:pt x="6126" y="10875"/>
                    <a:pt x="6126" y="10875"/>
                    <a:pt x="6126" y="10875"/>
                  </a:cubicBezTo>
                  <a:cubicBezTo>
                    <a:pt x="6714" y="10883"/>
                    <a:pt x="6714" y="10883"/>
                    <a:pt x="6714" y="10883"/>
                  </a:cubicBezTo>
                  <a:cubicBezTo>
                    <a:pt x="6809" y="9991"/>
                    <a:pt x="6809" y="9991"/>
                    <a:pt x="6809" y="9991"/>
                  </a:cubicBezTo>
                  <a:cubicBezTo>
                    <a:pt x="7486" y="7874"/>
                    <a:pt x="7486" y="7874"/>
                    <a:pt x="7486" y="7874"/>
                  </a:cubicBezTo>
                  <a:cubicBezTo>
                    <a:pt x="7487" y="7870"/>
                    <a:pt x="7488" y="7860"/>
                    <a:pt x="7489" y="7853"/>
                  </a:cubicBezTo>
                  <a:close/>
                  <a:moveTo>
                    <a:pt x="6007" y="10035"/>
                  </a:moveTo>
                  <a:cubicBezTo>
                    <a:pt x="5895" y="11521"/>
                    <a:pt x="5895" y="11521"/>
                    <a:pt x="5895" y="11521"/>
                  </a:cubicBezTo>
                  <a:cubicBezTo>
                    <a:pt x="5922" y="11582"/>
                    <a:pt x="5922" y="11582"/>
                    <a:pt x="5922" y="11582"/>
                  </a:cubicBezTo>
                  <a:cubicBezTo>
                    <a:pt x="5985" y="11398"/>
                    <a:pt x="5985" y="11398"/>
                    <a:pt x="5985" y="11398"/>
                  </a:cubicBezTo>
                  <a:cubicBezTo>
                    <a:pt x="6082" y="10910"/>
                    <a:pt x="6082" y="10910"/>
                    <a:pt x="6082" y="10910"/>
                  </a:cubicBezTo>
                  <a:cubicBezTo>
                    <a:pt x="6254" y="10027"/>
                    <a:pt x="6254" y="10027"/>
                    <a:pt x="6254" y="10027"/>
                  </a:cubicBezTo>
                  <a:cubicBezTo>
                    <a:pt x="6254" y="10026"/>
                    <a:pt x="6254" y="10026"/>
                    <a:pt x="6254" y="10026"/>
                  </a:cubicBezTo>
                  <a:cubicBezTo>
                    <a:pt x="6254" y="10026"/>
                    <a:pt x="6254" y="10026"/>
                    <a:pt x="6254" y="10026"/>
                  </a:cubicBezTo>
                  <a:cubicBezTo>
                    <a:pt x="6235" y="10026"/>
                    <a:pt x="6144" y="10028"/>
                    <a:pt x="6007" y="10035"/>
                  </a:cubicBezTo>
                  <a:close/>
                  <a:moveTo>
                    <a:pt x="5043" y="10973"/>
                  </a:moveTo>
                  <a:cubicBezTo>
                    <a:pt x="5019" y="10977"/>
                    <a:pt x="4940" y="10989"/>
                    <a:pt x="4857" y="11002"/>
                  </a:cubicBezTo>
                  <a:cubicBezTo>
                    <a:pt x="4807" y="11010"/>
                    <a:pt x="4756" y="11018"/>
                    <a:pt x="4715" y="11025"/>
                  </a:cubicBezTo>
                  <a:cubicBezTo>
                    <a:pt x="4675" y="11032"/>
                    <a:pt x="4644" y="11039"/>
                    <a:pt x="4639" y="11041"/>
                  </a:cubicBezTo>
                  <a:cubicBezTo>
                    <a:pt x="4628" y="11045"/>
                    <a:pt x="4609" y="11054"/>
                    <a:pt x="4595" y="11068"/>
                  </a:cubicBezTo>
                  <a:cubicBezTo>
                    <a:pt x="4580" y="11082"/>
                    <a:pt x="4570" y="11099"/>
                    <a:pt x="4570" y="11122"/>
                  </a:cubicBezTo>
                  <a:cubicBezTo>
                    <a:pt x="4570" y="11139"/>
                    <a:pt x="4576" y="11161"/>
                    <a:pt x="4595" y="11189"/>
                  </a:cubicBezTo>
                  <a:cubicBezTo>
                    <a:pt x="4631" y="11243"/>
                    <a:pt x="4761" y="11412"/>
                    <a:pt x="4881" y="11567"/>
                  </a:cubicBezTo>
                  <a:cubicBezTo>
                    <a:pt x="4968" y="11679"/>
                    <a:pt x="5049" y="11784"/>
                    <a:pt x="5088" y="11834"/>
                  </a:cubicBezTo>
                  <a:cubicBezTo>
                    <a:pt x="5104" y="11765"/>
                    <a:pt x="5121" y="11683"/>
                    <a:pt x="5121" y="11607"/>
                  </a:cubicBezTo>
                  <a:cubicBezTo>
                    <a:pt x="5121" y="11581"/>
                    <a:pt x="5119" y="11556"/>
                    <a:pt x="5114" y="11532"/>
                  </a:cubicBezTo>
                  <a:cubicBezTo>
                    <a:pt x="5105" y="11484"/>
                    <a:pt x="5075" y="11241"/>
                    <a:pt x="5043" y="10973"/>
                  </a:cubicBezTo>
                  <a:close/>
                  <a:moveTo>
                    <a:pt x="5671" y="13962"/>
                  </a:moveTo>
                  <a:cubicBezTo>
                    <a:pt x="5776" y="13886"/>
                    <a:pt x="5776" y="13886"/>
                    <a:pt x="5776" y="13886"/>
                  </a:cubicBezTo>
                  <a:cubicBezTo>
                    <a:pt x="5782" y="13886"/>
                    <a:pt x="5782" y="13886"/>
                    <a:pt x="5782" y="13886"/>
                  </a:cubicBezTo>
                  <a:cubicBezTo>
                    <a:pt x="5782" y="13886"/>
                    <a:pt x="5887" y="13886"/>
                    <a:pt x="6012" y="13884"/>
                  </a:cubicBezTo>
                  <a:cubicBezTo>
                    <a:pt x="6137" y="13882"/>
                    <a:pt x="6283" y="13878"/>
                    <a:pt x="6363" y="13870"/>
                  </a:cubicBezTo>
                  <a:cubicBezTo>
                    <a:pt x="6376" y="13869"/>
                    <a:pt x="6388" y="13867"/>
                    <a:pt x="6400" y="13866"/>
                  </a:cubicBezTo>
                  <a:cubicBezTo>
                    <a:pt x="6396" y="13866"/>
                    <a:pt x="6396" y="13866"/>
                    <a:pt x="6396" y="13866"/>
                  </a:cubicBezTo>
                  <a:cubicBezTo>
                    <a:pt x="6396" y="13866"/>
                    <a:pt x="6396" y="13866"/>
                    <a:pt x="6396" y="13866"/>
                  </a:cubicBezTo>
                  <a:cubicBezTo>
                    <a:pt x="6710" y="10919"/>
                    <a:pt x="6710" y="10919"/>
                    <a:pt x="6710" y="10919"/>
                  </a:cubicBezTo>
                  <a:cubicBezTo>
                    <a:pt x="6119" y="10911"/>
                    <a:pt x="6119" y="10911"/>
                    <a:pt x="6119" y="10911"/>
                  </a:cubicBezTo>
                  <a:cubicBezTo>
                    <a:pt x="6118" y="10917"/>
                    <a:pt x="6118" y="10917"/>
                    <a:pt x="6118" y="10917"/>
                  </a:cubicBezTo>
                  <a:cubicBezTo>
                    <a:pt x="6020" y="11408"/>
                    <a:pt x="6020" y="11408"/>
                    <a:pt x="6020" y="11408"/>
                  </a:cubicBezTo>
                  <a:cubicBezTo>
                    <a:pt x="5942" y="11635"/>
                    <a:pt x="5942" y="11635"/>
                    <a:pt x="5942" y="11635"/>
                  </a:cubicBezTo>
                  <a:cubicBezTo>
                    <a:pt x="5685" y="13903"/>
                    <a:pt x="5685" y="13903"/>
                    <a:pt x="5685" y="13903"/>
                  </a:cubicBezTo>
                  <a:lnTo>
                    <a:pt x="5671" y="13962"/>
                  </a:lnTo>
                  <a:close/>
                  <a:moveTo>
                    <a:pt x="8568" y="10341"/>
                  </a:moveTo>
                  <a:cubicBezTo>
                    <a:pt x="8546" y="10324"/>
                    <a:pt x="8546" y="10324"/>
                    <a:pt x="8546" y="10324"/>
                  </a:cubicBezTo>
                  <a:cubicBezTo>
                    <a:pt x="8525" y="10311"/>
                    <a:pt x="8499" y="10293"/>
                    <a:pt x="8468" y="10273"/>
                  </a:cubicBezTo>
                  <a:cubicBezTo>
                    <a:pt x="8280" y="10150"/>
                    <a:pt x="7947" y="9926"/>
                    <a:pt x="7878" y="9880"/>
                  </a:cubicBezTo>
                  <a:cubicBezTo>
                    <a:pt x="7874" y="9891"/>
                    <a:pt x="7868" y="9909"/>
                    <a:pt x="7861" y="9931"/>
                  </a:cubicBezTo>
                  <a:cubicBezTo>
                    <a:pt x="7820" y="10063"/>
                    <a:pt x="7732" y="10367"/>
                    <a:pt x="7656" y="10638"/>
                  </a:cubicBezTo>
                  <a:cubicBezTo>
                    <a:pt x="7587" y="10881"/>
                    <a:pt x="7526" y="11096"/>
                    <a:pt x="7515" y="11138"/>
                  </a:cubicBezTo>
                  <a:cubicBezTo>
                    <a:pt x="7514" y="11144"/>
                    <a:pt x="7514" y="11144"/>
                    <a:pt x="7514" y="11144"/>
                  </a:cubicBezTo>
                  <a:cubicBezTo>
                    <a:pt x="7837" y="11300"/>
                    <a:pt x="8004" y="11387"/>
                    <a:pt x="8047" y="11409"/>
                  </a:cubicBezTo>
                  <a:lnTo>
                    <a:pt x="8568" y="10341"/>
                  </a:lnTo>
                  <a:close/>
                  <a:moveTo>
                    <a:pt x="9271" y="8897"/>
                  </a:moveTo>
                  <a:cubicBezTo>
                    <a:pt x="9128" y="8818"/>
                    <a:pt x="8866" y="8654"/>
                    <a:pt x="8734" y="8573"/>
                  </a:cubicBezTo>
                  <a:cubicBezTo>
                    <a:pt x="8723" y="8580"/>
                    <a:pt x="8723" y="8580"/>
                    <a:pt x="8723" y="8580"/>
                  </a:cubicBezTo>
                  <a:cubicBezTo>
                    <a:pt x="8677" y="8652"/>
                    <a:pt x="8497" y="8933"/>
                    <a:pt x="8315" y="9214"/>
                  </a:cubicBezTo>
                  <a:cubicBezTo>
                    <a:pt x="8209" y="9378"/>
                    <a:pt x="8103" y="9541"/>
                    <a:pt x="8023" y="9663"/>
                  </a:cubicBezTo>
                  <a:cubicBezTo>
                    <a:pt x="7982" y="9725"/>
                    <a:pt x="7948" y="9776"/>
                    <a:pt x="7924" y="9812"/>
                  </a:cubicBezTo>
                  <a:cubicBezTo>
                    <a:pt x="7912" y="9830"/>
                    <a:pt x="7902" y="9844"/>
                    <a:pt x="7895" y="9853"/>
                  </a:cubicBezTo>
                  <a:cubicBezTo>
                    <a:pt x="7894" y="9855"/>
                    <a:pt x="7893" y="9856"/>
                    <a:pt x="7892" y="9858"/>
                  </a:cubicBezTo>
                  <a:cubicBezTo>
                    <a:pt x="7935" y="9886"/>
                    <a:pt x="8087" y="9989"/>
                    <a:pt x="8241" y="10091"/>
                  </a:cubicBezTo>
                  <a:cubicBezTo>
                    <a:pt x="8332" y="10152"/>
                    <a:pt x="8423" y="10212"/>
                    <a:pt x="8492" y="10258"/>
                  </a:cubicBezTo>
                  <a:cubicBezTo>
                    <a:pt x="8520" y="10276"/>
                    <a:pt x="8543" y="10291"/>
                    <a:pt x="8562" y="10304"/>
                  </a:cubicBezTo>
                  <a:cubicBezTo>
                    <a:pt x="8570" y="10304"/>
                    <a:pt x="8578" y="10305"/>
                    <a:pt x="8585" y="10305"/>
                  </a:cubicBezTo>
                  <a:lnTo>
                    <a:pt x="9271" y="8897"/>
                  </a:lnTo>
                  <a:close/>
                  <a:moveTo>
                    <a:pt x="8682" y="8541"/>
                  </a:moveTo>
                  <a:cubicBezTo>
                    <a:pt x="8588" y="8485"/>
                    <a:pt x="8171" y="8175"/>
                    <a:pt x="8090" y="8114"/>
                  </a:cubicBezTo>
                  <a:cubicBezTo>
                    <a:pt x="8074" y="8116"/>
                    <a:pt x="8065" y="8116"/>
                    <a:pt x="8065" y="8116"/>
                  </a:cubicBezTo>
                  <a:cubicBezTo>
                    <a:pt x="8064" y="8116"/>
                    <a:pt x="8064" y="8116"/>
                    <a:pt x="8064" y="8116"/>
                  </a:cubicBezTo>
                  <a:cubicBezTo>
                    <a:pt x="8054" y="8130"/>
                    <a:pt x="8054" y="8130"/>
                    <a:pt x="8054" y="8130"/>
                  </a:cubicBezTo>
                  <a:cubicBezTo>
                    <a:pt x="7248" y="9717"/>
                    <a:pt x="7248" y="9717"/>
                    <a:pt x="7248" y="9717"/>
                  </a:cubicBezTo>
                  <a:cubicBezTo>
                    <a:pt x="6849" y="9994"/>
                    <a:pt x="6849" y="9994"/>
                    <a:pt x="6849" y="9994"/>
                  </a:cubicBezTo>
                  <a:cubicBezTo>
                    <a:pt x="6847" y="9990"/>
                    <a:pt x="6847" y="9990"/>
                    <a:pt x="6847" y="9990"/>
                  </a:cubicBezTo>
                  <a:cubicBezTo>
                    <a:pt x="6844" y="9999"/>
                    <a:pt x="6844" y="9999"/>
                    <a:pt x="6844" y="9999"/>
                  </a:cubicBezTo>
                  <a:cubicBezTo>
                    <a:pt x="6750" y="10885"/>
                    <a:pt x="6750" y="10885"/>
                    <a:pt x="6750" y="10885"/>
                  </a:cubicBezTo>
                  <a:cubicBezTo>
                    <a:pt x="6818" y="10897"/>
                    <a:pt x="7114" y="10952"/>
                    <a:pt x="7475" y="11125"/>
                  </a:cubicBezTo>
                  <a:cubicBezTo>
                    <a:pt x="7476" y="11126"/>
                    <a:pt x="7478" y="11127"/>
                    <a:pt x="7479" y="11128"/>
                  </a:cubicBezTo>
                  <a:cubicBezTo>
                    <a:pt x="7484" y="11124"/>
                    <a:pt x="7490" y="11120"/>
                    <a:pt x="7493" y="11118"/>
                  </a:cubicBezTo>
                  <a:cubicBezTo>
                    <a:pt x="7514" y="11043"/>
                    <a:pt x="7590" y="10771"/>
                    <a:pt x="7668" y="10498"/>
                  </a:cubicBezTo>
                  <a:cubicBezTo>
                    <a:pt x="7714" y="10338"/>
                    <a:pt x="7760" y="10177"/>
                    <a:pt x="7796" y="10057"/>
                  </a:cubicBezTo>
                  <a:cubicBezTo>
                    <a:pt x="7813" y="9997"/>
                    <a:pt x="7829" y="9947"/>
                    <a:pt x="7840" y="9912"/>
                  </a:cubicBezTo>
                  <a:cubicBezTo>
                    <a:pt x="7845" y="9894"/>
                    <a:pt x="7850" y="9880"/>
                    <a:pt x="7854" y="9870"/>
                  </a:cubicBezTo>
                  <a:cubicBezTo>
                    <a:pt x="7855" y="9865"/>
                    <a:pt x="7857" y="9862"/>
                    <a:pt x="7858" y="9859"/>
                  </a:cubicBezTo>
                  <a:cubicBezTo>
                    <a:pt x="7859" y="9857"/>
                    <a:pt x="7860" y="9856"/>
                    <a:pt x="7860" y="9854"/>
                  </a:cubicBezTo>
                  <a:cubicBezTo>
                    <a:pt x="7862" y="9854"/>
                    <a:pt x="7861" y="9851"/>
                    <a:pt x="7865" y="9850"/>
                  </a:cubicBezTo>
                  <a:cubicBezTo>
                    <a:pt x="7877" y="9836"/>
                    <a:pt x="7937" y="9747"/>
                    <a:pt x="8018" y="9623"/>
                  </a:cubicBezTo>
                  <a:cubicBezTo>
                    <a:pt x="8141" y="9435"/>
                    <a:pt x="8315" y="9166"/>
                    <a:pt x="8458" y="8944"/>
                  </a:cubicBezTo>
                  <a:cubicBezTo>
                    <a:pt x="8576" y="8761"/>
                    <a:pt x="8673" y="8610"/>
                    <a:pt x="8703" y="8563"/>
                  </a:cubicBezTo>
                  <a:cubicBezTo>
                    <a:pt x="8702" y="8554"/>
                    <a:pt x="8702" y="8554"/>
                    <a:pt x="8702" y="8554"/>
                  </a:cubicBezTo>
                  <a:cubicBezTo>
                    <a:pt x="8695" y="8549"/>
                    <a:pt x="8688" y="8545"/>
                    <a:pt x="8682" y="8541"/>
                  </a:cubicBezTo>
                  <a:close/>
                  <a:moveTo>
                    <a:pt x="6511" y="8148"/>
                  </a:moveTo>
                  <a:cubicBezTo>
                    <a:pt x="6503" y="8171"/>
                    <a:pt x="6495" y="8193"/>
                    <a:pt x="6484" y="8214"/>
                  </a:cubicBezTo>
                  <a:cubicBezTo>
                    <a:pt x="6463" y="8258"/>
                    <a:pt x="6430" y="8303"/>
                    <a:pt x="6377" y="8326"/>
                  </a:cubicBezTo>
                  <a:cubicBezTo>
                    <a:pt x="6349" y="8338"/>
                    <a:pt x="6322" y="8342"/>
                    <a:pt x="6288" y="8346"/>
                  </a:cubicBezTo>
                  <a:cubicBezTo>
                    <a:pt x="6255" y="8349"/>
                    <a:pt x="6217" y="8350"/>
                    <a:pt x="6174" y="8350"/>
                  </a:cubicBezTo>
                  <a:cubicBezTo>
                    <a:pt x="5967" y="8350"/>
                    <a:pt x="5645" y="8320"/>
                    <a:pt x="5393" y="8299"/>
                  </a:cubicBezTo>
                  <a:cubicBezTo>
                    <a:pt x="5409" y="8383"/>
                    <a:pt x="5441" y="8553"/>
                    <a:pt x="5452" y="8639"/>
                  </a:cubicBezTo>
                  <a:cubicBezTo>
                    <a:pt x="5457" y="8683"/>
                    <a:pt x="5461" y="8724"/>
                    <a:pt x="5461" y="8763"/>
                  </a:cubicBezTo>
                  <a:cubicBezTo>
                    <a:pt x="5461" y="8829"/>
                    <a:pt x="5449" y="8887"/>
                    <a:pt x="5410" y="8931"/>
                  </a:cubicBezTo>
                  <a:cubicBezTo>
                    <a:pt x="5381" y="8961"/>
                    <a:pt x="5331" y="9021"/>
                    <a:pt x="5259" y="9078"/>
                  </a:cubicBezTo>
                  <a:cubicBezTo>
                    <a:pt x="5274" y="9096"/>
                    <a:pt x="5307" y="9136"/>
                    <a:pt x="5316" y="9170"/>
                  </a:cubicBezTo>
                  <a:cubicBezTo>
                    <a:pt x="5320" y="9186"/>
                    <a:pt x="5344" y="9236"/>
                    <a:pt x="5369" y="9295"/>
                  </a:cubicBezTo>
                  <a:cubicBezTo>
                    <a:pt x="5393" y="9355"/>
                    <a:pt x="5418" y="9426"/>
                    <a:pt x="5423" y="9492"/>
                  </a:cubicBezTo>
                  <a:cubicBezTo>
                    <a:pt x="5424" y="9505"/>
                    <a:pt x="5424" y="9521"/>
                    <a:pt x="5424" y="9539"/>
                  </a:cubicBezTo>
                  <a:cubicBezTo>
                    <a:pt x="5424" y="9675"/>
                    <a:pt x="5401" y="9943"/>
                    <a:pt x="5392" y="10036"/>
                  </a:cubicBezTo>
                  <a:cubicBezTo>
                    <a:pt x="5397" y="10054"/>
                    <a:pt x="5397" y="10054"/>
                    <a:pt x="5397" y="10054"/>
                  </a:cubicBezTo>
                  <a:cubicBezTo>
                    <a:pt x="5619" y="10025"/>
                    <a:pt x="5824" y="10009"/>
                    <a:pt x="5979" y="10001"/>
                  </a:cubicBezTo>
                  <a:cubicBezTo>
                    <a:pt x="6626" y="8174"/>
                    <a:pt x="6626" y="8174"/>
                    <a:pt x="6626" y="8174"/>
                  </a:cubicBezTo>
                  <a:cubicBezTo>
                    <a:pt x="6623" y="8173"/>
                    <a:pt x="6623" y="8173"/>
                    <a:pt x="6623" y="8173"/>
                  </a:cubicBezTo>
                  <a:cubicBezTo>
                    <a:pt x="6628" y="8154"/>
                    <a:pt x="6628" y="8154"/>
                    <a:pt x="6628" y="8154"/>
                  </a:cubicBezTo>
                  <a:cubicBezTo>
                    <a:pt x="6626" y="8154"/>
                    <a:pt x="6625" y="8154"/>
                    <a:pt x="6623" y="8154"/>
                  </a:cubicBezTo>
                  <a:cubicBezTo>
                    <a:pt x="6610" y="8154"/>
                    <a:pt x="6598" y="8154"/>
                    <a:pt x="6586" y="8153"/>
                  </a:cubicBezTo>
                  <a:cubicBezTo>
                    <a:pt x="6580" y="8153"/>
                    <a:pt x="6553" y="8151"/>
                    <a:pt x="6511" y="8148"/>
                  </a:cubicBezTo>
                  <a:close/>
                  <a:moveTo>
                    <a:pt x="6366" y="8138"/>
                  </a:moveTo>
                  <a:cubicBezTo>
                    <a:pt x="5978" y="8110"/>
                    <a:pt x="5207" y="8055"/>
                    <a:pt x="5121" y="8049"/>
                  </a:cubicBezTo>
                  <a:cubicBezTo>
                    <a:pt x="5072" y="8059"/>
                    <a:pt x="4814" y="8112"/>
                    <a:pt x="4606" y="8144"/>
                  </a:cubicBezTo>
                  <a:cubicBezTo>
                    <a:pt x="4697" y="8139"/>
                    <a:pt x="4786" y="8137"/>
                    <a:pt x="4868" y="8137"/>
                  </a:cubicBezTo>
                  <a:cubicBezTo>
                    <a:pt x="4979" y="8137"/>
                    <a:pt x="5079" y="8140"/>
                    <a:pt x="5158" y="8144"/>
                  </a:cubicBezTo>
                  <a:cubicBezTo>
                    <a:pt x="5406" y="8155"/>
                    <a:pt x="5906" y="8211"/>
                    <a:pt x="6174" y="8211"/>
                  </a:cubicBezTo>
                  <a:cubicBezTo>
                    <a:pt x="6214" y="8211"/>
                    <a:pt x="6249" y="8209"/>
                    <a:pt x="6275" y="8207"/>
                  </a:cubicBezTo>
                  <a:cubicBezTo>
                    <a:pt x="6301" y="8205"/>
                    <a:pt x="6320" y="8200"/>
                    <a:pt x="6321" y="8199"/>
                  </a:cubicBezTo>
                  <a:cubicBezTo>
                    <a:pt x="6332" y="8194"/>
                    <a:pt x="6345" y="8182"/>
                    <a:pt x="6359" y="8153"/>
                  </a:cubicBezTo>
                  <a:cubicBezTo>
                    <a:pt x="6361" y="8148"/>
                    <a:pt x="6364" y="8143"/>
                    <a:pt x="6366" y="8138"/>
                  </a:cubicBezTo>
                  <a:close/>
                  <a:moveTo>
                    <a:pt x="4197" y="9277"/>
                  </a:moveTo>
                  <a:cubicBezTo>
                    <a:pt x="4623" y="10205"/>
                    <a:pt x="4623" y="10205"/>
                    <a:pt x="4623" y="10205"/>
                  </a:cubicBezTo>
                  <a:cubicBezTo>
                    <a:pt x="4697" y="10186"/>
                    <a:pt x="4770" y="10168"/>
                    <a:pt x="4839" y="10152"/>
                  </a:cubicBezTo>
                  <a:cubicBezTo>
                    <a:pt x="5008" y="10112"/>
                    <a:pt x="5185" y="10082"/>
                    <a:pt x="5353" y="10060"/>
                  </a:cubicBezTo>
                  <a:cubicBezTo>
                    <a:pt x="5365" y="10042"/>
                    <a:pt x="5365" y="10042"/>
                    <a:pt x="5365" y="10042"/>
                  </a:cubicBezTo>
                  <a:cubicBezTo>
                    <a:pt x="5373" y="9958"/>
                    <a:pt x="5398" y="9677"/>
                    <a:pt x="5398" y="9539"/>
                  </a:cubicBezTo>
                  <a:cubicBezTo>
                    <a:pt x="5398" y="9521"/>
                    <a:pt x="5397" y="9506"/>
                    <a:pt x="5397" y="9494"/>
                  </a:cubicBezTo>
                  <a:cubicBezTo>
                    <a:pt x="5392" y="9433"/>
                    <a:pt x="5368" y="9364"/>
                    <a:pt x="5344" y="9305"/>
                  </a:cubicBezTo>
                  <a:cubicBezTo>
                    <a:pt x="5320" y="9246"/>
                    <a:pt x="5297" y="9199"/>
                    <a:pt x="5291" y="9176"/>
                  </a:cubicBezTo>
                  <a:cubicBezTo>
                    <a:pt x="5287" y="9161"/>
                    <a:pt x="5272" y="9137"/>
                    <a:pt x="5258" y="9118"/>
                  </a:cubicBezTo>
                  <a:cubicBezTo>
                    <a:pt x="5250" y="9108"/>
                    <a:pt x="5243" y="9099"/>
                    <a:pt x="5237" y="9093"/>
                  </a:cubicBezTo>
                  <a:cubicBezTo>
                    <a:pt x="5166" y="9145"/>
                    <a:pt x="5075" y="9192"/>
                    <a:pt x="4962" y="9210"/>
                  </a:cubicBezTo>
                  <a:cubicBezTo>
                    <a:pt x="4752" y="9244"/>
                    <a:pt x="4323" y="9270"/>
                    <a:pt x="4197" y="9277"/>
                  </a:cubicBezTo>
                  <a:close/>
                  <a:moveTo>
                    <a:pt x="3774" y="10487"/>
                  </a:moveTo>
                  <a:cubicBezTo>
                    <a:pt x="3608" y="10538"/>
                    <a:pt x="3463" y="10585"/>
                    <a:pt x="3359" y="10619"/>
                  </a:cubicBezTo>
                  <a:cubicBezTo>
                    <a:pt x="3307" y="10636"/>
                    <a:pt x="3265" y="10651"/>
                    <a:pt x="3236" y="10661"/>
                  </a:cubicBezTo>
                  <a:cubicBezTo>
                    <a:pt x="3226" y="10664"/>
                    <a:pt x="3218" y="10667"/>
                    <a:pt x="3211" y="10670"/>
                  </a:cubicBezTo>
                  <a:cubicBezTo>
                    <a:pt x="3443" y="10977"/>
                    <a:pt x="3443" y="10977"/>
                    <a:pt x="3443" y="10977"/>
                  </a:cubicBezTo>
                  <a:cubicBezTo>
                    <a:pt x="3444" y="10976"/>
                    <a:pt x="3444" y="10976"/>
                    <a:pt x="3444" y="10976"/>
                  </a:cubicBezTo>
                  <a:cubicBezTo>
                    <a:pt x="3594" y="11172"/>
                    <a:pt x="3594" y="11172"/>
                    <a:pt x="3594" y="11172"/>
                  </a:cubicBezTo>
                  <a:cubicBezTo>
                    <a:pt x="3609" y="11169"/>
                    <a:pt x="3609" y="11169"/>
                    <a:pt x="3609" y="11169"/>
                  </a:cubicBezTo>
                  <a:cubicBezTo>
                    <a:pt x="3609" y="11169"/>
                    <a:pt x="3609" y="11169"/>
                    <a:pt x="3609" y="11169"/>
                  </a:cubicBezTo>
                  <a:cubicBezTo>
                    <a:pt x="3938" y="11061"/>
                    <a:pt x="3938" y="11061"/>
                    <a:pt x="3938" y="11061"/>
                  </a:cubicBezTo>
                  <a:cubicBezTo>
                    <a:pt x="3938" y="11061"/>
                    <a:pt x="3938" y="11061"/>
                    <a:pt x="3938" y="11061"/>
                  </a:cubicBezTo>
                  <a:cubicBezTo>
                    <a:pt x="4134" y="11003"/>
                    <a:pt x="4134" y="11003"/>
                    <a:pt x="4134" y="11003"/>
                  </a:cubicBezTo>
                  <a:cubicBezTo>
                    <a:pt x="4535" y="11078"/>
                    <a:pt x="4535" y="11078"/>
                    <a:pt x="4535" y="11078"/>
                  </a:cubicBezTo>
                  <a:cubicBezTo>
                    <a:pt x="4543" y="11079"/>
                    <a:pt x="4543" y="11079"/>
                    <a:pt x="4543" y="11079"/>
                  </a:cubicBezTo>
                  <a:cubicBezTo>
                    <a:pt x="4550" y="11064"/>
                    <a:pt x="4560" y="11052"/>
                    <a:pt x="4570" y="11042"/>
                  </a:cubicBezTo>
                  <a:cubicBezTo>
                    <a:pt x="4590" y="11023"/>
                    <a:pt x="4612" y="11013"/>
                    <a:pt x="4626" y="11007"/>
                  </a:cubicBezTo>
                  <a:cubicBezTo>
                    <a:pt x="4639" y="11003"/>
                    <a:pt x="4668" y="10997"/>
                    <a:pt x="4709" y="10990"/>
                  </a:cubicBezTo>
                  <a:cubicBezTo>
                    <a:pt x="4819" y="10971"/>
                    <a:pt x="5001" y="10943"/>
                    <a:pt x="5039" y="10937"/>
                  </a:cubicBezTo>
                  <a:cubicBezTo>
                    <a:pt x="4997" y="10591"/>
                    <a:pt x="4954" y="10216"/>
                    <a:pt x="4948" y="10165"/>
                  </a:cubicBezTo>
                  <a:cubicBezTo>
                    <a:pt x="4914" y="10172"/>
                    <a:pt x="4880" y="10179"/>
                    <a:pt x="4847" y="10187"/>
                  </a:cubicBezTo>
                  <a:cubicBezTo>
                    <a:pt x="4520" y="10263"/>
                    <a:pt x="4106" y="10384"/>
                    <a:pt x="3774" y="10487"/>
                  </a:cubicBezTo>
                  <a:close/>
                  <a:moveTo>
                    <a:pt x="8707" y="13697"/>
                  </a:moveTo>
                  <a:cubicBezTo>
                    <a:pt x="9364" y="12273"/>
                    <a:pt x="9364" y="12273"/>
                    <a:pt x="9364" y="12273"/>
                  </a:cubicBezTo>
                  <a:cubicBezTo>
                    <a:pt x="9422" y="12151"/>
                    <a:pt x="9422" y="12151"/>
                    <a:pt x="9422" y="12151"/>
                  </a:cubicBezTo>
                  <a:cubicBezTo>
                    <a:pt x="8064" y="11458"/>
                    <a:pt x="8064" y="11458"/>
                    <a:pt x="8064" y="11458"/>
                  </a:cubicBezTo>
                  <a:cubicBezTo>
                    <a:pt x="7375" y="12873"/>
                    <a:pt x="7375" y="12873"/>
                    <a:pt x="7375" y="12873"/>
                  </a:cubicBezTo>
                  <a:cubicBezTo>
                    <a:pt x="7330" y="13431"/>
                    <a:pt x="7330" y="13431"/>
                    <a:pt x="7330" y="13431"/>
                  </a:cubicBezTo>
                  <a:cubicBezTo>
                    <a:pt x="7330" y="13436"/>
                    <a:pt x="7330" y="13470"/>
                    <a:pt x="7334" y="13523"/>
                  </a:cubicBezTo>
                  <a:cubicBezTo>
                    <a:pt x="7338" y="13581"/>
                    <a:pt x="7347" y="13661"/>
                    <a:pt x="7364" y="13750"/>
                  </a:cubicBezTo>
                  <a:cubicBezTo>
                    <a:pt x="7331" y="13756"/>
                    <a:pt x="7331" y="13756"/>
                    <a:pt x="7331" y="13756"/>
                  </a:cubicBezTo>
                  <a:cubicBezTo>
                    <a:pt x="7339" y="13756"/>
                    <a:pt x="7344" y="13756"/>
                    <a:pt x="7344" y="13756"/>
                  </a:cubicBezTo>
                  <a:cubicBezTo>
                    <a:pt x="8669" y="13703"/>
                    <a:pt x="8669" y="13703"/>
                    <a:pt x="8669" y="13703"/>
                  </a:cubicBezTo>
                  <a:lnTo>
                    <a:pt x="8707" y="13697"/>
                  </a:lnTo>
                  <a:close/>
                  <a:moveTo>
                    <a:pt x="9437" y="12119"/>
                  </a:moveTo>
                  <a:cubicBezTo>
                    <a:pt x="10639" y="9572"/>
                    <a:pt x="10639" y="9572"/>
                    <a:pt x="10639" y="9572"/>
                  </a:cubicBezTo>
                  <a:cubicBezTo>
                    <a:pt x="10642" y="9569"/>
                    <a:pt x="10642" y="9569"/>
                    <a:pt x="10642" y="9569"/>
                  </a:cubicBezTo>
                  <a:cubicBezTo>
                    <a:pt x="10642" y="9569"/>
                    <a:pt x="10642" y="9569"/>
                    <a:pt x="10642" y="9569"/>
                  </a:cubicBezTo>
                  <a:cubicBezTo>
                    <a:pt x="10610" y="9554"/>
                    <a:pt x="10513" y="9509"/>
                    <a:pt x="10404" y="9458"/>
                  </a:cubicBezTo>
                  <a:cubicBezTo>
                    <a:pt x="10268" y="9395"/>
                    <a:pt x="10112" y="9324"/>
                    <a:pt x="10031" y="9289"/>
                  </a:cubicBezTo>
                  <a:cubicBezTo>
                    <a:pt x="9871" y="9221"/>
                    <a:pt x="9473" y="9005"/>
                    <a:pt x="9303" y="8914"/>
                  </a:cubicBezTo>
                  <a:cubicBezTo>
                    <a:pt x="8603" y="10351"/>
                    <a:pt x="8603" y="10351"/>
                    <a:pt x="8603" y="10351"/>
                  </a:cubicBezTo>
                  <a:cubicBezTo>
                    <a:pt x="8603" y="10357"/>
                    <a:pt x="8603" y="10357"/>
                    <a:pt x="8603" y="10357"/>
                  </a:cubicBezTo>
                  <a:cubicBezTo>
                    <a:pt x="8602" y="10357"/>
                    <a:pt x="8601" y="10357"/>
                    <a:pt x="8600" y="10357"/>
                  </a:cubicBezTo>
                  <a:cubicBezTo>
                    <a:pt x="8079" y="11426"/>
                    <a:pt x="8079" y="11426"/>
                    <a:pt x="8079" y="11426"/>
                  </a:cubicBezTo>
                  <a:lnTo>
                    <a:pt x="9437" y="12119"/>
                  </a:lnTo>
                  <a:close/>
                  <a:moveTo>
                    <a:pt x="10797" y="9430"/>
                  </a:moveTo>
                  <a:cubicBezTo>
                    <a:pt x="10883" y="9350"/>
                    <a:pt x="10988" y="9252"/>
                    <a:pt x="11061" y="9175"/>
                  </a:cubicBezTo>
                  <a:cubicBezTo>
                    <a:pt x="11161" y="9070"/>
                    <a:pt x="11189" y="8900"/>
                    <a:pt x="11196" y="8812"/>
                  </a:cubicBezTo>
                  <a:cubicBezTo>
                    <a:pt x="11197" y="8812"/>
                    <a:pt x="11196" y="8812"/>
                    <a:pt x="11196" y="8812"/>
                  </a:cubicBezTo>
                  <a:cubicBezTo>
                    <a:pt x="11196" y="8812"/>
                    <a:pt x="11196" y="8812"/>
                    <a:pt x="11196" y="8812"/>
                  </a:cubicBezTo>
                  <a:cubicBezTo>
                    <a:pt x="11197" y="8805"/>
                    <a:pt x="11198" y="8798"/>
                    <a:pt x="11198" y="8792"/>
                  </a:cubicBezTo>
                  <a:cubicBezTo>
                    <a:pt x="11198" y="8788"/>
                    <a:pt x="11198" y="8784"/>
                    <a:pt x="11197" y="8780"/>
                  </a:cubicBezTo>
                  <a:cubicBezTo>
                    <a:pt x="11127" y="8768"/>
                    <a:pt x="10717" y="8693"/>
                    <a:pt x="10254" y="8540"/>
                  </a:cubicBezTo>
                  <a:cubicBezTo>
                    <a:pt x="9746" y="8373"/>
                    <a:pt x="9139" y="8099"/>
                    <a:pt x="8977" y="8028"/>
                  </a:cubicBezTo>
                  <a:cubicBezTo>
                    <a:pt x="8896" y="7993"/>
                    <a:pt x="8818" y="7943"/>
                    <a:pt x="8752" y="7885"/>
                  </a:cubicBezTo>
                  <a:cubicBezTo>
                    <a:pt x="8727" y="7906"/>
                    <a:pt x="8691" y="7934"/>
                    <a:pt x="8648" y="7963"/>
                  </a:cubicBezTo>
                  <a:cubicBezTo>
                    <a:pt x="8588" y="8004"/>
                    <a:pt x="8516" y="8045"/>
                    <a:pt x="8439" y="8063"/>
                  </a:cubicBezTo>
                  <a:cubicBezTo>
                    <a:pt x="8349" y="8084"/>
                    <a:pt x="8237" y="8098"/>
                    <a:pt x="8159" y="8107"/>
                  </a:cubicBezTo>
                  <a:cubicBezTo>
                    <a:pt x="8166" y="8126"/>
                    <a:pt x="8166" y="8126"/>
                    <a:pt x="8166" y="8126"/>
                  </a:cubicBezTo>
                  <a:cubicBezTo>
                    <a:pt x="8215" y="8162"/>
                    <a:pt x="8287" y="8215"/>
                    <a:pt x="8362" y="8270"/>
                  </a:cubicBezTo>
                  <a:cubicBezTo>
                    <a:pt x="8500" y="8371"/>
                    <a:pt x="8651" y="8481"/>
                    <a:pt x="8700" y="8511"/>
                  </a:cubicBezTo>
                  <a:cubicBezTo>
                    <a:pt x="8803" y="8572"/>
                    <a:pt x="9146" y="8788"/>
                    <a:pt x="9304" y="8873"/>
                  </a:cubicBezTo>
                  <a:cubicBezTo>
                    <a:pt x="9463" y="8959"/>
                    <a:pt x="9884" y="9188"/>
                    <a:pt x="10045" y="9256"/>
                  </a:cubicBezTo>
                  <a:cubicBezTo>
                    <a:pt x="10209" y="9326"/>
                    <a:pt x="10670" y="9542"/>
                    <a:pt x="10670" y="9542"/>
                  </a:cubicBezTo>
                  <a:cubicBezTo>
                    <a:pt x="10671" y="9543"/>
                    <a:pt x="10671" y="9543"/>
                    <a:pt x="10671" y="9543"/>
                  </a:cubicBezTo>
                  <a:cubicBezTo>
                    <a:pt x="10672" y="9543"/>
                    <a:pt x="10672" y="9543"/>
                    <a:pt x="10672" y="9543"/>
                  </a:cubicBezTo>
                  <a:cubicBezTo>
                    <a:pt x="10700" y="9518"/>
                    <a:pt x="10745" y="9478"/>
                    <a:pt x="10797" y="9430"/>
                  </a:cubicBezTo>
                  <a:close/>
                  <a:moveTo>
                    <a:pt x="11927" y="6932"/>
                  </a:moveTo>
                  <a:cubicBezTo>
                    <a:pt x="11949" y="6873"/>
                    <a:pt x="11965" y="6816"/>
                    <a:pt x="11975" y="6773"/>
                  </a:cubicBezTo>
                  <a:cubicBezTo>
                    <a:pt x="11984" y="6731"/>
                    <a:pt x="11988" y="6703"/>
                    <a:pt x="11988" y="6703"/>
                  </a:cubicBezTo>
                  <a:cubicBezTo>
                    <a:pt x="12262" y="4824"/>
                    <a:pt x="12262" y="4824"/>
                    <a:pt x="12262" y="4824"/>
                  </a:cubicBezTo>
                  <a:cubicBezTo>
                    <a:pt x="12262" y="4813"/>
                    <a:pt x="12258" y="4755"/>
                    <a:pt x="12258" y="4729"/>
                  </a:cubicBezTo>
                  <a:cubicBezTo>
                    <a:pt x="12258" y="4726"/>
                    <a:pt x="12258" y="4723"/>
                    <a:pt x="12258" y="4720"/>
                  </a:cubicBezTo>
                  <a:cubicBezTo>
                    <a:pt x="12259" y="4719"/>
                    <a:pt x="12259" y="4718"/>
                    <a:pt x="12259" y="4717"/>
                  </a:cubicBezTo>
                  <a:cubicBezTo>
                    <a:pt x="12240" y="4611"/>
                    <a:pt x="12190" y="4562"/>
                    <a:pt x="12135" y="4535"/>
                  </a:cubicBezTo>
                  <a:cubicBezTo>
                    <a:pt x="12080" y="4507"/>
                    <a:pt x="12018" y="4506"/>
                    <a:pt x="11979" y="4506"/>
                  </a:cubicBezTo>
                  <a:cubicBezTo>
                    <a:pt x="11938" y="4506"/>
                    <a:pt x="11833" y="4519"/>
                    <a:pt x="11702" y="4519"/>
                  </a:cubicBezTo>
                  <a:cubicBezTo>
                    <a:pt x="11590" y="4519"/>
                    <a:pt x="11458" y="4510"/>
                    <a:pt x="11325" y="4475"/>
                  </a:cubicBezTo>
                  <a:cubicBezTo>
                    <a:pt x="11173" y="4434"/>
                    <a:pt x="11065" y="4274"/>
                    <a:pt x="10989" y="4119"/>
                  </a:cubicBezTo>
                  <a:cubicBezTo>
                    <a:pt x="10914" y="3963"/>
                    <a:pt x="10871" y="3808"/>
                    <a:pt x="10860" y="3773"/>
                  </a:cubicBezTo>
                  <a:cubicBezTo>
                    <a:pt x="10858" y="3769"/>
                    <a:pt x="10856" y="3761"/>
                    <a:pt x="10853" y="3750"/>
                  </a:cubicBezTo>
                  <a:cubicBezTo>
                    <a:pt x="8042" y="4561"/>
                    <a:pt x="8042" y="4561"/>
                    <a:pt x="8042" y="4561"/>
                  </a:cubicBezTo>
                  <a:cubicBezTo>
                    <a:pt x="8020" y="4576"/>
                    <a:pt x="8020" y="4576"/>
                    <a:pt x="8020" y="4576"/>
                  </a:cubicBezTo>
                  <a:cubicBezTo>
                    <a:pt x="8335" y="5116"/>
                    <a:pt x="8335" y="5116"/>
                    <a:pt x="8335" y="5116"/>
                  </a:cubicBezTo>
                  <a:cubicBezTo>
                    <a:pt x="8336" y="5117"/>
                    <a:pt x="8336" y="5117"/>
                    <a:pt x="8336" y="5117"/>
                  </a:cubicBezTo>
                  <a:cubicBezTo>
                    <a:pt x="8455" y="5345"/>
                    <a:pt x="8634" y="5803"/>
                    <a:pt x="8654" y="6142"/>
                  </a:cubicBezTo>
                  <a:cubicBezTo>
                    <a:pt x="8660" y="6249"/>
                    <a:pt x="8662" y="6386"/>
                    <a:pt x="8662" y="6528"/>
                  </a:cubicBezTo>
                  <a:cubicBezTo>
                    <a:pt x="8662" y="6822"/>
                    <a:pt x="8653" y="7133"/>
                    <a:pt x="8649" y="7220"/>
                  </a:cubicBezTo>
                  <a:cubicBezTo>
                    <a:pt x="8646" y="7272"/>
                    <a:pt x="8642" y="7328"/>
                    <a:pt x="8642" y="7384"/>
                  </a:cubicBezTo>
                  <a:cubicBezTo>
                    <a:pt x="8642" y="7466"/>
                    <a:pt x="8651" y="7548"/>
                    <a:pt x="8681" y="7615"/>
                  </a:cubicBezTo>
                  <a:cubicBezTo>
                    <a:pt x="8729" y="7728"/>
                    <a:pt x="8872" y="7859"/>
                    <a:pt x="9023" y="7923"/>
                  </a:cubicBezTo>
                  <a:cubicBezTo>
                    <a:pt x="9178" y="7991"/>
                    <a:pt x="9735" y="8242"/>
                    <a:pt x="10219" y="8408"/>
                  </a:cubicBezTo>
                  <a:cubicBezTo>
                    <a:pt x="10224" y="8402"/>
                    <a:pt x="10230" y="8394"/>
                    <a:pt x="10235" y="8386"/>
                  </a:cubicBezTo>
                  <a:cubicBezTo>
                    <a:pt x="10680" y="7128"/>
                    <a:pt x="10680" y="7128"/>
                    <a:pt x="10680" y="7128"/>
                  </a:cubicBezTo>
                  <a:cubicBezTo>
                    <a:pt x="10664" y="7118"/>
                    <a:pt x="10645" y="7107"/>
                    <a:pt x="10624" y="7094"/>
                  </a:cubicBezTo>
                  <a:cubicBezTo>
                    <a:pt x="10524" y="7034"/>
                    <a:pt x="10379" y="6948"/>
                    <a:pt x="10259" y="6877"/>
                  </a:cubicBezTo>
                  <a:cubicBezTo>
                    <a:pt x="10199" y="6842"/>
                    <a:pt x="10144" y="6810"/>
                    <a:pt x="10105" y="6787"/>
                  </a:cubicBezTo>
                  <a:cubicBezTo>
                    <a:pt x="10085" y="6775"/>
                    <a:pt x="10068" y="6766"/>
                    <a:pt x="10057" y="6760"/>
                  </a:cubicBezTo>
                  <a:cubicBezTo>
                    <a:pt x="10051" y="6756"/>
                    <a:pt x="10047" y="6754"/>
                    <a:pt x="10043" y="6752"/>
                  </a:cubicBezTo>
                  <a:cubicBezTo>
                    <a:pt x="10042" y="6751"/>
                    <a:pt x="10041" y="6751"/>
                    <a:pt x="10040" y="6750"/>
                  </a:cubicBezTo>
                  <a:cubicBezTo>
                    <a:pt x="10040" y="6750"/>
                    <a:pt x="10039" y="6750"/>
                    <a:pt x="10039" y="6750"/>
                  </a:cubicBezTo>
                  <a:cubicBezTo>
                    <a:pt x="10040" y="6750"/>
                    <a:pt x="10040" y="6750"/>
                    <a:pt x="10040" y="6750"/>
                  </a:cubicBezTo>
                  <a:cubicBezTo>
                    <a:pt x="10029" y="6746"/>
                    <a:pt x="10024" y="6740"/>
                    <a:pt x="10016" y="6730"/>
                  </a:cubicBezTo>
                  <a:cubicBezTo>
                    <a:pt x="9994" y="6699"/>
                    <a:pt x="9966" y="6631"/>
                    <a:pt x="9966" y="6504"/>
                  </a:cubicBezTo>
                  <a:cubicBezTo>
                    <a:pt x="9966" y="6494"/>
                    <a:pt x="9966" y="6483"/>
                    <a:pt x="9966" y="6472"/>
                  </a:cubicBezTo>
                  <a:cubicBezTo>
                    <a:pt x="9971" y="6337"/>
                    <a:pt x="9995" y="6022"/>
                    <a:pt x="9995" y="5766"/>
                  </a:cubicBezTo>
                  <a:cubicBezTo>
                    <a:pt x="9995" y="5660"/>
                    <a:pt x="9991" y="5565"/>
                    <a:pt x="9980" y="5497"/>
                  </a:cubicBezTo>
                  <a:cubicBezTo>
                    <a:pt x="9962" y="5379"/>
                    <a:pt x="9874" y="5030"/>
                    <a:pt x="9791" y="4712"/>
                  </a:cubicBezTo>
                  <a:cubicBezTo>
                    <a:pt x="9708" y="4393"/>
                    <a:pt x="9630" y="4106"/>
                    <a:pt x="9630" y="4105"/>
                  </a:cubicBezTo>
                  <a:cubicBezTo>
                    <a:pt x="9665" y="4096"/>
                    <a:pt x="9665" y="4096"/>
                    <a:pt x="9665" y="4096"/>
                  </a:cubicBezTo>
                  <a:cubicBezTo>
                    <a:pt x="9665" y="4096"/>
                    <a:pt x="9977" y="5248"/>
                    <a:pt x="10016" y="5491"/>
                  </a:cubicBezTo>
                  <a:cubicBezTo>
                    <a:pt x="10027" y="5563"/>
                    <a:pt x="10031" y="5659"/>
                    <a:pt x="10031" y="5766"/>
                  </a:cubicBezTo>
                  <a:cubicBezTo>
                    <a:pt x="10031" y="6024"/>
                    <a:pt x="10007" y="6340"/>
                    <a:pt x="10002" y="6473"/>
                  </a:cubicBezTo>
                  <a:cubicBezTo>
                    <a:pt x="10002" y="6484"/>
                    <a:pt x="10002" y="6494"/>
                    <a:pt x="10002" y="6504"/>
                  </a:cubicBezTo>
                  <a:cubicBezTo>
                    <a:pt x="10002" y="6585"/>
                    <a:pt x="10014" y="6639"/>
                    <a:pt x="10027" y="6673"/>
                  </a:cubicBezTo>
                  <a:cubicBezTo>
                    <a:pt x="10033" y="6690"/>
                    <a:pt x="10040" y="6701"/>
                    <a:pt x="10045" y="6709"/>
                  </a:cubicBezTo>
                  <a:cubicBezTo>
                    <a:pt x="10048" y="6712"/>
                    <a:pt x="10050" y="6715"/>
                    <a:pt x="10052" y="6716"/>
                  </a:cubicBezTo>
                  <a:cubicBezTo>
                    <a:pt x="10052" y="6716"/>
                    <a:pt x="10052" y="6716"/>
                    <a:pt x="10052" y="6716"/>
                  </a:cubicBezTo>
                  <a:cubicBezTo>
                    <a:pt x="10055" y="6717"/>
                    <a:pt x="10055" y="6718"/>
                    <a:pt x="10057" y="6719"/>
                  </a:cubicBezTo>
                  <a:cubicBezTo>
                    <a:pt x="10086" y="6733"/>
                    <a:pt x="10262" y="6836"/>
                    <a:pt x="10432" y="6938"/>
                  </a:cubicBezTo>
                  <a:cubicBezTo>
                    <a:pt x="10517" y="6988"/>
                    <a:pt x="10601" y="7038"/>
                    <a:pt x="10663" y="7076"/>
                  </a:cubicBezTo>
                  <a:cubicBezTo>
                    <a:pt x="10694" y="7094"/>
                    <a:pt x="10720" y="7110"/>
                    <a:pt x="10738" y="7121"/>
                  </a:cubicBezTo>
                  <a:cubicBezTo>
                    <a:pt x="10747" y="7127"/>
                    <a:pt x="10754" y="7132"/>
                    <a:pt x="10759" y="7135"/>
                  </a:cubicBezTo>
                  <a:cubicBezTo>
                    <a:pt x="10761" y="7136"/>
                    <a:pt x="10762" y="7137"/>
                    <a:pt x="10764" y="7138"/>
                  </a:cubicBezTo>
                  <a:cubicBezTo>
                    <a:pt x="10825" y="7143"/>
                    <a:pt x="11361" y="7182"/>
                    <a:pt x="11362" y="7182"/>
                  </a:cubicBezTo>
                  <a:cubicBezTo>
                    <a:pt x="11362" y="7182"/>
                    <a:pt x="11548" y="7192"/>
                    <a:pt x="11646" y="7192"/>
                  </a:cubicBezTo>
                  <a:cubicBezTo>
                    <a:pt x="11661" y="7192"/>
                    <a:pt x="11673" y="7192"/>
                    <a:pt x="11683" y="7191"/>
                  </a:cubicBezTo>
                  <a:cubicBezTo>
                    <a:pt x="11688" y="7191"/>
                    <a:pt x="11691" y="7191"/>
                    <a:pt x="11694" y="7191"/>
                  </a:cubicBezTo>
                  <a:cubicBezTo>
                    <a:pt x="11696" y="7190"/>
                    <a:pt x="11697" y="7190"/>
                    <a:pt x="11697" y="7190"/>
                  </a:cubicBezTo>
                  <a:cubicBezTo>
                    <a:pt x="11698" y="7190"/>
                    <a:pt x="11698" y="7190"/>
                    <a:pt x="11698" y="7190"/>
                  </a:cubicBezTo>
                  <a:cubicBezTo>
                    <a:pt x="11699" y="7190"/>
                    <a:pt x="11699" y="7190"/>
                    <a:pt x="11699" y="7190"/>
                  </a:cubicBezTo>
                  <a:cubicBezTo>
                    <a:pt x="11700" y="7189"/>
                    <a:pt x="11700" y="7189"/>
                    <a:pt x="11700" y="7189"/>
                  </a:cubicBezTo>
                  <a:cubicBezTo>
                    <a:pt x="11807" y="7169"/>
                    <a:pt x="11882" y="7050"/>
                    <a:pt x="11927" y="6932"/>
                  </a:cubicBezTo>
                  <a:close/>
                  <a:moveTo>
                    <a:pt x="11145" y="1775"/>
                  </a:moveTo>
                  <a:cubicBezTo>
                    <a:pt x="11023" y="1892"/>
                    <a:pt x="10902" y="2008"/>
                    <a:pt x="10810" y="2096"/>
                  </a:cubicBezTo>
                  <a:cubicBezTo>
                    <a:pt x="10764" y="2140"/>
                    <a:pt x="10725" y="2177"/>
                    <a:pt x="10697" y="2204"/>
                  </a:cubicBezTo>
                  <a:cubicBezTo>
                    <a:pt x="10683" y="2217"/>
                    <a:pt x="10671" y="2228"/>
                    <a:pt x="10663" y="2236"/>
                  </a:cubicBezTo>
                  <a:cubicBezTo>
                    <a:pt x="10654" y="2245"/>
                    <a:pt x="10649" y="2249"/>
                    <a:pt x="10645" y="2253"/>
                  </a:cubicBezTo>
                  <a:cubicBezTo>
                    <a:pt x="10619" y="2274"/>
                    <a:pt x="10592" y="2285"/>
                    <a:pt x="10569" y="2293"/>
                  </a:cubicBezTo>
                  <a:cubicBezTo>
                    <a:pt x="10558" y="2297"/>
                    <a:pt x="10549" y="2300"/>
                    <a:pt x="10541" y="2303"/>
                  </a:cubicBezTo>
                  <a:cubicBezTo>
                    <a:pt x="10540" y="2303"/>
                    <a:pt x="10540" y="2303"/>
                    <a:pt x="10540" y="2303"/>
                  </a:cubicBezTo>
                  <a:cubicBezTo>
                    <a:pt x="10529" y="2306"/>
                    <a:pt x="10529" y="2306"/>
                    <a:pt x="10529" y="2306"/>
                  </a:cubicBezTo>
                  <a:cubicBezTo>
                    <a:pt x="10529" y="2306"/>
                    <a:pt x="10528" y="2306"/>
                    <a:pt x="10528" y="2307"/>
                  </a:cubicBezTo>
                  <a:cubicBezTo>
                    <a:pt x="10527" y="2307"/>
                    <a:pt x="10527" y="2307"/>
                    <a:pt x="10527" y="2307"/>
                  </a:cubicBezTo>
                  <a:cubicBezTo>
                    <a:pt x="10527" y="2307"/>
                    <a:pt x="10527" y="2307"/>
                    <a:pt x="10526" y="2307"/>
                  </a:cubicBezTo>
                  <a:cubicBezTo>
                    <a:pt x="10526" y="2307"/>
                    <a:pt x="10526" y="2307"/>
                    <a:pt x="10525" y="2307"/>
                  </a:cubicBezTo>
                  <a:cubicBezTo>
                    <a:pt x="10529" y="2328"/>
                    <a:pt x="10529" y="2328"/>
                    <a:pt x="10529" y="2328"/>
                  </a:cubicBezTo>
                  <a:cubicBezTo>
                    <a:pt x="10534" y="2346"/>
                    <a:pt x="10540" y="2369"/>
                    <a:pt x="10547" y="2396"/>
                  </a:cubicBezTo>
                  <a:cubicBezTo>
                    <a:pt x="10600" y="2379"/>
                    <a:pt x="10646" y="2365"/>
                    <a:pt x="10683" y="2352"/>
                  </a:cubicBezTo>
                  <a:cubicBezTo>
                    <a:pt x="10710" y="2343"/>
                    <a:pt x="10732" y="2335"/>
                    <a:pt x="10749" y="2328"/>
                  </a:cubicBezTo>
                  <a:cubicBezTo>
                    <a:pt x="10765" y="2322"/>
                    <a:pt x="10777" y="2316"/>
                    <a:pt x="10778" y="2316"/>
                  </a:cubicBezTo>
                  <a:cubicBezTo>
                    <a:pt x="10790" y="2309"/>
                    <a:pt x="10827" y="2280"/>
                    <a:pt x="10873" y="2239"/>
                  </a:cubicBezTo>
                  <a:cubicBezTo>
                    <a:pt x="11038" y="2096"/>
                    <a:pt x="11347" y="1796"/>
                    <a:pt x="11644" y="1523"/>
                  </a:cubicBezTo>
                  <a:cubicBezTo>
                    <a:pt x="11793" y="1387"/>
                    <a:pt x="11940" y="1256"/>
                    <a:pt x="12065" y="1154"/>
                  </a:cubicBezTo>
                  <a:cubicBezTo>
                    <a:pt x="12128" y="1102"/>
                    <a:pt x="12186" y="1058"/>
                    <a:pt x="12237" y="1023"/>
                  </a:cubicBezTo>
                  <a:cubicBezTo>
                    <a:pt x="12289" y="988"/>
                    <a:pt x="12332" y="962"/>
                    <a:pt x="12374" y="947"/>
                  </a:cubicBezTo>
                  <a:cubicBezTo>
                    <a:pt x="12468" y="915"/>
                    <a:pt x="12589" y="898"/>
                    <a:pt x="12733" y="888"/>
                  </a:cubicBezTo>
                  <a:cubicBezTo>
                    <a:pt x="12767" y="885"/>
                    <a:pt x="12803" y="883"/>
                    <a:pt x="12840" y="882"/>
                  </a:cubicBezTo>
                  <a:cubicBezTo>
                    <a:pt x="12831" y="845"/>
                    <a:pt x="12825" y="814"/>
                    <a:pt x="12821" y="792"/>
                  </a:cubicBezTo>
                  <a:cubicBezTo>
                    <a:pt x="12812" y="770"/>
                    <a:pt x="12812" y="770"/>
                    <a:pt x="12812" y="770"/>
                  </a:cubicBezTo>
                  <a:cubicBezTo>
                    <a:pt x="12610" y="771"/>
                    <a:pt x="12459" y="773"/>
                    <a:pt x="12426" y="774"/>
                  </a:cubicBezTo>
                  <a:cubicBezTo>
                    <a:pt x="12303" y="778"/>
                    <a:pt x="12200" y="782"/>
                    <a:pt x="12116" y="820"/>
                  </a:cubicBezTo>
                  <a:cubicBezTo>
                    <a:pt x="12078" y="837"/>
                    <a:pt x="12028" y="876"/>
                    <a:pt x="11986" y="917"/>
                  </a:cubicBezTo>
                  <a:cubicBezTo>
                    <a:pt x="11943" y="958"/>
                    <a:pt x="11907" y="1002"/>
                    <a:pt x="11892" y="1024"/>
                  </a:cubicBezTo>
                  <a:cubicBezTo>
                    <a:pt x="11880" y="1042"/>
                    <a:pt x="11862" y="1062"/>
                    <a:pt x="11840" y="1086"/>
                  </a:cubicBezTo>
                  <a:cubicBezTo>
                    <a:pt x="11808" y="1122"/>
                    <a:pt x="11769" y="1163"/>
                    <a:pt x="11737" y="1196"/>
                  </a:cubicBezTo>
                  <a:cubicBezTo>
                    <a:pt x="11721" y="1212"/>
                    <a:pt x="11708" y="1226"/>
                    <a:pt x="11698" y="1236"/>
                  </a:cubicBezTo>
                  <a:cubicBezTo>
                    <a:pt x="11694" y="1241"/>
                    <a:pt x="11691" y="1244"/>
                    <a:pt x="11689" y="1246"/>
                  </a:cubicBezTo>
                  <a:cubicBezTo>
                    <a:pt x="11686" y="1251"/>
                    <a:pt x="11686" y="1250"/>
                    <a:pt x="11685" y="1252"/>
                  </a:cubicBezTo>
                  <a:cubicBezTo>
                    <a:pt x="11681" y="1256"/>
                    <a:pt x="11680" y="1257"/>
                    <a:pt x="11677" y="1260"/>
                  </a:cubicBezTo>
                  <a:cubicBezTo>
                    <a:pt x="11638" y="1300"/>
                    <a:pt x="11389" y="1540"/>
                    <a:pt x="11145" y="1775"/>
                  </a:cubicBezTo>
                  <a:close/>
                  <a:moveTo>
                    <a:pt x="8668" y="1184"/>
                  </a:moveTo>
                  <a:cubicBezTo>
                    <a:pt x="8674" y="1245"/>
                    <a:pt x="8693" y="1464"/>
                    <a:pt x="8693" y="1565"/>
                  </a:cubicBezTo>
                  <a:cubicBezTo>
                    <a:pt x="8693" y="1583"/>
                    <a:pt x="8692" y="1597"/>
                    <a:pt x="8691" y="1608"/>
                  </a:cubicBezTo>
                  <a:cubicBezTo>
                    <a:pt x="8680" y="1676"/>
                    <a:pt x="8598" y="1983"/>
                    <a:pt x="8577" y="2059"/>
                  </a:cubicBezTo>
                  <a:cubicBezTo>
                    <a:pt x="8565" y="2103"/>
                    <a:pt x="8561" y="2168"/>
                    <a:pt x="8561" y="2227"/>
                  </a:cubicBezTo>
                  <a:cubicBezTo>
                    <a:pt x="8561" y="2263"/>
                    <a:pt x="8563" y="2298"/>
                    <a:pt x="8564" y="2325"/>
                  </a:cubicBezTo>
                  <a:cubicBezTo>
                    <a:pt x="8566" y="2378"/>
                    <a:pt x="8576" y="2564"/>
                    <a:pt x="8580" y="2657"/>
                  </a:cubicBezTo>
                  <a:cubicBezTo>
                    <a:pt x="8590" y="2678"/>
                    <a:pt x="8590" y="2678"/>
                    <a:pt x="8590" y="2678"/>
                  </a:cubicBezTo>
                  <a:cubicBezTo>
                    <a:pt x="8692" y="2652"/>
                    <a:pt x="9122" y="2543"/>
                    <a:pt x="9548" y="2436"/>
                  </a:cubicBezTo>
                  <a:cubicBezTo>
                    <a:pt x="10027" y="2315"/>
                    <a:pt x="10500" y="2195"/>
                    <a:pt x="10500" y="2195"/>
                  </a:cubicBezTo>
                  <a:cubicBezTo>
                    <a:pt x="10500" y="2195"/>
                    <a:pt x="10500" y="2195"/>
                    <a:pt x="10500" y="2195"/>
                  </a:cubicBezTo>
                  <a:cubicBezTo>
                    <a:pt x="10502" y="2195"/>
                    <a:pt x="10504" y="2194"/>
                    <a:pt x="10507" y="2193"/>
                  </a:cubicBezTo>
                  <a:cubicBezTo>
                    <a:pt x="10524" y="2189"/>
                    <a:pt x="10564" y="2173"/>
                    <a:pt x="10571" y="2165"/>
                  </a:cubicBezTo>
                  <a:cubicBezTo>
                    <a:pt x="10571" y="2165"/>
                    <a:pt x="10571" y="2165"/>
                    <a:pt x="10571" y="2165"/>
                  </a:cubicBezTo>
                  <a:cubicBezTo>
                    <a:pt x="10599" y="2139"/>
                    <a:pt x="10859" y="1891"/>
                    <a:pt x="11108" y="1651"/>
                  </a:cubicBezTo>
                  <a:cubicBezTo>
                    <a:pt x="11179" y="1583"/>
                    <a:pt x="11248" y="1516"/>
                    <a:pt x="11312" y="1454"/>
                  </a:cubicBezTo>
                  <a:cubicBezTo>
                    <a:pt x="11303" y="1442"/>
                    <a:pt x="11303" y="1442"/>
                    <a:pt x="11303" y="1442"/>
                  </a:cubicBezTo>
                  <a:cubicBezTo>
                    <a:pt x="11226" y="1377"/>
                    <a:pt x="10930" y="1125"/>
                    <a:pt x="10837" y="1034"/>
                  </a:cubicBezTo>
                  <a:cubicBezTo>
                    <a:pt x="10786" y="986"/>
                    <a:pt x="10728" y="961"/>
                    <a:pt x="10681" y="949"/>
                  </a:cubicBezTo>
                  <a:cubicBezTo>
                    <a:pt x="10658" y="942"/>
                    <a:pt x="10638" y="939"/>
                    <a:pt x="10624" y="938"/>
                  </a:cubicBezTo>
                  <a:cubicBezTo>
                    <a:pt x="10610" y="936"/>
                    <a:pt x="10602" y="936"/>
                    <a:pt x="10602" y="936"/>
                  </a:cubicBezTo>
                  <a:cubicBezTo>
                    <a:pt x="9717" y="936"/>
                    <a:pt x="9717" y="936"/>
                    <a:pt x="9717" y="936"/>
                  </a:cubicBezTo>
                  <a:cubicBezTo>
                    <a:pt x="9709" y="941"/>
                    <a:pt x="9686" y="956"/>
                    <a:pt x="9658" y="976"/>
                  </a:cubicBezTo>
                  <a:cubicBezTo>
                    <a:pt x="9610" y="1010"/>
                    <a:pt x="9543" y="1057"/>
                    <a:pt x="9487" y="1096"/>
                  </a:cubicBezTo>
                  <a:cubicBezTo>
                    <a:pt x="9459" y="1116"/>
                    <a:pt x="9434" y="1134"/>
                    <a:pt x="9414" y="1146"/>
                  </a:cubicBezTo>
                  <a:cubicBezTo>
                    <a:pt x="9405" y="1153"/>
                    <a:pt x="9397" y="1158"/>
                    <a:pt x="9390" y="1162"/>
                  </a:cubicBezTo>
                  <a:cubicBezTo>
                    <a:pt x="9387" y="1164"/>
                    <a:pt x="9384" y="1165"/>
                    <a:pt x="9382" y="1167"/>
                  </a:cubicBezTo>
                  <a:cubicBezTo>
                    <a:pt x="9379" y="1168"/>
                    <a:pt x="9378" y="1169"/>
                    <a:pt x="9370" y="1170"/>
                  </a:cubicBezTo>
                  <a:cubicBezTo>
                    <a:pt x="9369" y="1170"/>
                    <a:pt x="9368" y="1170"/>
                    <a:pt x="9367" y="1169"/>
                  </a:cubicBezTo>
                  <a:cubicBezTo>
                    <a:pt x="9365" y="1169"/>
                    <a:pt x="9362" y="1169"/>
                    <a:pt x="9359" y="1169"/>
                  </a:cubicBezTo>
                  <a:cubicBezTo>
                    <a:pt x="9291" y="1169"/>
                    <a:pt x="8925" y="1181"/>
                    <a:pt x="8668" y="1184"/>
                  </a:cubicBezTo>
                  <a:close/>
                  <a:moveTo>
                    <a:pt x="7094" y="1513"/>
                  </a:moveTo>
                  <a:cubicBezTo>
                    <a:pt x="7100" y="1564"/>
                    <a:pt x="7187" y="2311"/>
                    <a:pt x="7191" y="2416"/>
                  </a:cubicBezTo>
                  <a:cubicBezTo>
                    <a:pt x="7240" y="2424"/>
                    <a:pt x="7276" y="2430"/>
                    <a:pt x="7284" y="2431"/>
                  </a:cubicBezTo>
                  <a:cubicBezTo>
                    <a:pt x="8532" y="2407"/>
                    <a:pt x="8532" y="2407"/>
                    <a:pt x="8532" y="2407"/>
                  </a:cubicBezTo>
                  <a:cubicBezTo>
                    <a:pt x="8530" y="2372"/>
                    <a:pt x="8529" y="2343"/>
                    <a:pt x="8528" y="2327"/>
                  </a:cubicBezTo>
                  <a:cubicBezTo>
                    <a:pt x="8527" y="2299"/>
                    <a:pt x="8525" y="2264"/>
                    <a:pt x="8525" y="2227"/>
                  </a:cubicBezTo>
                  <a:cubicBezTo>
                    <a:pt x="8525" y="2166"/>
                    <a:pt x="8529" y="2100"/>
                    <a:pt x="8542" y="2050"/>
                  </a:cubicBezTo>
                  <a:cubicBezTo>
                    <a:pt x="8563" y="1975"/>
                    <a:pt x="8645" y="1664"/>
                    <a:pt x="8655" y="1602"/>
                  </a:cubicBezTo>
                  <a:cubicBezTo>
                    <a:pt x="8656" y="1596"/>
                    <a:pt x="8657" y="1582"/>
                    <a:pt x="8657" y="1565"/>
                  </a:cubicBezTo>
                  <a:cubicBezTo>
                    <a:pt x="8657" y="1466"/>
                    <a:pt x="8637" y="1242"/>
                    <a:pt x="8632" y="1184"/>
                  </a:cubicBezTo>
                  <a:cubicBezTo>
                    <a:pt x="8606" y="1185"/>
                    <a:pt x="8582" y="1185"/>
                    <a:pt x="8559" y="1185"/>
                  </a:cubicBezTo>
                  <a:cubicBezTo>
                    <a:pt x="8521" y="1185"/>
                    <a:pt x="8488" y="1184"/>
                    <a:pt x="8463" y="1183"/>
                  </a:cubicBezTo>
                  <a:cubicBezTo>
                    <a:pt x="8280" y="1177"/>
                    <a:pt x="7917" y="1156"/>
                    <a:pt x="7807" y="1156"/>
                  </a:cubicBezTo>
                  <a:cubicBezTo>
                    <a:pt x="7799" y="1156"/>
                    <a:pt x="7793" y="1156"/>
                    <a:pt x="7788" y="1156"/>
                  </a:cubicBezTo>
                  <a:cubicBezTo>
                    <a:pt x="7713" y="1159"/>
                    <a:pt x="7498" y="1204"/>
                    <a:pt x="7444" y="1227"/>
                  </a:cubicBezTo>
                  <a:cubicBezTo>
                    <a:pt x="7381" y="1252"/>
                    <a:pt x="7191" y="1286"/>
                    <a:pt x="7148" y="1293"/>
                  </a:cubicBezTo>
                  <a:cubicBezTo>
                    <a:pt x="7140" y="1294"/>
                    <a:pt x="7133" y="1301"/>
                    <a:pt x="7127" y="1311"/>
                  </a:cubicBezTo>
                  <a:cubicBezTo>
                    <a:pt x="7123" y="1319"/>
                    <a:pt x="7121" y="1329"/>
                    <a:pt x="7120" y="1335"/>
                  </a:cubicBezTo>
                  <a:cubicBezTo>
                    <a:pt x="7124" y="1343"/>
                    <a:pt x="7122" y="1344"/>
                    <a:pt x="7123" y="1347"/>
                  </a:cubicBezTo>
                  <a:cubicBezTo>
                    <a:pt x="7123" y="1363"/>
                    <a:pt x="7115" y="1402"/>
                    <a:pt x="7108" y="1441"/>
                  </a:cubicBezTo>
                  <a:cubicBezTo>
                    <a:pt x="7102" y="1474"/>
                    <a:pt x="7096" y="1504"/>
                    <a:pt x="7094" y="1513"/>
                  </a:cubicBezTo>
                  <a:close/>
                  <a:moveTo>
                    <a:pt x="4016" y="1758"/>
                  </a:moveTo>
                  <a:cubicBezTo>
                    <a:pt x="4017" y="1780"/>
                    <a:pt x="4017" y="1780"/>
                    <a:pt x="4017" y="1780"/>
                  </a:cubicBezTo>
                  <a:cubicBezTo>
                    <a:pt x="4245" y="1879"/>
                    <a:pt x="4453" y="2030"/>
                    <a:pt x="4491" y="2058"/>
                  </a:cubicBezTo>
                  <a:cubicBezTo>
                    <a:pt x="5336" y="2408"/>
                    <a:pt x="5336" y="2408"/>
                    <a:pt x="5336" y="2408"/>
                  </a:cubicBezTo>
                  <a:cubicBezTo>
                    <a:pt x="5378" y="2420"/>
                    <a:pt x="5878" y="2569"/>
                    <a:pt x="6046" y="2619"/>
                  </a:cubicBezTo>
                  <a:cubicBezTo>
                    <a:pt x="6126" y="2643"/>
                    <a:pt x="6294" y="2687"/>
                    <a:pt x="6460" y="2731"/>
                  </a:cubicBezTo>
                  <a:cubicBezTo>
                    <a:pt x="6476" y="2715"/>
                    <a:pt x="6476" y="2715"/>
                    <a:pt x="6476" y="2715"/>
                  </a:cubicBezTo>
                  <a:cubicBezTo>
                    <a:pt x="6548" y="2460"/>
                    <a:pt x="6548" y="2460"/>
                    <a:pt x="6548" y="2460"/>
                  </a:cubicBezTo>
                  <a:cubicBezTo>
                    <a:pt x="6550" y="2458"/>
                    <a:pt x="6550" y="2458"/>
                    <a:pt x="6550" y="2458"/>
                  </a:cubicBezTo>
                  <a:cubicBezTo>
                    <a:pt x="6600" y="2385"/>
                    <a:pt x="6681" y="2366"/>
                    <a:pt x="6785" y="2366"/>
                  </a:cubicBezTo>
                  <a:cubicBezTo>
                    <a:pt x="6852" y="2366"/>
                    <a:pt x="7030" y="2392"/>
                    <a:pt x="7155" y="2411"/>
                  </a:cubicBezTo>
                  <a:cubicBezTo>
                    <a:pt x="7152" y="2351"/>
                    <a:pt x="7129" y="2142"/>
                    <a:pt x="7107" y="1942"/>
                  </a:cubicBezTo>
                  <a:cubicBezTo>
                    <a:pt x="7085" y="1747"/>
                    <a:pt x="7063" y="1559"/>
                    <a:pt x="7059" y="1521"/>
                  </a:cubicBezTo>
                  <a:cubicBezTo>
                    <a:pt x="7029" y="1496"/>
                    <a:pt x="6987" y="1475"/>
                    <a:pt x="6954" y="1442"/>
                  </a:cubicBezTo>
                  <a:cubicBezTo>
                    <a:pt x="6899" y="1386"/>
                    <a:pt x="6866" y="1326"/>
                    <a:pt x="6865" y="1325"/>
                  </a:cubicBezTo>
                  <a:cubicBezTo>
                    <a:pt x="6587" y="823"/>
                    <a:pt x="6587" y="823"/>
                    <a:pt x="6587" y="823"/>
                  </a:cubicBezTo>
                  <a:cubicBezTo>
                    <a:pt x="6529" y="725"/>
                    <a:pt x="6456" y="703"/>
                    <a:pt x="6395" y="703"/>
                  </a:cubicBezTo>
                  <a:cubicBezTo>
                    <a:pt x="6366" y="703"/>
                    <a:pt x="6340" y="708"/>
                    <a:pt x="6321" y="714"/>
                  </a:cubicBezTo>
                  <a:cubicBezTo>
                    <a:pt x="6312" y="717"/>
                    <a:pt x="6304" y="720"/>
                    <a:pt x="6299" y="722"/>
                  </a:cubicBezTo>
                  <a:cubicBezTo>
                    <a:pt x="6295" y="723"/>
                    <a:pt x="6293" y="724"/>
                    <a:pt x="6292" y="725"/>
                  </a:cubicBezTo>
                  <a:cubicBezTo>
                    <a:pt x="6279" y="733"/>
                    <a:pt x="6059" y="860"/>
                    <a:pt x="5949" y="920"/>
                  </a:cubicBezTo>
                  <a:cubicBezTo>
                    <a:pt x="5847" y="976"/>
                    <a:pt x="5779" y="1006"/>
                    <a:pt x="5674" y="1006"/>
                  </a:cubicBezTo>
                  <a:cubicBezTo>
                    <a:pt x="5662" y="1006"/>
                    <a:pt x="5650" y="1006"/>
                    <a:pt x="5637" y="1005"/>
                  </a:cubicBezTo>
                  <a:cubicBezTo>
                    <a:pt x="5509" y="997"/>
                    <a:pt x="5215" y="908"/>
                    <a:pt x="4926" y="822"/>
                  </a:cubicBezTo>
                  <a:cubicBezTo>
                    <a:pt x="4674" y="747"/>
                    <a:pt x="4503" y="662"/>
                    <a:pt x="4462" y="641"/>
                  </a:cubicBezTo>
                  <a:cubicBezTo>
                    <a:pt x="4227" y="1096"/>
                    <a:pt x="4227" y="1096"/>
                    <a:pt x="4227" y="1096"/>
                  </a:cubicBezTo>
                  <a:cubicBezTo>
                    <a:pt x="4223" y="1114"/>
                    <a:pt x="4191" y="1237"/>
                    <a:pt x="4150" y="1305"/>
                  </a:cubicBezTo>
                  <a:cubicBezTo>
                    <a:pt x="4114" y="1365"/>
                    <a:pt x="4089" y="1412"/>
                    <a:pt x="4083" y="1422"/>
                  </a:cubicBezTo>
                  <a:lnTo>
                    <a:pt x="4016" y="1758"/>
                  </a:lnTo>
                  <a:close/>
                  <a:moveTo>
                    <a:pt x="3864" y="1844"/>
                  </a:moveTo>
                  <a:cubicBezTo>
                    <a:pt x="3809" y="1825"/>
                    <a:pt x="3734" y="1800"/>
                    <a:pt x="3650" y="1770"/>
                  </a:cubicBezTo>
                  <a:cubicBezTo>
                    <a:pt x="3634" y="1783"/>
                    <a:pt x="3634" y="1783"/>
                    <a:pt x="3634" y="1783"/>
                  </a:cubicBezTo>
                  <a:cubicBezTo>
                    <a:pt x="3212" y="3088"/>
                    <a:pt x="3212" y="3088"/>
                    <a:pt x="3212" y="3088"/>
                  </a:cubicBezTo>
                  <a:cubicBezTo>
                    <a:pt x="3207" y="3087"/>
                    <a:pt x="3207" y="3087"/>
                    <a:pt x="3207" y="3087"/>
                  </a:cubicBezTo>
                  <a:cubicBezTo>
                    <a:pt x="3364" y="3148"/>
                    <a:pt x="3679" y="3296"/>
                    <a:pt x="3946" y="3395"/>
                  </a:cubicBezTo>
                  <a:cubicBezTo>
                    <a:pt x="4266" y="3513"/>
                    <a:pt x="4564" y="3618"/>
                    <a:pt x="4764" y="3670"/>
                  </a:cubicBezTo>
                  <a:cubicBezTo>
                    <a:pt x="4839" y="3690"/>
                    <a:pt x="4919" y="3711"/>
                    <a:pt x="5000" y="3734"/>
                  </a:cubicBezTo>
                  <a:cubicBezTo>
                    <a:pt x="5162" y="3360"/>
                    <a:pt x="5162" y="3360"/>
                    <a:pt x="5162" y="3360"/>
                  </a:cubicBezTo>
                  <a:cubicBezTo>
                    <a:pt x="5153" y="2984"/>
                    <a:pt x="5153" y="2984"/>
                    <a:pt x="5153" y="2984"/>
                  </a:cubicBezTo>
                  <a:cubicBezTo>
                    <a:pt x="5154" y="2981"/>
                    <a:pt x="5154" y="2981"/>
                    <a:pt x="5154" y="2981"/>
                  </a:cubicBezTo>
                  <a:cubicBezTo>
                    <a:pt x="5154" y="2981"/>
                    <a:pt x="5193" y="2862"/>
                    <a:pt x="5231" y="2740"/>
                  </a:cubicBezTo>
                  <a:cubicBezTo>
                    <a:pt x="5251" y="2678"/>
                    <a:pt x="5270" y="2616"/>
                    <a:pt x="5284" y="2567"/>
                  </a:cubicBezTo>
                  <a:cubicBezTo>
                    <a:pt x="5290" y="2549"/>
                    <a:pt x="5294" y="2533"/>
                    <a:pt x="5298" y="2520"/>
                  </a:cubicBezTo>
                  <a:cubicBezTo>
                    <a:pt x="5298" y="2519"/>
                    <a:pt x="5298" y="2517"/>
                    <a:pt x="5298" y="2516"/>
                  </a:cubicBezTo>
                  <a:cubicBezTo>
                    <a:pt x="5298" y="2516"/>
                    <a:pt x="5298" y="2516"/>
                    <a:pt x="5298" y="2516"/>
                  </a:cubicBezTo>
                  <a:cubicBezTo>
                    <a:pt x="4434" y="2159"/>
                    <a:pt x="4434" y="2159"/>
                    <a:pt x="4434" y="2159"/>
                  </a:cubicBezTo>
                  <a:cubicBezTo>
                    <a:pt x="4428" y="2154"/>
                    <a:pt x="4428" y="2154"/>
                    <a:pt x="4428" y="2154"/>
                  </a:cubicBezTo>
                  <a:cubicBezTo>
                    <a:pt x="4428" y="2154"/>
                    <a:pt x="4410" y="2141"/>
                    <a:pt x="4379" y="2119"/>
                  </a:cubicBezTo>
                  <a:cubicBezTo>
                    <a:pt x="4283" y="2052"/>
                    <a:pt x="4063" y="1909"/>
                    <a:pt x="3864" y="1844"/>
                  </a:cubicBezTo>
                  <a:close/>
                  <a:moveTo>
                    <a:pt x="4281" y="3554"/>
                  </a:moveTo>
                  <a:cubicBezTo>
                    <a:pt x="4281" y="3554"/>
                    <a:pt x="4281" y="3554"/>
                    <a:pt x="4281" y="3554"/>
                  </a:cubicBezTo>
                  <a:cubicBezTo>
                    <a:pt x="4281" y="3555"/>
                    <a:pt x="4281" y="3555"/>
                    <a:pt x="4281" y="3555"/>
                  </a:cubicBezTo>
                  <a:cubicBezTo>
                    <a:pt x="4281" y="3555"/>
                    <a:pt x="4281" y="3555"/>
                    <a:pt x="4281" y="3555"/>
                  </a:cubicBezTo>
                  <a:lnTo>
                    <a:pt x="4281" y="3554"/>
                  </a:lnTo>
                  <a:close/>
                  <a:moveTo>
                    <a:pt x="4093" y="3904"/>
                  </a:moveTo>
                  <a:cubicBezTo>
                    <a:pt x="4094" y="3900"/>
                    <a:pt x="4094" y="3900"/>
                    <a:pt x="4094" y="3900"/>
                  </a:cubicBezTo>
                  <a:cubicBezTo>
                    <a:pt x="4094" y="3900"/>
                    <a:pt x="4133" y="3809"/>
                    <a:pt x="4172" y="3717"/>
                  </a:cubicBezTo>
                  <a:cubicBezTo>
                    <a:pt x="4192" y="3671"/>
                    <a:pt x="4212" y="3625"/>
                    <a:pt x="4228" y="3591"/>
                  </a:cubicBezTo>
                  <a:cubicBezTo>
                    <a:pt x="4235" y="3573"/>
                    <a:pt x="4242" y="3558"/>
                    <a:pt x="4247" y="3548"/>
                  </a:cubicBezTo>
                  <a:cubicBezTo>
                    <a:pt x="4248" y="3546"/>
                    <a:pt x="4249" y="3545"/>
                    <a:pt x="4250" y="3543"/>
                  </a:cubicBezTo>
                  <a:cubicBezTo>
                    <a:pt x="4149" y="3507"/>
                    <a:pt x="4043" y="3469"/>
                    <a:pt x="3934" y="3428"/>
                  </a:cubicBezTo>
                  <a:cubicBezTo>
                    <a:pt x="3613" y="3310"/>
                    <a:pt x="3221" y="3121"/>
                    <a:pt x="3125" y="3096"/>
                  </a:cubicBezTo>
                  <a:cubicBezTo>
                    <a:pt x="3083" y="3085"/>
                    <a:pt x="3021" y="3071"/>
                    <a:pt x="2947" y="3071"/>
                  </a:cubicBezTo>
                  <a:cubicBezTo>
                    <a:pt x="2845" y="3071"/>
                    <a:pt x="2721" y="3098"/>
                    <a:pt x="2597" y="3202"/>
                  </a:cubicBezTo>
                  <a:cubicBezTo>
                    <a:pt x="2524" y="3263"/>
                    <a:pt x="2409" y="3395"/>
                    <a:pt x="2253" y="3564"/>
                  </a:cubicBezTo>
                  <a:cubicBezTo>
                    <a:pt x="2104" y="3725"/>
                    <a:pt x="1941" y="3902"/>
                    <a:pt x="1814" y="4040"/>
                  </a:cubicBezTo>
                  <a:cubicBezTo>
                    <a:pt x="1750" y="4108"/>
                    <a:pt x="1696" y="4167"/>
                    <a:pt x="1657" y="4208"/>
                  </a:cubicBezTo>
                  <a:cubicBezTo>
                    <a:pt x="1639" y="4229"/>
                    <a:pt x="1624" y="4244"/>
                    <a:pt x="1613" y="4256"/>
                  </a:cubicBezTo>
                  <a:cubicBezTo>
                    <a:pt x="1616" y="4257"/>
                    <a:pt x="1619" y="4258"/>
                    <a:pt x="1619" y="4258"/>
                  </a:cubicBezTo>
                  <a:cubicBezTo>
                    <a:pt x="1621" y="4259"/>
                    <a:pt x="1621" y="4259"/>
                    <a:pt x="1621" y="4259"/>
                  </a:cubicBezTo>
                  <a:cubicBezTo>
                    <a:pt x="2454" y="4863"/>
                    <a:pt x="2454" y="4863"/>
                    <a:pt x="2454" y="4863"/>
                  </a:cubicBezTo>
                  <a:cubicBezTo>
                    <a:pt x="2917" y="5010"/>
                    <a:pt x="2917" y="5010"/>
                    <a:pt x="2917" y="5010"/>
                  </a:cubicBezTo>
                  <a:cubicBezTo>
                    <a:pt x="2923" y="4995"/>
                    <a:pt x="2949" y="4932"/>
                    <a:pt x="2968" y="4886"/>
                  </a:cubicBezTo>
                  <a:cubicBezTo>
                    <a:pt x="2990" y="4832"/>
                    <a:pt x="3033" y="4747"/>
                    <a:pt x="3156" y="4688"/>
                  </a:cubicBezTo>
                  <a:cubicBezTo>
                    <a:pt x="3199" y="4668"/>
                    <a:pt x="3242" y="4659"/>
                    <a:pt x="3289" y="4659"/>
                  </a:cubicBezTo>
                  <a:cubicBezTo>
                    <a:pt x="3381" y="4660"/>
                    <a:pt x="3489" y="4690"/>
                    <a:pt x="3654" y="4722"/>
                  </a:cubicBezTo>
                  <a:cubicBezTo>
                    <a:pt x="3750" y="4740"/>
                    <a:pt x="3865" y="4766"/>
                    <a:pt x="3987" y="4796"/>
                  </a:cubicBezTo>
                  <a:cubicBezTo>
                    <a:pt x="3993" y="4781"/>
                    <a:pt x="4009" y="4741"/>
                    <a:pt x="4028" y="4687"/>
                  </a:cubicBezTo>
                  <a:cubicBezTo>
                    <a:pt x="4051" y="4618"/>
                    <a:pt x="4078" y="4529"/>
                    <a:pt x="4093" y="4447"/>
                  </a:cubicBezTo>
                  <a:cubicBezTo>
                    <a:pt x="4103" y="4394"/>
                    <a:pt x="4107" y="4315"/>
                    <a:pt x="4106" y="4235"/>
                  </a:cubicBezTo>
                  <a:cubicBezTo>
                    <a:pt x="4107" y="4075"/>
                    <a:pt x="4093" y="3909"/>
                    <a:pt x="4093" y="3908"/>
                  </a:cubicBezTo>
                  <a:lnTo>
                    <a:pt x="4093" y="3904"/>
                  </a:lnTo>
                  <a:close/>
                  <a:moveTo>
                    <a:pt x="1291" y="4143"/>
                  </a:moveTo>
                  <a:cubicBezTo>
                    <a:pt x="1293" y="4145"/>
                    <a:pt x="1294" y="4146"/>
                    <a:pt x="1295" y="4148"/>
                  </a:cubicBezTo>
                  <a:cubicBezTo>
                    <a:pt x="1301" y="4149"/>
                    <a:pt x="1307" y="4150"/>
                    <a:pt x="1315" y="4153"/>
                  </a:cubicBezTo>
                  <a:cubicBezTo>
                    <a:pt x="1370" y="4168"/>
                    <a:pt x="1506" y="4217"/>
                    <a:pt x="1576" y="4242"/>
                  </a:cubicBezTo>
                  <a:cubicBezTo>
                    <a:pt x="1597" y="4220"/>
                    <a:pt x="1683" y="4128"/>
                    <a:pt x="1796" y="4005"/>
                  </a:cubicBezTo>
                  <a:cubicBezTo>
                    <a:pt x="1922" y="3870"/>
                    <a:pt x="2081" y="3697"/>
                    <a:pt x="2226" y="3540"/>
                  </a:cubicBezTo>
                  <a:cubicBezTo>
                    <a:pt x="2382" y="3370"/>
                    <a:pt x="2496" y="3240"/>
                    <a:pt x="2574" y="3174"/>
                  </a:cubicBezTo>
                  <a:cubicBezTo>
                    <a:pt x="2705" y="3064"/>
                    <a:pt x="2839" y="3034"/>
                    <a:pt x="2947" y="3034"/>
                  </a:cubicBezTo>
                  <a:cubicBezTo>
                    <a:pt x="3025" y="3034"/>
                    <a:pt x="3091" y="3050"/>
                    <a:pt x="3134" y="3061"/>
                  </a:cubicBezTo>
                  <a:cubicBezTo>
                    <a:pt x="3145" y="3064"/>
                    <a:pt x="3161" y="3069"/>
                    <a:pt x="3178" y="3076"/>
                  </a:cubicBezTo>
                  <a:cubicBezTo>
                    <a:pt x="3601" y="1769"/>
                    <a:pt x="3601" y="1769"/>
                    <a:pt x="3601" y="1769"/>
                  </a:cubicBezTo>
                  <a:cubicBezTo>
                    <a:pt x="3602" y="1754"/>
                    <a:pt x="3602" y="1754"/>
                    <a:pt x="3602" y="1754"/>
                  </a:cubicBezTo>
                  <a:cubicBezTo>
                    <a:pt x="3262" y="1635"/>
                    <a:pt x="2802" y="1470"/>
                    <a:pt x="2757" y="1453"/>
                  </a:cubicBezTo>
                  <a:cubicBezTo>
                    <a:pt x="2727" y="1442"/>
                    <a:pt x="2685" y="1426"/>
                    <a:pt x="2644" y="1401"/>
                  </a:cubicBezTo>
                  <a:cubicBezTo>
                    <a:pt x="2617" y="1385"/>
                    <a:pt x="2591" y="1365"/>
                    <a:pt x="2568" y="1339"/>
                  </a:cubicBezTo>
                  <a:cubicBezTo>
                    <a:pt x="2558" y="1345"/>
                    <a:pt x="2558" y="1345"/>
                    <a:pt x="2558" y="1345"/>
                  </a:cubicBezTo>
                  <a:cubicBezTo>
                    <a:pt x="2548" y="1353"/>
                    <a:pt x="2526" y="1371"/>
                    <a:pt x="2495" y="1397"/>
                  </a:cubicBezTo>
                  <a:cubicBezTo>
                    <a:pt x="2360" y="1511"/>
                    <a:pt x="2056" y="1774"/>
                    <a:pt x="1785" y="2008"/>
                  </a:cubicBezTo>
                  <a:cubicBezTo>
                    <a:pt x="1650" y="2125"/>
                    <a:pt x="1523" y="2235"/>
                    <a:pt x="1430" y="2316"/>
                  </a:cubicBezTo>
                  <a:cubicBezTo>
                    <a:pt x="1343" y="2392"/>
                    <a:pt x="1285" y="2442"/>
                    <a:pt x="1279" y="2447"/>
                  </a:cubicBezTo>
                  <a:cubicBezTo>
                    <a:pt x="565" y="3210"/>
                    <a:pt x="565" y="3210"/>
                    <a:pt x="565" y="3210"/>
                  </a:cubicBezTo>
                  <a:cubicBezTo>
                    <a:pt x="609" y="3267"/>
                    <a:pt x="764" y="3470"/>
                    <a:pt x="922" y="3674"/>
                  </a:cubicBezTo>
                  <a:cubicBezTo>
                    <a:pt x="1014" y="3794"/>
                    <a:pt x="1108" y="3914"/>
                    <a:pt x="1179" y="4004"/>
                  </a:cubicBezTo>
                  <a:cubicBezTo>
                    <a:pt x="1214" y="4049"/>
                    <a:pt x="1244" y="4087"/>
                    <a:pt x="1265" y="4113"/>
                  </a:cubicBezTo>
                  <a:cubicBezTo>
                    <a:pt x="1276" y="4126"/>
                    <a:pt x="1285" y="4136"/>
                    <a:pt x="1291" y="4143"/>
                  </a:cubicBezTo>
                  <a:close/>
                  <a:moveTo>
                    <a:pt x="1357" y="6806"/>
                  </a:moveTo>
                  <a:cubicBezTo>
                    <a:pt x="1396" y="6732"/>
                    <a:pt x="1425" y="6665"/>
                    <a:pt x="1425" y="6665"/>
                  </a:cubicBezTo>
                  <a:cubicBezTo>
                    <a:pt x="1426" y="6664"/>
                    <a:pt x="1426" y="6664"/>
                    <a:pt x="1426" y="6664"/>
                  </a:cubicBezTo>
                  <a:cubicBezTo>
                    <a:pt x="2422" y="4885"/>
                    <a:pt x="2422" y="4885"/>
                    <a:pt x="2422" y="4885"/>
                  </a:cubicBezTo>
                  <a:cubicBezTo>
                    <a:pt x="1604" y="4291"/>
                    <a:pt x="1604" y="4291"/>
                    <a:pt x="1604" y="4291"/>
                  </a:cubicBezTo>
                  <a:cubicBezTo>
                    <a:pt x="1591" y="4286"/>
                    <a:pt x="1524" y="4262"/>
                    <a:pt x="1454" y="4237"/>
                  </a:cubicBezTo>
                  <a:cubicBezTo>
                    <a:pt x="1415" y="4223"/>
                    <a:pt x="1376" y="4210"/>
                    <a:pt x="1344" y="4199"/>
                  </a:cubicBezTo>
                  <a:cubicBezTo>
                    <a:pt x="1334" y="4196"/>
                    <a:pt x="1325" y="4193"/>
                    <a:pt x="1317" y="4191"/>
                  </a:cubicBezTo>
                  <a:cubicBezTo>
                    <a:pt x="204" y="6229"/>
                    <a:pt x="204" y="6229"/>
                    <a:pt x="204" y="6229"/>
                  </a:cubicBezTo>
                  <a:cubicBezTo>
                    <a:pt x="364" y="6302"/>
                    <a:pt x="600" y="6451"/>
                    <a:pt x="783" y="6620"/>
                  </a:cubicBezTo>
                  <a:cubicBezTo>
                    <a:pt x="956" y="6778"/>
                    <a:pt x="1066" y="6955"/>
                    <a:pt x="1107" y="7026"/>
                  </a:cubicBezTo>
                  <a:cubicBezTo>
                    <a:pt x="1108" y="7026"/>
                    <a:pt x="1109" y="7026"/>
                    <a:pt x="1110" y="7025"/>
                  </a:cubicBezTo>
                  <a:cubicBezTo>
                    <a:pt x="1133" y="7022"/>
                    <a:pt x="1186" y="7011"/>
                    <a:pt x="1239" y="6977"/>
                  </a:cubicBezTo>
                  <a:cubicBezTo>
                    <a:pt x="1269" y="6959"/>
                    <a:pt x="1320" y="6879"/>
                    <a:pt x="1357" y="6806"/>
                  </a:cubicBezTo>
                  <a:close/>
                  <a:moveTo>
                    <a:pt x="1912" y="6970"/>
                  </a:moveTo>
                  <a:cubicBezTo>
                    <a:pt x="1761" y="6882"/>
                    <a:pt x="1517" y="6737"/>
                    <a:pt x="1450" y="6698"/>
                  </a:cubicBezTo>
                  <a:cubicBezTo>
                    <a:pt x="1439" y="6723"/>
                    <a:pt x="1416" y="6771"/>
                    <a:pt x="1389" y="6822"/>
                  </a:cubicBezTo>
                  <a:cubicBezTo>
                    <a:pt x="1357" y="6882"/>
                    <a:pt x="1322" y="6945"/>
                    <a:pt x="1286" y="6983"/>
                  </a:cubicBezTo>
                  <a:cubicBezTo>
                    <a:pt x="1290" y="6989"/>
                    <a:pt x="1290" y="6989"/>
                    <a:pt x="1290" y="6989"/>
                  </a:cubicBezTo>
                  <a:cubicBezTo>
                    <a:pt x="1290" y="6989"/>
                    <a:pt x="1290" y="6989"/>
                    <a:pt x="1290" y="6989"/>
                  </a:cubicBezTo>
                  <a:cubicBezTo>
                    <a:pt x="1394" y="7148"/>
                    <a:pt x="1394" y="7148"/>
                    <a:pt x="1394" y="7148"/>
                  </a:cubicBezTo>
                  <a:cubicBezTo>
                    <a:pt x="1394" y="7148"/>
                    <a:pt x="1394" y="7148"/>
                    <a:pt x="1394" y="7148"/>
                  </a:cubicBezTo>
                  <a:cubicBezTo>
                    <a:pt x="1402" y="7161"/>
                    <a:pt x="1402" y="7161"/>
                    <a:pt x="1402" y="7161"/>
                  </a:cubicBezTo>
                  <a:cubicBezTo>
                    <a:pt x="1419" y="7185"/>
                    <a:pt x="1419" y="7185"/>
                    <a:pt x="1419" y="7185"/>
                  </a:cubicBezTo>
                  <a:cubicBezTo>
                    <a:pt x="1418" y="7186"/>
                    <a:pt x="1418" y="7186"/>
                    <a:pt x="1418" y="7186"/>
                  </a:cubicBezTo>
                  <a:cubicBezTo>
                    <a:pt x="1422" y="7191"/>
                    <a:pt x="1422" y="7191"/>
                    <a:pt x="1422" y="7191"/>
                  </a:cubicBezTo>
                  <a:cubicBezTo>
                    <a:pt x="1389" y="7346"/>
                    <a:pt x="1389" y="7346"/>
                    <a:pt x="1389" y="7346"/>
                  </a:cubicBezTo>
                  <a:cubicBezTo>
                    <a:pt x="1403" y="7355"/>
                    <a:pt x="1437" y="7377"/>
                    <a:pt x="1472" y="7399"/>
                  </a:cubicBezTo>
                  <a:cubicBezTo>
                    <a:pt x="1495" y="7413"/>
                    <a:pt x="1518" y="7427"/>
                    <a:pt x="1535" y="7438"/>
                  </a:cubicBezTo>
                  <a:cubicBezTo>
                    <a:pt x="1544" y="7443"/>
                    <a:pt x="1552" y="7448"/>
                    <a:pt x="1557" y="7451"/>
                  </a:cubicBezTo>
                  <a:cubicBezTo>
                    <a:pt x="1560" y="7452"/>
                    <a:pt x="1562" y="7454"/>
                    <a:pt x="1563" y="7454"/>
                  </a:cubicBezTo>
                  <a:cubicBezTo>
                    <a:pt x="1564" y="7455"/>
                    <a:pt x="1565" y="7455"/>
                    <a:pt x="1565" y="7455"/>
                  </a:cubicBezTo>
                  <a:cubicBezTo>
                    <a:pt x="1562" y="7463"/>
                    <a:pt x="1562" y="7463"/>
                    <a:pt x="1562" y="7463"/>
                  </a:cubicBezTo>
                  <a:cubicBezTo>
                    <a:pt x="1562" y="7454"/>
                    <a:pt x="1562" y="7454"/>
                    <a:pt x="1562" y="7454"/>
                  </a:cubicBezTo>
                  <a:cubicBezTo>
                    <a:pt x="1562" y="7466"/>
                    <a:pt x="1562" y="7466"/>
                    <a:pt x="1562" y="7466"/>
                  </a:cubicBezTo>
                  <a:cubicBezTo>
                    <a:pt x="1563" y="7473"/>
                    <a:pt x="1563" y="7473"/>
                    <a:pt x="1563" y="7473"/>
                  </a:cubicBezTo>
                  <a:cubicBezTo>
                    <a:pt x="1650" y="7353"/>
                    <a:pt x="1650" y="7353"/>
                    <a:pt x="1650" y="7353"/>
                  </a:cubicBezTo>
                  <a:cubicBezTo>
                    <a:pt x="1647" y="7350"/>
                    <a:pt x="1647" y="7350"/>
                    <a:pt x="1647" y="7350"/>
                  </a:cubicBezTo>
                  <a:cubicBezTo>
                    <a:pt x="1647" y="7350"/>
                    <a:pt x="1647" y="7350"/>
                    <a:pt x="1647" y="7349"/>
                  </a:cubicBezTo>
                  <a:cubicBezTo>
                    <a:pt x="1647" y="7349"/>
                    <a:pt x="1647" y="7349"/>
                    <a:pt x="1647" y="7349"/>
                  </a:cubicBezTo>
                  <a:cubicBezTo>
                    <a:pt x="1652" y="7345"/>
                    <a:pt x="1673" y="7317"/>
                    <a:pt x="1698" y="7281"/>
                  </a:cubicBezTo>
                  <a:cubicBezTo>
                    <a:pt x="1698" y="7284"/>
                    <a:pt x="1698" y="7284"/>
                    <a:pt x="1698" y="7284"/>
                  </a:cubicBezTo>
                  <a:cubicBezTo>
                    <a:pt x="1716" y="7259"/>
                    <a:pt x="1716" y="7259"/>
                    <a:pt x="1716" y="7259"/>
                  </a:cubicBezTo>
                  <a:cubicBezTo>
                    <a:pt x="1753" y="7205"/>
                    <a:pt x="1796" y="7135"/>
                    <a:pt x="1835" y="7079"/>
                  </a:cubicBezTo>
                  <a:cubicBezTo>
                    <a:pt x="1857" y="7046"/>
                    <a:pt x="1877" y="7017"/>
                    <a:pt x="1893" y="6995"/>
                  </a:cubicBezTo>
                  <a:cubicBezTo>
                    <a:pt x="1901" y="6985"/>
                    <a:pt x="1907" y="6977"/>
                    <a:pt x="1912" y="6970"/>
                  </a:cubicBezTo>
                  <a:close/>
                  <a:moveTo>
                    <a:pt x="1941" y="6987"/>
                  </a:moveTo>
                  <a:cubicBezTo>
                    <a:pt x="1941" y="6987"/>
                    <a:pt x="1941" y="6987"/>
                    <a:pt x="1941" y="6987"/>
                  </a:cubicBezTo>
                  <a:cubicBezTo>
                    <a:pt x="1941" y="6988"/>
                    <a:pt x="1941" y="6988"/>
                    <a:pt x="1941" y="6988"/>
                  </a:cubicBezTo>
                  <a:cubicBezTo>
                    <a:pt x="1941" y="6988"/>
                    <a:pt x="1941" y="6988"/>
                    <a:pt x="1941" y="6988"/>
                  </a:cubicBezTo>
                  <a:lnTo>
                    <a:pt x="1941" y="6987"/>
                  </a:lnTo>
                  <a:close/>
                  <a:moveTo>
                    <a:pt x="3510" y="7220"/>
                  </a:moveTo>
                  <a:cubicBezTo>
                    <a:pt x="3472" y="7183"/>
                    <a:pt x="3433" y="7149"/>
                    <a:pt x="3399" y="7125"/>
                  </a:cubicBezTo>
                  <a:cubicBezTo>
                    <a:pt x="3282" y="7042"/>
                    <a:pt x="3176" y="6981"/>
                    <a:pt x="3090" y="6895"/>
                  </a:cubicBezTo>
                  <a:cubicBezTo>
                    <a:pt x="3014" y="6819"/>
                    <a:pt x="2973" y="6714"/>
                    <a:pt x="2973" y="6641"/>
                  </a:cubicBezTo>
                  <a:cubicBezTo>
                    <a:pt x="2973" y="6631"/>
                    <a:pt x="2974" y="6621"/>
                    <a:pt x="2976" y="6611"/>
                  </a:cubicBezTo>
                  <a:cubicBezTo>
                    <a:pt x="2979" y="6599"/>
                    <a:pt x="2988" y="6578"/>
                    <a:pt x="3005" y="6542"/>
                  </a:cubicBezTo>
                  <a:cubicBezTo>
                    <a:pt x="3109" y="6316"/>
                    <a:pt x="3472" y="5609"/>
                    <a:pt x="3527" y="5503"/>
                  </a:cubicBezTo>
                  <a:cubicBezTo>
                    <a:pt x="2950" y="5058"/>
                    <a:pt x="2950" y="5058"/>
                    <a:pt x="2950" y="5058"/>
                  </a:cubicBezTo>
                  <a:cubicBezTo>
                    <a:pt x="2454" y="4901"/>
                    <a:pt x="2454" y="4901"/>
                    <a:pt x="2454" y="4901"/>
                  </a:cubicBezTo>
                  <a:cubicBezTo>
                    <a:pt x="1466" y="6666"/>
                    <a:pt x="1466" y="6666"/>
                    <a:pt x="1466" y="6666"/>
                  </a:cubicBezTo>
                  <a:cubicBezTo>
                    <a:pt x="1504" y="6688"/>
                    <a:pt x="1608" y="6750"/>
                    <a:pt x="1719" y="6815"/>
                  </a:cubicBezTo>
                  <a:cubicBezTo>
                    <a:pt x="1857" y="6897"/>
                    <a:pt x="2006" y="6983"/>
                    <a:pt x="2042" y="7003"/>
                  </a:cubicBezTo>
                  <a:cubicBezTo>
                    <a:pt x="2120" y="7044"/>
                    <a:pt x="2364" y="7227"/>
                    <a:pt x="2451" y="7289"/>
                  </a:cubicBezTo>
                  <a:cubicBezTo>
                    <a:pt x="2540" y="7351"/>
                    <a:pt x="2651" y="7444"/>
                    <a:pt x="2816" y="7465"/>
                  </a:cubicBezTo>
                  <a:cubicBezTo>
                    <a:pt x="2828" y="7467"/>
                    <a:pt x="2840" y="7467"/>
                    <a:pt x="2852" y="7467"/>
                  </a:cubicBezTo>
                  <a:cubicBezTo>
                    <a:pt x="3000" y="7468"/>
                    <a:pt x="3142" y="7355"/>
                    <a:pt x="3220" y="7302"/>
                  </a:cubicBezTo>
                  <a:cubicBezTo>
                    <a:pt x="3266" y="7270"/>
                    <a:pt x="3346" y="7250"/>
                    <a:pt x="3415" y="7236"/>
                  </a:cubicBezTo>
                  <a:cubicBezTo>
                    <a:pt x="3452" y="7228"/>
                    <a:pt x="3486" y="7223"/>
                    <a:pt x="3510" y="7220"/>
                  </a:cubicBezTo>
                  <a:close/>
                  <a:moveTo>
                    <a:pt x="3896" y="7597"/>
                  </a:moveTo>
                  <a:cubicBezTo>
                    <a:pt x="3897" y="7598"/>
                    <a:pt x="3897" y="7598"/>
                    <a:pt x="3897" y="7598"/>
                  </a:cubicBezTo>
                  <a:cubicBezTo>
                    <a:pt x="3898" y="7600"/>
                    <a:pt x="3904" y="7610"/>
                    <a:pt x="3907" y="7629"/>
                  </a:cubicBezTo>
                  <a:cubicBezTo>
                    <a:pt x="3909" y="7639"/>
                    <a:pt x="3910" y="7651"/>
                    <a:pt x="3911" y="7661"/>
                  </a:cubicBezTo>
                  <a:cubicBezTo>
                    <a:pt x="4044" y="7603"/>
                    <a:pt x="4044" y="7603"/>
                    <a:pt x="4044" y="7603"/>
                  </a:cubicBezTo>
                  <a:cubicBezTo>
                    <a:pt x="4154" y="7549"/>
                    <a:pt x="4154" y="7549"/>
                    <a:pt x="4154" y="7549"/>
                  </a:cubicBezTo>
                  <a:cubicBezTo>
                    <a:pt x="4152" y="7545"/>
                    <a:pt x="4152" y="7545"/>
                    <a:pt x="4152" y="7545"/>
                  </a:cubicBezTo>
                  <a:cubicBezTo>
                    <a:pt x="4173" y="7540"/>
                    <a:pt x="4173" y="7540"/>
                    <a:pt x="4173" y="7540"/>
                  </a:cubicBezTo>
                  <a:cubicBezTo>
                    <a:pt x="4206" y="7523"/>
                    <a:pt x="4206" y="7523"/>
                    <a:pt x="4206" y="7523"/>
                  </a:cubicBezTo>
                  <a:cubicBezTo>
                    <a:pt x="4206" y="7523"/>
                    <a:pt x="4206" y="7523"/>
                    <a:pt x="4206" y="7523"/>
                  </a:cubicBezTo>
                  <a:cubicBezTo>
                    <a:pt x="4211" y="7520"/>
                    <a:pt x="4218" y="7517"/>
                    <a:pt x="4227" y="7512"/>
                  </a:cubicBezTo>
                  <a:cubicBezTo>
                    <a:pt x="4235" y="7507"/>
                    <a:pt x="4235" y="7507"/>
                    <a:pt x="4235" y="7507"/>
                  </a:cubicBezTo>
                  <a:cubicBezTo>
                    <a:pt x="4278" y="7486"/>
                    <a:pt x="4322" y="7459"/>
                    <a:pt x="4353" y="7430"/>
                  </a:cubicBezTo>
                  <a:cubicBezTo>
                    <a:pt x="4412" y="7377"/>
                    <a:pt x="4484" y="7189"/>
                    <a:pt x="4514" y="6959"/>
                  </a:cubicBezTo>
                  <a:cubicBezTo>
                    <a:pt x="4544" y="6728"/>
                    <a:pt x="4791" y="5548"/>
                    <a:pt x="4799" y="5512"/>
                  </a:cubicBezTo>
                  <a:cubicBezTo>
                    <a:pt x="4799" y="5508"/>
                    <a:pt x="4803" y="5477"/>
                    <a:pt x="4803" y="5431"/>
                  </a:cubicBezTo>
                  <a:cubicBezTo>
                    <a:pt x="4803" y="5366"/>
                    <a:pt x="4795" y="5273"/>
                    <a:pt x="4762" y="5189"/>
                  </a:cubicBezTo>
                  <a:cubicBezTo>
                    <a:pt x="4729" y="5105"/>
                    <a:pt x="4672" y="5031"/>
                    <a:pt x="4570" y="4998"/>
                  </a:cubicBezTo>
                  <a:cubicBezTo>
                    <a:pt x="4273" y="4902"/>
                    <a:pt x="3896" y="4805"/>
                    <a:pt x="3647" y="4757"/>
                  </a:cubicBezTo>
                  <a:cubicBezTo>
                    <a:pt x="3481" y="4725"/>
                    <a:pt x="3373" y="4695"/>
                    <a:pt x="3289" y="4695"/>
                  </a:cubicBezTo>
                  <a:cubicBezTo>
                    <a:pt x="3246" y="4696"/>
                    <a:pt x="3209" y="4703"/>
                    <a:pt x="3172" y="4721"/>
                  </a:cubicBezTo>
                  <a:cubicBezTo>
                    <a:pt x="3058" y="4776"/>
                    <a:pt x="3023" y="4849"/>
                    <a:pt x="3001" y="4900"/>
                  </a:cubicBezTo>
                  <a:cubicBezTo>
                    <a:pt x="2983" y="4944"/>
                    <a:pt x="2959" y="5003"/>
                    <a:pt x="2951" y="5021"/>
                  </a:cubicBezTo>
                  <a:cubicBezTo>
                    <a:pt x="2967" y="5026"/>
                    <a:pt x="2967" y="5026"/>
                    <a:pt x="2967" y="5026"/>
                  </a:cubicBezTo>
                  <a:cubicBezTo>
                    <a:pt x="3573" y="5493"/>
                    <a:pt x="3573" y="5493"/>
                    <a:pt x="3573" y="5493"/>
                  </a:cubicBezTo>
                  <a:cubicBezTo>
                    <a:pt x="3566" y="5506"/>
                    <a:pt x="3566" y="5506"/>
                    <a:pt x="3566" y="5506"/>
                  </a:cubicBezTo>
                  <a:cubicBezTo>
                    <a:pt x="3566" y="5506"/>
                    <a:pt x="3430" y="5770"/>
                    <a:pt x="3293" y="6042"/>
                  </a:cubicBezTo>
                  <a:cubicBezTo>
                    <a:pt x="3224" y="6177"/>
                    <a:pt x="3155" y="6315"/>
                    <a:pt x="3102" y="6423"/>
                  </a:cubicBezTo>
                  <a:cubicBezTo>
                    <a:pt x="3076" y="6476"/>
                    <a:pt x="3053" y="6523"/>
                    <a:pt x="3037" y="6557"/>
                  </a:cubicBezTo>
                  <a:cubicBezTo>
                    <a:pt x="3021" y="6591"/>
                    <a:pt x="3011" y="6616"/>
                    <a:pt x="3011" y="6619"/>
                  </a:cubicBezTo>
                  <a:cubicBezTo>
                    <a:pt x="3010" y="6625"/>
                    <a:pt x="3009" y="6633"/>
                    <a:pt x="3009" y="6641"/>
                  </a:cubicBezTo>
                  <a:cubicBezTo>
                    <a:pt x="3008" y="6700"/>
                    <a:pt x="3046" y="6801"/>
                    <a:pt x="3116" y="6870"/>
                  </a:cubicBezTo>
                  <a:cubicBezTo>
                    <a:pt x="3197" y="6951"/>
                    <a:pt x="3301" y="7012"/>
                    <a:pt x="3420" y="7096"/>
                  </a:cubicBezTo>
                  <a:cubicBezTo>
                    <a:pt x="3542" y="7182"/>
                    <a:pt x="3708" y="7379"/>
                    <a:pt x="3708" y="7379"/>
                  </a:cubicBezTo>
                  <a:cubicBezTo>
                    <a:pt x="3708" y="7379"/>
                    <a:pt x="3708" y="7379"/>
                    <a:pt x="3708" y="7379"/>
                  </a:cubicBezTo>
                  <a:lnTo>
                    <a:pt x="3896" y="7597"/>
                  </a:lnTo>
                  <a:close/>
                  <a:moveTo>
                    <a:pt x="3937" y="7897"/>
                  </a:moveTo>
                  <a:cubicBezTo>
                    <a:pt x="3939" y="7896"/>
                    <a:pt x="3939" y="7896"/>
                    <a:pt x="3939" y="7896"/>
                  </a:cubicBezTo>
                  <a:cubicBezTo>
                    <a:pt x="3938" y="7900"/>
                    <a:pt x="3938" y="7900"/>
                    <a:pt x="3938" y="7900"/>
                  </a:cubicBezTo>
                  <a:cubicBezTo>
                    <a:pt x="3942" y="7930"/>
                    <a:pt x="3950" y="7959"/>
                    <a:pt x="3960" y="7984"/>
                  </a:cubicBezTo>
                  <a:cubicBezTo>
                    <a:pt x="3965" y="7996"/>
                    <a:pt x="3970" y="8007"/>
                    <a:pt x="3974" y="8015"/>
                  </a:cubicBezTo>
                  <a:cubicBezTo>
                    <a:pt x="3975" y="8019"/>
                    <a:pt x="3977" y="8022"/>
                    <a:pt x="3978" y="8025"/>
                  </a:cubicBezTo>
                  <a:cubicBezTo>
                    <a:pt x="3979" y="8026"/>
                    <a:pt x="3979" y="8027"/>
                    <a:pt x="3980" y="8028"/>
                  </a:cubicBezTo>
                  <a:cubicBezTo>
                    <a:pt x="3987" y="8044"/>
                    <a:pt x="3987" y="8044"/>
                    <a:pt x="3987" y="8044"/>
                  </a:cubicBezTo>
                  <a:cubicBezTo>
                    <a:pt x="4015" y="8040"/>
                    <a:pt x="4042" y="8038"/>
                    <a:pt x="4069" y="8038"/>
                  </a:cubicBezTo>
                  <a:cubicBezTo>
                    <a:pt x="4157" y="8039"/>
                    <a:pt x="4244" y="8053"/>
                    <a:pt x="4348" y="8053"/>
                  </a:cubicBezTo>
                  <a:cubicBezTo>
                    <a:pt x="4374" y="8053"/>
                    <a:pt x="4401" y="8052"/>
                    <a:pt x="4430" y="8050"/>
                  </a:cubicBezTo>
                  <a:cubicBezTo>
                    <a:pt x="4530" y="8042"/>
                    <a:pt x="4700" y="8014"/>
                    <a:pt x="4844" y="7987"/>
                  </a:cubicBezTo>
                  <a:cubicBezTo>
                    <a:pt x="4987" y="7960"/>
                    <a:pt x="5105" y="7935"/>
                    <a:pt x="5105" y="7935"/>
                  </a:cubicBezTo>
                  <a:cubicBezTo>
                    <a:pt x="5113" y="7933"/>
                    <a:pt x="5113" y="7933"/>
                    <a:pt x="5113" y="7933"/>
                  </a:cubicBezTo>
                  <a:cubicBezTo>
                    <a:pt x="5121" y="7934"/>
                    <a:pt x="5121" y="7934"/>
                    <a:pt x="5121" y="7934"/>
                  </a:cubicBezTo>
                  <a:cubicBezTo>
                    <a:pt x="5122" y="7934"/>
                    <a:pt x="5477" y="7959"/>
                    <a:pt x="5840" y="7985"/>
                  </a:cubicBezTo>
                  <a:cubicBezTo>
                    <a:pt x="6047" y="8000"/>
                    <a:pt x="6256" y="8015"/>
                    <a:pt x="6401" y="8025"/>
                  </a:cubicBezTo>
                  <a:cubicBezTo>
                    <a:pt x="6407" y="8004"/>
                    <a:pt x="6413" y="7982"/>
                    <a:pt x="6419" y="7960"/>
                  </a:cubicBezTo>
                  <a:cubicBezTo>
                    <a:pt x="6440" y="7882"/>
                    <a:pt x="6466" y="7797"/>
                    <a:pt x="6520" y="7724"/>
                  </a:cubicBezTo>
                  <a:cubicBezTo>
                    <a:pt x="6549" y="7684"/>
                    <a:pt x="6574" y="7650"/>
                    <a:pt x="6607" y="7618"/>
                  </a:cubicBezTo>
                  <a:cubicBezTo>
                    <a:pt x="6657" y="7571"/>
                    <a:pt x="6721" y="7538"/>
                    <a:pt x="6818" y="7511"/>
                  </a:cubicBezTo>
                  <a:cubicBezTo>
                    <a:pt x="6915" y="7482"/>
                    <a:pt x="7051" y="7455"/>
                    <a:pt x="7263" y="7414"/>
                  </a:cubicBezTo>
                  <a:cubicBezTo>
                    <a:pt x="7812" y="7308"/>
                    <a:pt x="8100" y="7044"/>
                    <a:pt x="8216" y="6844"/>
                  </a:cubicBezTo>
                  <a:cubicBezTo>
                    <a:pt x="8243" y="6801"/>
                    <a:pt x="8264" y="6685"/>
                    <a:pt x="8263" y="6536"/>
                  </a:cubicBezTo>
                  <a:cubicBezTo>
                    <a:pt x="8263" y="6513"/>
                    <a:pt x="8263" y="6488"/>
                    <a:pt x="8262" y="6463"/>
                  </a:cubicBezTo>
                  <a:cubicBezTo>
                    <a:pt x="8066" y="6440"/>
                    <a:pt x="7811" y="6411"/>
                    <a:pt x="7595" y="6387"/>
                  </a:cubicBezTo>
                  <a:cubicBezTo>
                    <a:pt x="7397" y="6365"/>
                    <a:pt x="7233" y="6347"/>
                    <a:pt x="7181" y="6341"/>
                  </a:cubicBezTo>
                  <a:cubicBezTo>
                    <a:pt x="7023" y="7432"/>
                    <a:pt x="7023" y="7432"/>
                    <a:pt x="7023" y="7432"/>
                  </a:cubicBezTo>
                  <a:cubicBezTo>
                    <a:pt x="6987" y="7427"/>
                    <a:pt x="6987" y="7427"/>
                    <a:pt x="6987" y="7427"/>
                  </a:cubicBezTo>
                  <a:cubicBezTo>
                    <a:pt x="7145" y="6337"/>
                    <a:pt x="7145" y="6337"/>
                    <a:pt x="7145" y="6337"/>
                  </a:cubicBezTo>
                  <a:cubicBezTo>
                    <a:pt x="5936" y="6193"/>
                    <a:pt x="5936" y="6193"/>
                    <a:pt x="5936" y="6193"/>
                  </a:cubicBezTo>
                  <a:cubicBezTo>
                    <a:pt x="5733" y="7363"/>
                    <a:pt x="5733" y="7363"/>
                    <a:pt x="5733" y="7363"/>
                  </a:cubicBezTo>
                  <a:cubicBezTo>
                    <a:pt x="5697" y="7357"/>
                    <a:pt x="5697" y="7357"/>
                    <a:pt x="5697" y="7357"/>
                  </a:cubicBezTo>
                  <a:cubicBezTo>
                    <a:pt x="5900" y="6187"/>
                    <a:pt x="5900" y="6187"/>
                    <a:pt x="5900" y="6187"/>
                  </a:cubicBezTo>
                  <a:cubicBezTo>
                    <a:pt x="4743" y="5971"/>
                    <a:pt x="4743" y="5971"/>
                    <a:pt x="4743" y="5971"/>
                  </a:cubicBezTo>
                  <a:cubicBezTo>
                    <a:pt x="4750" y="5936"/>
                    <a:pt x="4750" y="5936"/>
                    <a:pt x="4750" y="5936"/>
                  </a:cubicBezTo>
                  <a:cubicBezTo>
                    <a:pt x="5906" y="6151"/>
                    <a:pt x="5906" y="6151"/>
                    <a:pt x="5906" y="6151"/>
                  </a:cubicBezTo>
                  <a:cubicBezTo>
                    <a:pt x="6122" y="4855"/>
                    <a:pt x="6122" y="4855"/>
                    <a:pt x="6122" y="4855"/>
                  </a:cubicBezTo>
                  <a:cubicBezTo>
                    <a:pt x="6122" y="4855"/>
                    <a:pt x="6132" y="4796"/>
                    <a:pt x="6132" y="4714"/>
                  </a:cubicBezTo>
                  <a:cubicBezTo>
                    <a:pt x="6132" y="4565"/>
                    <a:pt x="6100" y="4344"/>
                    <a:pt x="5938" y="4256"/>
                  </a:cubicBezTo>
                  <a:cubicBezTo>
                    <a:pt x="5669" y="4105"/>
                    <a:pt x="5559" y="3978"/>
                    <a:pt x="5379" y="3901"/>
                  </a:cubicBezTo>
                  <a:cubicBezTo>
                    <a:pt x="5197" y="3823"/>
                    <a:pt x="4956" y="3758"/>
                    <a:pt x="4755" y="3705"/>
                  </a:cubicBezTo>
                  <a:cubicBezTo>
                    <a:pt x="4629" y="3672"/>
                    <a:pt x="4466" y="3619"/>
                    <a:pt x="4284" y="3555"/>
                  </a:cubicBezTo>
                  <a:cubicBezTo>
                    <a:pt x="4279" y="3565"/>
                    <a:pt x="4268" y="3587"/>
                    <a:pt x="4256" y="3615"/>
                  </a:cubicBezTo>
                  <a:cubicBezTo>
                    <a:pt x="4213" y="3713"/>
                    <a:pt x="4141" y="3881"/>
                    <a:pt x="4129" y="3910"/>
                  </a:cubicBezTo>
                  <a:cubicBezTo>
                    <a:pt x="4131" y="3937"/>
                    <a:pt x="4143" y="4089"/>
                    <a:pt x="4143" y="4235"/>
                  </a:cubicBezTo>
                  <a:cubicBezTo>
                    <a:pt x="4143" y="4316"/>
                    <a:pt x="4139" y="4396"/>
                    <a:pt x="4129" y="4453"/>
                  </a:cubicBezTo>
                  <a:cubicBezTo>
                    <a:pt x="4102" y="4599"/>
                    <a:pt x="4040" y="4761"/>
                    <a:pt x="4023" y="4805"/>
                  </a:cubicBezTo>
                  <a:cubicBezTo>
                    <a:pt x="4209" y="4851"/>
                    <a:pt x="4408" y="4907"/>
                    <a:pt x="4581" y="4963"/>
                  </a:cubicBezTo>
                  <a:cubicBezTo>
                    <a:pt x="4695" y="5000"/>
                    <a:pt x="4760" y="5085"/>
                    <a:pt x="4796" y="5176"/>
                  </a:cubicBezTo>
                  <a:cubicBezTo>
                    <a:pt x="4831" y="5267"/>
                    <a:pt x="4839" y="5364"/>
                    <a:pt x="4839" y="5431"/>
                  </a:cubicBezTo>
                  <a:cubicBezTo>
                    <a:pt x="4839" y="5483"/>
                    <a:pt x="4834" y="5517"/>
                    <a:pt x="4834" y="5518"/>
                  </a:cubicBezTo>
                  <a:cubicBezTo>
                    <a:pt x="4834" y="5518"/>
                    <a:pt x="4834" y="5518"/>
                    <a:pt x="4834" y="5518"/>
                  </a:cubicBezTo>
                  <a:cubicBezTo>
                    <a:pt x="4834" y="5519"/>
                    <a:pt x="4834" y="5519"/>
                    <a:pt x="4834" y="5519"/>
                  </a:cubicBezTo>
                  <a:cubicBezTo>
                    <a:pt x="4834" y="5520"/>
                    <a:pt x="4771" y="5822"/>
                    <a:pt x="4703" y="6155"/>
                  </a:cubicBezTo>
                  <a:cubicBezTo>
                    <a:pt x="4636" y="6487"/>
                    <a:pt x="4565" y="6849"/>
                    <a:pt x="4550" y="6964"/>
                  </a:cubicBezTo>
                  <a:cubicBezTo>
                    <a:pt x="4518" y="7199"/>
                    <a:pt x="4450" y="7388"/>
                    <a:pt x="4377" y="7457"/>
                  </a:cubicBezTo>
                  <a:cubicBezTo>
                    <a:pt x="4331" y="7500"/>
                    <a:pt x="4258" y="7539"/>
                    <a:pt x="4213" y="7561"/>
                  </a:cubicBezTo>
                  <a:cubicBezTo>
                    <a:pt x="4213" y="7561"/>
                    <a:pt x="4213" y="7561"/>
                    <a:pt x="4213" y="7561"/>
                  </a:cubicBezTo>
                  <a:cubicBezTo>
                    <a:pt x="4060" y="7637"/>
                    <a:pt x="4060" y="7637"/>
                    <a:pt x="4060" y="7637"/>
                  </a:cubicBezTo>
                  <a:cubicBezTo>
                    <a:pt x="3914" y="7701"/>
                    <a:pt x="3914" y="7701"/>
                    <a:pt x="3914" y="7701"/>
                  </a:cubicBezTo>
                  <a:cubicBezTo>
                    <a:pt x="3914" y="7757"/>
                    <a:pt x="3932" y="7866"/>
                    <a:pt x="3937" y="7897"/>
                  </a:cubicBezTo>
                  <a:close/>
                  <a:moveTo>
                    <a:pt x="3779" y="8265"/>
                  </a:moveTo>
                  <a:cubicBezTo>
                    <a:pt x="3788" y="8296"/>
                    <a:pt x="3788" y="8296"/>
                    <a:pt x="3788" y="8296"/>
                  </a:cubicBezTo>
                  <a:cubicBezTo>
                    <a:pt x="3796" y="8316"/>
                    <a:pt x="3796" y="8316"/>
                    <a:pt x="3796" y="8316"/>
                  </a:cubicBezTo>
                  <a:cubicBezTo>
                    <a:pt x="3960" y="8238"/>
                    <a:pt x="4152" y="8193"/>
                    <a:pt x="4346" y="8168"/>
                  </a:cubicBezTo>
                  <a:cubicBezTo>
                    <a:pt x="4233" y="8167"/>
                    <a:pt x="4143" y="8153"/>
                    <a:pt x="4069" y="8153"/>
                  </a:cubicBezTo>
                  <a:cubicBezTo>
                    <a:pt x="4033" y="8153"/>
                    <a:pt x="4001" y="8156"/>
                    <a:pt x="3970" y="8165"/>
                  </a:cubicBezTo>
                  <a:cubicBezTo>
                    <a:pt x="3912" y="8180"/>
                    <a:pt x="3853" y="8213"/>
                    <a:pt x="3804" y="8247"/>
                  </a:cubicBezTo>
                  <a:cubicBezTo>
                    <a:pt x="3795" y="8253"/>
                    <a:pt x="3787" y="8259"/>
                    <a:pt x="3779" y="8265"/>
                  </a:cubicBezTo>
                  <a:close/>
                  <a:moveTo>
                    <a:pt x="500" y="10043"/>
                  </a:moveTo>
                  <a:cubicBezTo>
                    <a:pt x="505" y="10043"/>
                    <a:pt x="509" y="10045"/>
                    <a:pt x="513" y="10048"/>
                  </a:cubicBezTo>
                  <a:cubicBezTo>
                    <a:pt x="513" y="10049"/>
                    <a:pt x="514" y="10050"/>
                    <a:pt x="515" y="10051"/>
                  </a:cubicBezTo>
                  <a:cubicBezTo>
                    <a:pt x="516" y="10053"/>
                    <a:pt x="523" y="10060"/>
                    <a:pt x="533" y="10072"/>
                  </a:cubicBezTo>
                  <a:cubicBezTo>
                    <a:pt x="599" y="10034"/>
                    <a:pt x="600" y="10034"/>
                    <a:pt x="607" y="10029"/>
                  </a:cubicBezTo>
                  <a:cubicBezTo>
                    <a:pt x="608" y="10029"/>
                    <a:pt x="608" y="10029"/>
                    <a:pt x="608" y="10029"/>
                  </a:cubicBezTo>
                  <a:cubicBezTo>
                    <a:pt x="609" y="10028"/>
                    <a:pt x="609" y="10028"/>
                    <a:pt x="609" y="10028"/>
                  </a:cubicBezTo>
                  <a:cubicBezTo>
                    <a:pt x="609" y="10028"/>
                    <a:pt x="1446" y="9585"/>
                    <a:pt x="2275" y="9138"/>
                  </a:cubicBezTo>
                  <a:cubicBezTo>
                    <a:pt x="2920" y="8790"/>
                    <a:pt x="3567" y="8432"/>
                    <a:pt x="3764" y="8332"/>
                  </a:cubicBezTo>
                  <a:cubicBezTo>
                    <a:pt x="3748" y="8295"/>
                    <a:pt x="3748" y="8295"/>
                    <a:pt x="3748" y="8295"/>
                  </a:cubicBezTo>
                  <a:cubicBezTo>
                    <a:pt x="3747" y="8294"/>
                    <a:pt x="3745" y="8292"/>
                    <a:pt x="3744" y="8291"/>
                  </a:cubicBezTo>
                  <a:cubicBezTo>
                    <a:pt x="3723" y="8307"/>
                    <a:pt x="3706" y="8321"/>
                    <a:pt x="3693" y="8331"/>
                  </a:cubicBezTo>
                  <a:cubicBezTo>
                    <a:pt x="3684" y="8337"/>
                    <a:pt x="3678" y="8340"/>
                    <a:pt x="3664" y="8348"/>
                  </a:cubicBezTo>
                  <a:cubicBezTo>
                    <a:pt x="3491" y="8446"/>
                    <a:pt x="2449" y="8993"/>
                    <a:pt x="2263" y="9094"/>
                  </a:cubicBezTo>
                  <a:cubicBezTo>
                    <a:pt x="2263" y="9094"/>
                    <a:pt x="2263" y="9094"/>
                    <a:pt x="2263" y="9094"/>
                  </a:cubicBezTo>
                  <a:cubicBezTo>
                    <a:pt x="2261" y="9095"/>
                    <a:pt x="2261" y="9095"/>
                    <a:pt x="2261" y="9095"/>
                  </a:cubicBezTo>
                  <a:cubicBezTo>
                    <a:pt x="2244" y="9104"/>
                    <a:pt x="2234" y="9110"/>
                    <a:pt x="2235" y="9110"/>
                  </a:cubicBezTo>
                  <a:cubicBezTo>
                    <a:pt x="2234" y="9109"/>
                    <a:pt x="2234" y="9109"/>
                    <a:pt x="2234" y="9109"/>
                  </a:cubicBezTo>
                  <a:cubicBezTo>
                    <a:pt x="1341" y="9592"/>
                    <a:pt x="1341" y="9592"/>
                    <a:pt x="1341" y="9592"/>
                  </a:cubicBezTo>
                  <a:cubicBezTo>
                    <a:pt x="507" y="10039"/>
                    <a:pt x="507" y="10039"/>
                    <a:pt x="507" y="10039"/>
                  </a:cubicBezTo>
                  <a:cubicBezTo>
                    <a:pt x="506" y="10039"/>
                    <a:pt x="506" y="10039"/>
                    <a:pt x="506" y="10039"/>
                  </a:cubicBezTo>
                  <a:cubicBezTo>
                    <a:pt x="506" y="10039"/>
                    <a:pt x="503" y="10041"/>
                    <a:pt x="500" y="10043"/>
                  </a:cubicBezTo>
                  <a:close/>
                  <a:moveTo>
                    <a:pt x="499" y="10091"/>
                  </a:moveTo>
                  <a:cubicBezTo>
                    <a:pt x="498" y="10089"/>
                    <a:pt x="496" y="10087"/>
                    <a:pt x="494" y="10085"/>
                  </a:cubicBezTo>
                  <a:cubicBezTo>
                    <a:pt x="491" y="10081"/>
                    <a:pt x="489" y="10078"/>
                    <a:pt x="487" y="10076"/>
                  </a:cubicBezTo>
                  <a:cubicBezTo>
                    <a:pt x="486" y="10075"/>
                    <a:pt x="486" y="10075"/>
                    <a:pt x="485" y="10074"/>
                  </a:cubicBezTo>
                  <a:cubicBezTo>
                    <a:pt x="485" y="10073"/>
                    <a:pt x="484" y="10073"/>
                    <a:pt x="484" y="10073"/>
                  </a:cubicBezTo>
                  <a:cubicBezTo>
                    <a:pt x="484" y="10072"/>
                    <a:pt x="484" y="10072"/>
                    <a:pt x="483" y="10071"/>
                  </a:cubicBezTo>
                  <a:cubicBezTo>
                    <a:pt x="483" y="10071"/>
                    <a:pt x="483" y="10071"/>
                    <a:pt x="482" y="10070"/>
                  </a:cubicBezTo>
                  <a:cubicBezTo>
                    <a:pt x="482" y="10068"/>
                    <a:pt x="481" y="10068"/>
                    <a:pt x="480" y="10061"/>
                  </a:cubicBezTo>
                  <a:cubicBezTo>
                    <a:pt x="480" y="10059"/>
                    <a:pt x="481" y="10058"/>
                    <a:pt x="481" y="10056"/>
                  </a:cubicBezTo>
                  <a:cubicBezTo>
                    <a:pt x="482" y="10054"/>
                    <a:pt x="483" y="10053"/>
                    <a:pt x="484" y="10051"/>
                  </a:cubicBezTo>
                  <a:cubicBezTo>
                    <a:pt x="477" y="10055"/>
                    <a:pt x="471" y="10058"/>
                    <a:pt x="466" y="10062"/>
                  </a:cubicBezTo>
                  <a:cubicBezTo>
                    <a:pt x="454" y="10069"/>
                    <a:pt x="441" y="10079"/>
                    <a:pt x="433" y="10086"/>
                  </a:cubicBezTo>
                  <a:cubicBezTo>
                    <a:pt x="460" y="10093"/>
                    <a:pt x="479" y="10098"/>
                    <a:pt x="483" y="10100"/>
                  </a:cubicBezTo>
                  <a:cubicBezTo>
                    <a:pt x="489" y="10096"/>
                    <a:pt x="494" y="10094"/>
                    <a:pt x="499" y="10091"/>
                  </a:cubicBezTo>
                  <a:close/>
                  <a:moveTo>
                    <a:pt x="1345" y="11012"/>
                  </a:moveTo>
                  <a:cubicBezTo>
                    <a:pt x="1354" y="11007"/>
                    <a:pt x="1403" y="10982"/>
                    <a:pt x="1457" y="10956"/>
                  </a:cubicBezTo>
                  <a:cubicBezTo>
                    <a:pt x="1424" y="10919"/>
                    <a:pt x="1318" y="10804"/>
                    <a:pt x="1272" y="10749"/>
                  </a:cubicBezTo>
                  <a:cubicBezTo>
                    <a:pt x="1216" y="10684"/>
                    <a:pt x="1194" y="10643"/>
                    <a:pt x="1166" y="10595"/>
                  </a:cubicBezTo>
                  <a:cubicBezTo>
                    <a:pt x="1139" y="10550"/>
                    <a:pt x="919" y="10161"/>
                    <a:pt x="876" y="10086"/>
                  </a:cubicBezTo>
                  <a:cubicBezTo>
                    <a:pt x="910" y="10068"/>
                    <a:pt x="910" y="10068"/>
                    <a:pt x="910" y="10068"/>
                  </a:cubicBezTo>
                  <a:cubicBezTo>
                    <a:pt x="928" y="10100"/>
                    <a:pt x="991" y="10211"/>
                    <a:pt x="1041" y="10299"/>
                  </a:cubicBezTo>
                  <a:cubicBezTo>
                    <a:pt x="1111" y="10422"/>
                    <a:pt x="1184" y="10552"/>
                    <a:pt x="1198" y="10576"/>
                  </a:cubicBezTo>
                  <a:cubicBezTo>
                    <a:pt x="1227" y="10625"/>
                    <a:pt x="1247" y="10661"/>
                    <a:pt x="1301" y="10725"/>
                  </a:cubicBezTo>
                  <a:cubicBezTo>
                    <a:pt x="1351" y="10784"/>
                    <a:pt x="1473" y="10917"/>
                    <a:pt x="1493" y="10939"/>
                  </a:cubicBezTo>
                  <a:cubicBezTo>
                    <a:pt x="1510" y="10930"/>
                    <a:pt x="1527" y="10923"/>
                    <a:pt x="1543" y="10916"/>
                  </a:cubicBezTo>
                  <a:cubicBezTo>
                    <a:pt x="1626" y="10879"/>
                    <a:pt x="1860" y="10784"/>
                    <a:pt x="1966" y="10761"/>
                  </a:cubicBezTo>
                  <a:cubicBezTo>
                    <a:pt x="2029" y="10747"/>
                    <a:pt x="2108" y="10740"/>
                    <a:pt x="2211" y="10740"/>
                  </a:cubicBezTo>
                  <a:cubicBezTo>
                    <a:pt x="2282" y="10740"/>
                    <a:pt x="2365" y="10743"/>
                    <a:pt x="2462" y="10749"/>
                  </a:cubicBezTo>
                  <a:cubicBezTo>
                    <a:pt x="2677" y="10761"/>
                    <a:pt x="2849" y="10801"/>
                    <a:pt x="2883" y="10809"/>
                  </a:cubicBezTo>
                  <a:cubicBezTo>
                    <a:pt x="2892" y="10801"/>
                    <a:pt x="2898" y="10797"/>
                    <a:pt x="2898" y="10796"/>
                  </a:cubicBezTo>
                  <a:cubicBezTo>
                    <a:pt x="2899" y="10798"/>
                    <a:pt x="2899" y="10798"/>
                    <a:pt x="2899" y="10798"/>
                  </a:cubicBezTo>
                  <a:cubicBezTo>
                    <a:pt x="2954" y="10751"/>
                    <a:pt x="3010" y="10715"/>
                    <a:pt x="3066" y="10691"/>
                  </a:cubicBezTo>
                  <a:cubicBezTo>
                    <a:pt x="3098" y="10676"/>
                    <a:pt x="3127" y="10665"/>
                    <a:pt x="3148" y="10658"/>
                  </a:cubicBezTo>
                  <a:cubicBezTo>
                    <a:pt x="3158" y="10654"/>
                    <a:pt x="3166" y="10651"/>
                    <a:pt x="3171" y="10649"/>
                  </a:cubicBezTo>
                  <a:cubicBezTo>
                    <a:pt x="3172" y="10648"/>
                    <a:pt x="3172" y="10648"/>
                    <a:pt x="3173" y="10648"/>
                  </a:cubicBezTo>
                  <a:cubicBezTo>
                    <a:pt x="3174" y="10647"/>
                    <a:pt x="3175" y="10647"/>
                    <a:pt x="3175" y="10646"/>
                  </a:cubicBezTo>
                  <a:cubicBezTo>
                    <a:pt x="3180" y="10643"/>
                    <a:pt x="3181" y="10643"/>
                    <a:pt x="3184" y="10641"/>
                  </a:cubicBezTo>
                  <a:cubicBezTo>
                    <a:pt x="3250" y="10614"/>
                    <a:pt x="3982" y="10373"/>
                    <a:pt x="4587" y="10215"/>
                  </a:cubicBezTo>
                  <a:cubicBezTo>
                    <a:pt x="4156" y="9274"/>
                    <a:pt x="4156" y="9274"/>
                    <a:pt x="4156" y="9274"/>
                  </a:cubicBezTo>
                  <a:cubicBezTo>
                    <a:pt x="4042" y="9000"/>
                    <a:pt x="4042" y="9000"/>
                    <a:pt x="4042" y="9000"/>
                  </a:cubicBezTo>
                  <a:cubicBezTo>
                    <a:pt x="4037" y="8999"/>
                    <a:pt x="4032" y="8999"/>
                    <a:pt x="4027" y="8998"/>
                  </a:cubicBezTo>
                  <a:cubicBezTo>
                    <a:pt x="3981" y="9010"/>
                    <a:pt x="3863" y="9041"/>
                    <a:pt x="3749" y="9077"/>
                  </a:cubicBezTo>
                  <a:cubicBezTo>
                    <a:pt x="3608" y="9121"/>
                    <a:pt x="3537" y="9173"/>
                    <a:pt x="3497" y="9225"/>
                  </a:cubicBezTo>
                  <a:cubicBezTo>
                    <a:pt x="3457" y="9277"/>
                    <a:pt x="3448" y="9331"/>
                    <a:pt x="3433" y="9385"/>
                  </a:cubicBezTo>
                  <a:cubicBezTo>
                    <a:pt x="3405" y="9489"/>
                    <a:pt x="3396" y="9713"/>
                    <a:pt x="3306" y="9839"/>
                  </a:cubicBezTo>
                  <a:cubicBezTo>
                    <a:pt x="3262" y="9900"/>
                    <a:pt x="3238" y="9923"/>
                    <a:pt x="3190" y="9949"/>
                  </a:cubicBezTo>
                  <a:cubicBezTo>
                    <a:pt x="3141" y="9975"/>
                    <a:pt x="3069" y="10006"/>
                    <a:pt x="2919" y="10089"/>
                  </a:cubicBezTo>
                  <a:cubicBezTo>
                    <a:pt x="2755" y="10180"/>
                    <a:pt x="2583" y="10199"/>
                    <a:pt x="2465" y="10199"/>
                  </a:cubicBezTo>
                  <a:cubicBezTo>
                    <a:pt x="2405" y="10199"/>
                    <a:pt x="2362" y="10193"/>
                    <a:pt x="2339" y="10189"/>
                  </a:cubicBezTo>
                  <a:cubicBezTo>
                    <a:pt x="2339" y="10189"/>
                    <a:pt x="2339" y="10189"/>
                    <a:pt x="2339" y="10189"/>
                  </a:cubicBezTo>
                  <a:cubicBezTo>
                    <a:pt x="2339" y="10189"/>
                    <a:pt x="2336" y="10188"/>
                    <a:pt x="2332" y="10187"/>
                  </a:cubicBezTo>
                  <a:cubicBezTo>
                    <a:pt x="2223" y="10732"/>
                    <a:pt x="2223" y="10732"/>
                    <a:pt x="2223" y="10732"/>
                  </a:cubicBezTo>
                  <a:cubicBezTo>
                    <a:pt x="2199" y="10727"/>
                    <a:pt x="2199" y="10727"/>
                    <a:pt x="2199" y="10727"/>
                  </a:cubicBezTo>
                  <a:cubicBezTo>
                    <a:pt x="2308" y="10183"/>
                    <a:pt x="2308" y="10183"/>
                    <a:pt x="2308" y="10183"/>
                  </a:cubicBezTo>
                  <a:cubicBezTo>
                    <a:pt x="2268" y="10175"/>
                    <a:pt x="2196" y="10158"/>
                    <a:pt x="2146" y="10138"/>
                  </a:cubicBezTo>
                  <a:cubicBezTo>
                    <a:pt x="2077" y="10109"/>
                    <a:pt x="2018" y="10049"/>
                    <a:pt x="1999" y="10029"/>
                  </a:cubicBezTo>
                  <a:cubicBezTo>
                    <a:pt x="1634" y="10183"/>
                    <a:pt x="1634" y="10183"/>
                    <a:pt x="1634" y="10183"/>
                  </a:cubicBezTo>
                  <a:cubicBezTo>
                    <a:pt x="1632" y="10221"/>
                    <a:pt x="1616" y="10383"/>
                    <a:pt x="1616" y="10383"/>
                  </a:cubicBezTo>
                  <a:cubicBezTo>
                    <a:pt x="1592" y="10381"/>
                    <a:pt x="1592" y="10381"/>
                    <a:pt x="1592" y="10381"/>
                  </a:cubicBezTo>
                  <a:cubicBezTo>
                    <a:pt x="1592" y="10381"/>
                    <a:pt x="1592" y="10381"/>
                    <a:pt x="1592" y="10381"/>
                  </a:cubicBezTo>
                  <a:cubicBezTo>
                    <a:pt x="1592" y="10381"/>
                    <a:pt x="1608" y="10212"/>
                    <a:pt x="1610" y="10180"/>
                  </a:cubicBezTo>
                  <a:cubicBezTo>
                    <a:pt x="1351" y="9960"/>
                    <a:pt x="1351" y="9960"/>
                    <a:pt x="1351" y="9960"/>
                  </a:cubicBezTo>
                  <a:cubicBezTo>
                    <a:pt x="1366" y="9941"/>
                    <a:pt x="1366" y="9941"/>
                    <a:pt x="1366" y="9941"/>
                  </a:cubicBezTo>
                  <a:cubicBezTo>
                    <a:pt x="1624" y="10160"/>
                    <a:pt x="1624" y="10160"/>
                    <a:pt x="1624" y="10160"/>
                  </a:cubicBezTo>
                  <a:cubicBezTo>
                    <a:pt x="2006" y="9999"/>
                    <a:pt x="2006" y="9999"/>
                    <a:pt x="2006" y="9999"/>
                  </a:cubicBezTo>
                  <a:cubicBezTo>
                    <a:pt x="2012" y="10006"/>
                    <a:pt x="2012" y="10006"/>
                    <a:pt x="2012" y="10006"/>
                  </a:cubicBezTo>
                  <a:cubicBezTo>
                    <a:pt x="2012" y="10006"/>
                    <a:pt x="2029" y="10025"/>
                    <a:pt x="2055" y="10049"/>
                  </a:cubicBezTo>
                  <a:cubicBezTo>
                    <a:pt x="2082" y="10072"/>
                    <a:pt x="2118" y="10100"/>
                    <a:pt x="2155" y="10115"/>
                  </a:cubicBezTo>
                  <a:cubicBezTo>
                    <a:pt x="2210" y="10138"/>
                    <a:pt x="2298" y="10156"/>
                    <a:pt x="2334" y="10163"/>
                  </a:cubicBezTo>
                  <a:cubicBezTo>
                    <a:pt x="2336" y="10163"/>
                    <a:pt x="2336" y="10163"/>
                    <a:pt x="2336" y="10163"/>
                  </a:cubicBezTo>
                  <a:cubicBezTo>
                    <a:pt x="2335" y="10162"/>
                    <a:pt x="2376" y="10173"/>
                    <a:pt x="2465" y="10173"/>
                  </a:cubicBezTo>
                  <a:cubicBezTo>
                    <a:pt x="2580" y="10173"/>
                    <a:pt x="2748" y="10154"/>
                    <a:pt x="2906" y="10066"/>
                  </a:cubicBezTo>
                  <a:cubicBezTo>
                    <a:pt x="3056" y="9983"/>
                    <a:pt x="3131" y="9951"/>
                    <a:pt x="3177" y="9926"/>
                  </a:cubicBezTo>
                  <a:cubicBezTo>
                    <a:pt x="3223" y="9901"/>
                    <a:pt x="3241" y="9884"/>
                    <a:pt x="3284" y="9824"/>
                  </a:cubicBezTo>
                  <a:cubicBezTo>
                    <a:pt x="3368" y="9708"/>
                    <a:pt x="3379" y="9487"/>
                    <a:pt x="3408" y="9378"/>
                  </a:cubicBezTo>
                  <a:cubicBezTo>
                    <a:pt x="3422" y="9326"/>
                    <a:pt x="3432" y="9266"/>
                    <a:pt x="3476" y="9209"/>
                  </a:cubicBezTo>
                  <a:cubicBezTo>
                    <a:pt x="3520" y="9151"/>
                    <a:pt x="3597" y="9097"/>
                    <a:pt x="3741" y="9052"/>
                  </a:cubicBezTo>
                  <a:cubicBezTo>
                    <a:pt x="3845" y="9019"/>
                    <a:pt x="3952" y="8990"/>
                    <a:pt x="4006" y="8976"/>
                  </a:cubicBezTo>
                  <a:cubicBezTo>
                    <a:pt x="4010" y="8972"/>
                    <a:pt x="4018" y="8967"/>
                    <a:pt x="4025" y="8961"/>
                  </a:cubicBezTo>
                  <a:cubicBezTo>
                    <a:pt x="3817" y="8461"/>
                    <a:pt x="3817" y="8461"/>
                    <a:pt x="3817" y="8461"/>
                  </a:cubicBezTo>
                  <a:cubicBezTo>
                    <a:pt x="3589" y="8577"/>
                    <a:pt x="2829" y="8978"/>
                    <a:pt x="2114" y="9364"/>
                  </a:cubicBezTo>
                  <a:cubicBezTo>
                    <a:pt x="2092" y="9385"/>
                    <a:pt x="2092" y="9385"/>
                    <a:pt x="2092" y="9385"/>
                  </a:cubicBezTo>
                  <a:cubicBezTo>
                    <a:pt x="1721" y="9585"/>
                    <a:pt x="1380" y="9769"/>
                    <a:pt x="1114" y="9913"/>
                  </a:cubicBezTo>
                  <a:cubicBezTo>
                    <a:pt x="859" y="10051"/>
                    <a:pt x="690" y="10142"/>
                    <a:pt x="676" y="10150"/>
                  </a:cubicBezTo>
                  <a:cubicBezTo>
                    <a:pt x="672" y="10153"/>
                    <a:pt x="652" y="10164"/>
                    <a:pt x="626" y="10180"/>
                  </a:cubicBezTo>
                  <a:cubicBezTo>
                    <a:pt x="634" y="10190"/>
                    <a:pt x="643" y="10201"/>
                    <a:pt x="653" y="10211"/>
                  </a:cubicBezTo>
                  <a:cubicBezTo>
                    <a:pt x="773" y="10351"/>
                    <a:pt x="949" y="10555"/>
                    <a:pt x="1096" y="10724"/>
                  </a:cubicBezTo>
                  <a:cubicBezTo>
                    <a:pt x="1212" y="10859"/>
                    <a:pt x="1310" y="10971"/>
                    <a:pt x="1345" y="11012"/>
                  </a:cubicBezTo>
                  <a:close/>
                  <a:moveTo>
                    <a:pt x="2284" y="11733"/>
                  </a:moveTo>
                  <a:cubicBezTo>
                    <a:pt x="2322" y="11633"/>
                    <a:pt x="2382" y="11499"/>
                    <a:pt x="2449" y="11371"/>
                  </a:cubicBezTo>
                  <a:cubicBezTo>
                    <a:pt x="2484" y="11305"/>
                    <a:pt x="2514" y="11255"/>
                    <a:pt x="2545" y="11207"/>
                  </a:cubicBezTo>
                  <a:cubicBezTo>
                    <a:pt x="2574" y="11161"/>
                    <a:pt x="2605" y="11116"/>
                    <a:pt x="2642" y="11067"/>
                  </a:cubicBezTo>
                  <a:cubicBezTo>
                    <a:pt x="2624" y="11067"/>
                    <a:pt x="2600" y="11067"/>
                    <a:pt x="2575" y="11067"/>
                  </a:cubicBezTo>
                  <a:cubicBezTo>
                    <a:pt x="2527" y="11067"/>
                    <a:pt x="2482" y="11067"/>
                    <a:pt x="2482" y="11067"/>
                  </a:cubicBezTo>
                  <a:cubicBezTo>
                    <a:pt x="2482" y="11042"/>
                    <a:pt x="2482" y="11042"/>
                    <a:pt x="2482" y="11042"/>
                  </a:cubicBezTo>
                  <a:cubicBezTo>
                    <a:pt x="2482" y="11042"/>
                    <a:pt x="2527" y="11042"/>
                    <a:pt x="2575" y="11042"/>
                  </a:cubicBezTo>
                  <a:cubicBezTo>
                    <a:pt x="2599" y="11042"/>
                    <a:pt x="2622" y="11042"/>
                    <a:pt x="2640" y="11042"/>
                  </a:cubicBezTo>
                  <a:cubicBezTo>
                    <a:pt x="2649" y="11042"/>
                    <a:pt x="2656" y="11042"/>
                    <a:pt x="2661" y="11042"/>
                  </a:cubicBezTo>
                  <a:cubicBezTo>
                    <a:pt x="2666" y="11036"/>
                    <a:pt x="2670" y="11030"/>
                    <a:pt x="2675" y="11024"/>
                  </a:cubicBezTo>
                  <a:cubicBezTo>
                    <a:pt x="2734" y="10949"/>
                    <a:pt x="2804" y="10882"/>
                    <a:pt x="2849" y="10840"/>
                  </a:cubicBezTo>
                  <a:cubicBezTo>
                    <a:pt x="2830" y="10835"/>
                    <a:pt x="2797" y="10828"/>
                    <a:pt x="2754" y="10821"/>
                  </a:cubicBezTo>
                  <a:cubicBezTo>
                    <a:pt x="2681" y="10808"/>
                    <a:pt x="2578" y="10793"/>
                    <a:pt x="2460" y="10786"/>
                  </a:cubicBezTo>
                  <a:cubicBezTo>
                    <a:pt x="2363" y="10781"/>
                    <a:pt x="2281" y="10778"/>
                    <a:pt x="2211" y="10778"/>
                  </a:cubicBezTo>
                  <a:cubicBezTo>
                    <a:pt x="2109" y="10778"/>
                    <a:pt x="2033" y="10784"/>
                    <a:pt x="1974" y="10797"/>
                  </a:cubicBezTo>
                  <a:cubicBezTo>
                    <a:pt x="1875" y="10819"/>
                    <a:pt x="1638" y="10914"/>
                    <a:pt x="1558" y="10950"/>
                  </a:cubicBezTo>
                  <a:cubicBezTo>
                    <a:pt x="1518" y="10968"/>
                    <a:pt x="1469" y="10992"/>
                    <a:pt x="1430" y="11011"/>
                  </a:cubicBezTo>
                  <a:cubicBezTo>
                    <a:pt x="1410" y="11021"/>
                    <a:pt x="1393" y="11030"/>
                    <a:pt x="1380" y="11036"/>
                  </a:cubicBezTo>
                  <a:cubicBezTo>
                    <a:pt x="1376" y="11038"/>
                    <a:pt x="1373" y="11040"/>
                    <a:pt x="1370" y="11041"/>
                  </a:cubicBezTo>
                  <a:cubicBezTo>
                    <a:pt x="1826" y="11565"/>
                    <a:pt x="1826" y="11565"/>
                    <a:pt x="1826" y="11565"/>
                  </a:cubicBezTo>
                  <a:cubicBezTo>
                    <a:pt x="1829" y="11568"/>
                    <a:pt x="1849" y="11587"/>
                    <a:pt x="1881" y="11612"/>
                  </a:cubicBezTo>
                  <a:cubicBezTo>
                    <a:pt x="1915" y="11639"/>
                    <a:pt x="1963" y="11671"/>
                    <a:pt x="2014" y="11693"/>
                  </a:cubicBezTo>
                  <a:cubicBezTo>
                    <a:pt x="2097" y="11729"/>
                    <a:pt x="2190" y="11732"/>
                    <a:pt x="2227" y="11732"/>
                  </a:cubicBezTo>
                  <a:cubicBezTo>
                    <a:pt x="2245" y="11732"/>
                    <a:pt x="2266" y="11733"/>
                    <a:pt x="2284" y="11733"/>
                  </a:cubicBezTo>
                  <a:close/>
                  <a:moveTo>
                    <a:pt x="2002" y="12300"/>
                  </a:moveTo>
                  <a:cubicBezTo>
                    <a:pt x="2112" y="12309"/>
                    <a:pt x="2319" y="12329"/>
                    <a:pt x="2319" y="12329"/>
                  </a:cubicBezTo>
                  <a:cubicBezTo>
                    <a:pt x="2328" y="12330"/>
                    <a:pt x="2328" y="12330"/>
                    <a:pt x="2328" y="12330"/>
                  </a:cubicBezTo>
                  <a:cubicBezTo>
                    <a:pt x="2378" y="12335"/>
                    <a:pt x="2473" y="12345"/>
                    <a:pt x="2628" y="12360"/>
                  </a:cubicBezTo>
                  <a:cubicBezTo>
                    <a:pt x="2870" y="12384"/>
                    <a:pt x="3004" y="12429"/>
                    <a:pt x="3152" y="12474"/>
                  </a:cubicBezTo>
                  <a:cubicBezTo>
                    <a:pt x="3304" y="12519"/>
                    <a:pt x="3481" y="12643"/>
                    <a:pt x="3558" y="12718"/>
                  </a:cubicBezTo>
                  <a:cubicBezTo>
                    <a:pt x="3575" y="12734"/>
                    <a:pt x="3590" y="12752"/>
                    <a:pt x="3603" y="12769"/>
                  </a:cubicBezTo>
                  <a:cubicBezTo>
                    <a:pt x="3614" y="12767"/>
                    <a:pt x="3666" y="12752"/>
                    <a:pt x="3718" y="12735"/>
                  </a:cubicBezTo>
                  <a:cubicBezTo>
                    <a:pt x="3774" y="12717"/>
                    <a:pt x="3838" y="12692"/>
                    <a:pt x="3872" y="12665"/>
                  </a:cubicBezTo>
                  <a:cubicBezTo>
                    <a:pt x="3789" y="12391"/>
                    <a:pt x="3789" y="12391"/>
                    <a:pt x="3789" y="12391"/>
                  </a:cubicBezTo>
                  <a:cubicBezTo>
                    <a:pt x="3593" y="12192"/>
                    <a:pt x="3593" y="12192"/>
                    <a:pt x="3593" y="12192"/>
                  </a:cubicBezTo>
                  <a:cubicBezTo>
                    <a:pt x="3375" y="11916"/>
                    <a:pt x="3375" y="11916"/>
                    <a:pt x="3375" y="11916"/>
                  </a:cubicBezTo>
                  <a:cubicBezTo>
                    <a:pt x="3232" y="11843"/>
                    <a:pt x="3232" y="11843"/>
                    <a:pt x="3232" y="11843"/>
                  </a:cubicBezTo>
                  <a:cubicBezTo>
                    <a:pt x="2885" y="11722"/>
                    <a:pt x="2885" y="11722"/>
                    <a:pt x="2885" y="11722"/>
                  </a:cubicBezTo>
                  <a:cubicBezTo>
                    <a:pt x="2785" y="11610"/>
                    <a:pt x="2785" y="11610"/>
                    <a:pt x="2785" y="11610"/>
                  </a:cubicBezTo>
                  <a:cubicBezTo>
                    <a:pt x="2694" y="11699"/>
                    <a:pt x="2694" y="11699"/>
                    <a:pt x="2694" y="11699"/>
                  </a:cubicBezTo>
                  <a:cubicBezTo>
                    <a:pt x="2513" y="11752"/>
                    <a:pt x="2513" y="11752"/>
                    <a:pt x="2513" y="11752"/>
                  </a:cubicBezTo>
                  <a:cubicBezTo>
                    <a:pt x="2313" y="11767"/>
                    <a:pt x="2313" y="11767"/>
                    <a:pt x="2313" y="11767"/>
                  </a:cubicBezTo>
                  <a:cubicBezTo>
                    <a:pt x="2313" y="11766"/>
                    <a:pt x="2313" y="11766"/>
                    <a:pt x="2313" y="11766"/>
                  </a:cubicBezTo>
                  <a:cubicBezTo>
                    <a:pt x="2313" y="11766"/>
                    <a:pt x="2313" y="11766"/>
                    <a:pt x="2312" y="11766"/>
                  </a:cubicBezTo>
                  <a:cubicBezTo>
                    <a:pt x="2309" y="11775"/>
                    <a:pt x="2306" y="11785"/>
                    <a:pt x="2303" y="11793"/>
                  </a:cubicBezTo>
                  <a:cubicBezTo>
                    <a:pt x="2285" y="11843"/>
                    <a:pt x="2276" y="11872"/>
                    <a:pt x="2272" y="11889"/>
                  </a:cubicBezTo>
                  <a:cubicBezTo>
                    <a:pt x="2269" y="11897"/>
                    <a:pt x="2268" y="11902"/>
                    <a:pt x="2268" y="11905"/>
                  </a:cubicBezTo>
                  <a:cubicBezTo>
                    <a:pt x="2267" y="11906"/>
                    <a:pt x="2267" y="11907"/>
                    <a:pt x="2267" y="11908"/>
                  </a:cubicBezTo>
                  <a:cubicBezTo>
                    <a:pt x="2267" y="11912"/>
                    <a:pt x="2267" y="11912"/>
                    <a:pt x="2267" y="11912"/>
                  </a:cubicBezTo>
                  <a:cubicBezTo>
                    <a:pt x="2265" y="11915"/>
                    <a:pt x="2265" y="11915"/>
                    <a:pt x="2265" y="11915"/>
                  </a:cubicBezTo>
                  <a:cubicBezTo>
                    <a:pt x="2264" y="11915"/>
                    <a:pt x="2172" y="12072"/>
                    <a:pt x="2053" y="12230"/>
                  </a:cubicBezTo>
                  <a:cubicBezTo>
                    <a:pt x="2037" y="12251"/>
                    <a:pt x="2020" y="12276"/>
                    <a:pt x="2002" y="12300"/>
                  </a:cubicBezTo>
                  <a:close/>
                  <a:moveTo>
                    <a:pt x="650" y="11742"/>
                  </a:moveTo>
                  <a:cubicBezTo>
                    <a:pt x="676" y="11778"/>
                    <a:pt x="700" y="11812"/>
                    <a:pt x="722" y="11843"/>
                  </a:cubicBezTo>
                  <a:cubicBezTo>
                    <a:pt x="767" y="11905"/>
                    <a:pt x="804" y="11958"/>
                    <a:pt x="831" y="11995"/>
                  </a:cubicBezTo>
                  <a:cubicBezTo>
                    <a:pt x="844" y="12013"/>
                    <a:pt x="854" y="12028"/>
                    <a:pt x="861" y="12038"/>
                  </a:cubicBezTo>
                  <a:cubicBezTo>
                    <a:pt x="865" y="12043"/>
                    <a:pt x="868" y="12047"/>
                    <a:pt x="870" y="12049"/>
                  </a:cubicBezTo>
                  <a:cubicBezTo>
                    <a:pt x="871" y="12051"/>
                    <a:pt x="871" y="12052"/>
                    <a:pt x="872" y="12053"/>
                  </a:cubicBezTo>
                  <a:cubicBezTo>
                    <a:pt x="872" y="12053"/>
                    <a:pt x="872" y="12053"/>
                    <a:pt x="873" y="12054"/>
                  </a:cubicBezTo>
                  <a:cubicBezTo>
                    <a:pt x="873" y="12054"/>
                    <a:pt x="873" y="12055"/>
                    <a:pt x="873" y="12055"/>
                  </a:cubicBezTo>
                  <a:cubicBezTo>
                    <a:pt x="874" y="12056"/>
                    <a:pt x="874" y="12056"/>
                    <a:pt x="875" y="12058"/>
                  </a:cubicBezTo>
                  <a:cubicBezTo>
                    <a:pt x="1344" y="12723"/>
                    <a:pt x="1344" y="12723"/>
                    <a:pt x="1344" y="12723"/>
                  </a:cubicBezTo>
                  <a:cubicBezTo>
                    <a:pt x="1527" y="12813"/>
                    <a:pt x="1527" y="12813"/>
                    <a:pt x="1527" y="12813"/>
                  </a:cubicBezTo>
                  <a:cubicBezTo>
                    <a:pt x="1558" y="12776"/>
                    <a:pt x="1685" y="12627"/>
                    <a:pt x="1804" y="12484"/>
                  </a:cubicBezTo>
                  <a:cubicBezTo>
                    <a:pt x="1853" y="12426"/>
                    <a:pt x="1899" y="12367"/>
                    <a:pt x="1938" y="12319"/>
                  </a:cubicBezTo>
                  <a:cubicBezTo>
                    <a:pt x="1914" y="12313"/>
                    <a:pt x="1881" y="12308"/>
                    <a:pt x="1840" y="12299"/>
                  </a:cubicBezTo>
                  <a:cubicBezTo>
                    <a:pt x="1735" y="12273"/>
                    <a:pt x="1593" y="12231"/>
                    <a:pt x="1510" y="12175"/>
                  </a:cubicBezTo>
                  <a:cubicBezTo>
                    <a:pt x="1395" y="12100"/>
                    <a:pt x="1378" y="12026"/>
                    <a:pt x="1368" y="11992"/>
                  </a:cubicBezTo>
                  <a:cubicBezTo>
                    <a:pt x="1358" y="11957"/>
                    <a:pt x="1332" y="11852"/>
                    <a:pt x="1314" y="11788"/>
                  </a:cubicBezTo>
                  <a:cubicBezTo>
                    <a:pt x="1298" y="11728"/>
                    <a:pt x="1236" y="11627"/>
                    <a:pt x="1185" y="11573"/>
                  </a:cubicBezTo>
                  <a:cubicBezTo>
                    <a:pt x="1135" y="11518"/>
                    <a:pt x="1017" y="11421"/>
                    <a:pt x="970" y="11393"/>
                  </a:cubicBezTo>
                  <a:cubicBezTo>
                    <a:pt x="955" y="11383"/>
                    <a:pt x="934" y="11371"/>
                    <a:pt x="909" y="11357"/>
                  </a:cubicBezTo>
                  <a:cubicBezTo>
                    <a:pt x="902" y="11404"/>
                    <a:pt x="876" y="11535"/>
                    <a:pt x="813" y="11616"/>
                  </a:cubicBezTo>
                  <a:cubicBezTo>
                    <a:pt x="775" y="11664"/>
                    <a:pt x="739" y="11694"/>
                    <a:pt x="712" y="11713"/>
                  </a:cubicBezTo>
                  <a:cubicBezTo>
                    <a:pt x="698" y="11722"/>
                    <a:pt x="686" y="11728"/>
                    <a:pt x="678" y="11732"/>
                  </a:cubicBezTo>
                  <a:cubicBezTo>
                    <a:pt x="669" y="11736"/>
                    <a:pt x="665" y="11738"/>
                    <a:pt x="650" y="11742"/>
                  </a:cubicBezTo>
                  <a:close/>
                  <a:moveTo>
                    <a:pt x="611" y="12760"/>
                  </a:moveTo>
                  <a:cubicBezTo>
                    <a:pt x="633" y="12803"/>
                    <a:pt x="647" y="12838"/>
                    <a:pt x="656" y="12868"/>
                  </a:cubicBezTo>
                  <a:cubicBezTo>
                    <a:pt x="685" y="12861"/>
                    <a:pt x="751" y="12846"/>
                    <a:pt x="819" y="12831"/>
                  </a:cubicBezTo>
                  <a:cubicBezTo>
                    <a:pt x="862" y="12822"/>
                    <a:pt x="905" y="12812"/>
                    <a:pt x="937" y="12805"/>
                  </a:cubicBezTo>
                  <a:cubicBezTo>
                    <a:pt x="953" y="12802"/>
                    <a:pt x="967" y="12799"/>
                    <a:pt x="977" y="12797"/>
                  </a:cubicBezTo>
                  <a:cubicBezTo>
                    <a:pt x="982" y="12796"/>
                    <a:pt x="986" y="12795"/>
                    <a:pt x="989" y="12794"/>
                  </a:cubicBezTo>
                  <a:cubicBezTo>
                    <a:pt x="992" y="12794"/>
                    <a:pt x="993" y="12794"/>
                    <a:pt x="995" y="12793"/>
                  </a:cubicBezTo>
                  <a:cubicBezTo>
                    <a:pt x="1060" y="12779"/>
                    <a:pt x="1232" y="12741"/>
                    <a:pt x="1299" y="12726"/>
                  </a:cubicBezTo>
                  <a:cubicBezTo>
                    <a:pt x="830" y="12057"/>
                    <a:pt x="830" y="12057"/>
                    <a:pt x="830" y="12057"/>
                  </a:cubicBezTo>
                  <a:cubicBezTo>
                    <a:pt x="831" y="12057"/>
                    <a:pt x="831" y="12057"/>
                    <a:pt x="831" y="12057"/>
                  </a:cubicBezTo>
                  <a:cubicBezTo>
                    <a:pt x="802" y="12016"/>
                    <a:pt x="721" y="11904"/>
                    <a:pt x="621" y="11763"/>
                  </a:cubicBezTo>
                  <a:cubicBezTo>
                    <a:pt x="608" y="11764"/>
                    <a:pt x="608" y="11764"/>
                    <a:pt x="608" y="11764"/>
                  </a:cubicBezTo>
                  <a:cubicBezTo>
                    <a:pt x="144" y="11989"/>
                    <a:pt x="144" y="11989"/>
                    <a:pt x="144" y="11989"/>
                  </a:cubicBezTo>
                  <a:cubicBezTo>
                    <a:pt x="106" y="12151"/>
                    <a:pt x="106" y="12151"/>
                    <a:pt x="106" y="12151"/>
                  </a:cubicBezTo>
                  <a:cubicBezTo>
                    <a:pt x="134" y="12158"/>
                    <a:pt x="161" y="12167"/>
                    <a:pt x="181" y="12179"/>
                  </a:cubicBezTo>
                  <a:cubicBezTo>
                    <a:pt x="213" y="12198"/>
                    <a:pt x="255" y="12244"/>
                    <a:pt x="296" y="12295"/>
                  </a:cubicBezTo>
                  <a:cubicBezTo>
                    <a:pt x="337" y="12344"/>
                    <a:pt x="376" y="12398"/>
                    <a:pt x="398" y="12428"/>
                  </a:cubicBezTo>
                  <a:cubicBezTo>
                    <a:pt x="441" y="12489"/>
                    <a:pt x="564" y="12670"/>
                    <a:pt x="611" y="12760"/>
                  </a:cubicBezTo>
                  <a:close/>
                  <a:moveTo>
                    <a:pt x="1124" y="14031"/>
                  </a:moveTo>
                  <a:cubicBezTo>
                    <a:pt x="1127" y="14027"/>
                    <a:pt x="1130" y="14024"/>
                    <a:pt x="1132" y="14022"/>
                  </a:cubicBezTo>
                  <a:cubicBezTo>
                    <a:pt x="1133" y="14021"/>
                    <a:pt x="1134" y="14020"/>
                    <a:pt x="1134" y="14020"/>
                  </a:cubicBezTo>
                  <a:cubicBezTo>
                    <a:pt x="1134" y="14019"/>
                    <a:pt x="1134" y="14019"/>
                    <a:pt x="1134" y="14019"/>
                  </a:cubicBezTo>
                  <a:cubicBezTo>
                    <a:pt x="1143" y="14006"/>
                    <a:pt x="1255" y="13863"/>
                    <a:pt x="1255" y="13862"/>
                  </a:cubicBezTo>
                  <a:cubicBezTo>
                    <a:pt x="1441" y="13607"/>
                    <a:pt x="1441" y="13607"/>
                    <a:pt x="1441" y="13607"/>
                  </a:cubicBezTo>
                  <a:cubicBezTo>
                    <a:pt x="1154" y="13358"/>
                    <a:pt x="1154" y="13358"/>
                    <a:pt x="1154" y="13358"/>
                  </a:cubicBezTo>
                  <a:cubicBezTo>
                    <a:pt x="1153" y="13359"/>
                    <a:pt x="1153" y="13359"/>
                    <a:pt x="1153" y="13359"/>
                  </a:cubicBezTo>
                  <a:cubicBezTo>
                    <a:pt x="1153" y="13359"/>
                    <a:pt x="1153" y="13359"/>
                    <a:pt x="1153" y="13359"/>
                  </a:cubicBezTo>
                  <a:cubicBezTo>
                    <a:pt x="1121" y="13329"/>
                    <a:pt x="1121" y="13329"/>
                    <a:pt x="1121" y="13329"/>
                  </a:cubicBezTo>
                  <a:cubicBezTo>
                    <a:pt x="1113" y="13322"/>
                    <a:pt x="1113" y="13322"/>
                    <a:pt x="1113" y="13322"/>
                  </a:cubicBezTo>
                  <a:cubicBezTo>
                    <a:pt x="1113" y="13322"/>
                    <a:pt x="1113" y="13322"/>
                    <a:pt x="1113" y="13322"/>
                  </a:cubicBezTo>
                  <a:cubicBezTo>
                    <a:pt x="1014" y="13231"/>
                    <a:pt x="1014" y="13231"/>
                    <a:pt x="1014" y="13231"/>
                  </a:cubicBezTo>
                  <a:cubicBezTo>
                    <a:pt x="663" y="13235"/>
                    <a:pt x="663" y="13235"/>
                    <a:pt x="663" y="13235"/>
                  </a:cubicBezTo>
                  <a:cubicBezTo>
                    <a:pt x="663" y="13235"/>
                    <a:pt x="663" y="13235"/>
                    <a:pt x="663" y="13235"/>
                  </a:cubicBezTo>
                  <a:cubicBezTo>
                    <a:pt x="659" y="13294"/>
                    <a:pt x="654" y="13346"/>
                    <a:pt x="648" y="13374"/>
                  </a:cubicBezTo>
                  <a:cubicBezTo>
                    <a:pt x="630" y="13449"/>
                    <a:pt x="607" y="13580"/>
                    <a:pt x="602" y="13610"/>
                  </a:cubicBezTo>
                  <a:cubicBezTo>
                    <a:pt x="602" y="13611"/>
                    <a:pt x="602" y="13614"/>
                    <a:pt x="602" y="13616"/>
                  </a:cubicBezTo>
                  <a:cubicBezTo>
                    <a:pt x="601" y="13642"/>
                    <a:pt x="621" y="13695"/>
                    <a:pt x="643" y="13723"/>
                  </a:cubicBezTo>
                  <a:cubicBezTo>
                    <a:pt x="647" y="13726"/>
                    <a:pt x="659" y="13736"/>
                    <a:pt x="675" y="13746"/>
                  </a:cubicBezTo>
                  <a:cubicBezTo>
                    <a:pt x="700" y="13763"/>
                    <a:pt x="760" y="13803"/>
                    <a:pt x="790" y="13821"/>
                  </a:cubicBezTo>
                  <a:cubicBezTo>
                    <a:pt x="796" y="13825"/>
                    <a:pt x="796" y="13825"/>
                    <a:pt x="796" y="13825"/>
                  </a:cubicBezTo>
                  <a:cubicBezTo>
                    <a:pt x="811" y="13834"/>
                    <a:pt x="814" y="13836"/>
                    <a:pt x="824" y="13842"/>
                  </a:cubicBezTo>
                  <a:cubicBezTo>
                    <a:pt x="825" y="13842"/>
                    <a:pt x="825" y="13842"/>
                    <a:pt x="825" y="13842"/>
                  </a:cubicBezTo>
                  <a:lnTo>
                    <a:pt x="1124" y="14031"/>
                  </a:lnTo>
                  <a:close/>
                  <a:moveTo>
                    <a:pt x="725" y="14519"/>
                  </a:moveTo>
                  <a:cubicBezTo>
                    <a:pt x="1088" y="14792"/>
                    <a:pt x="1088" y="14792"/>
                    <a:pt x="1088" y="14792"/>
                  </a:cubicBezTo>
                  <a:cubicBezTo>
                    <a:pt x="1089" y="14791"/>
                    <a:pt x="1089" y="14791"/>
                    <a:pt x="1089" y="14791"/>
                  </a:cubicBezTo>
                  <a:cubicBezTo>
                    <a:pt x="1090" y="14794"/>
                    <a:pt x="1090" y="14794"/>
                    <a:pt x="1090" y="14794"/>
                  </a:cubicBezTo>
                  <a:cubicBezTo>
                    <a:pt x="1091" y="14794"/>
                    <a:pt x="1311" y="14958"/>
                    <a:pt x="1554" y="15141"/>
                  </a:cubicBezTo>
                  <a:cubicBezTo>
                    <a:pt x="1792" y="15319"/>
                    <a:pt x="2049" y="15513"/>
                    <a:pt x="2144" y="15583"/>
                  </a:cubicBezTo>
                  <a:cubicBezTo>
                    <a:pt x="2161" y="15578"/>
                    <a:pt x="2203" y="15566"/>
                    <a:pt x="2298" y="15546"/>
                  </a:cubicBezTo>
                  <a:cubicBezTo>
                    <a:pt x="2362" y="15532"/>
                    <a:pt x="2429" y="15505"/>
                    <a:pt x="2481" y="15481"/>
                  </a:cubicBezTo>
                  <a:cubicBezTo>
                    <a:pt x="2526" y="15460"/>
                    <a:pt x="2558" y="15442"/>
                    <a:pt x="2566" y="15438"/>
                  </a:cubicBezTo>
                  <a:cubicBezTo>
                    <a:pt x="2591" y="15414"/>
                    <a:pt x="2729" y="15277"/>
                    <a:pt x="2869" y="15154"/>
                  </a:cubicBezTo>
                  <a:cubicBezTo>
                    <a:pt x="2962" y="15073"/>
                    <a:pt x="3058" y="15005"/>
                    <a:pt x="3111" y="14958"/>
                  </a:cubicBezTo>
                  <a:cubicBezTo>
                    <a:pt x="3246" y="14838"/>
                    <a:pt x="3381" y="14822"/>
                    <a:pt x="3397" y="14820"/>
                  </a:cubicBezTo>
                  <a:cubicBezTo>
                    <a:pt x="3478" y="14800"/>
                    <a:pt x="3606" y="14795"/>
                    <a:pt x="3716" y="14795"/>
                  </a:cubicBezTo>
                  <a:cubicBezTo>
                    <a:pt x="3809" y="14795"/>
                    <a:pt x="3887" y="14799"/>
                    <a:pt x="3912" y="14800"/>
                  </a:cubicBezTo>
                  <a:cubicBezTo>
                    <a:pt x="4286" y="14313"/>
                    <a:pt x="4286" y="14313"/>
                    <a:pt x="4286" y="14313"/>
                  </a:cubicBezTo>
                  <a:cubicBezTo>
                    <a:pt x="1911" y="13451"/>
                    <a:pt x="1911" y="13451"/>
                    <a:pt x="1911" y="13451"/>
                  </a:cubicBezTo>
                  <a:cubicBezTo>
                    <a:pt x="1911" y="13451"/>
                    <a:pt x="1911" y="13451"/>
                    <a:pt x="1911" y="13451"/>
                  </a:cubicBezTo>
                  <a:cubicBezTo>
                    <a:pt x="1652" y="13359"/>
                    <a:pt x="1652" y="13359"/>
                    <a:pt x="1652" y="13359"/>
                  </a:cubicBezTo>
                  <a:cubicBezTo>
                    <a:pt x="1641" y="13377"/>
                    <a:pt x="1617" y="13414"/>
                    <a:pt x="1594" y="13450"/>
                  </a:cubicBezTo>
                  <a:cubicBezTo>
                    <a:pt x="1564" y="13497"/>
                    <a:pt x="1535" y="13542"/>
                    <a:pt x="1535" y="13543"/>
                  </a:cubicBezTo>
                  <a:cubicBezTo>
                    <a:pt x="1285" y="13885"/>
                    <a:pt x="1285" y="13885"/>
                    <a:pt x="1285" y="13885"/>
                  </a:cubicBezTo>
                  <a:cubicBezTo>
                    <a:pt x="1285" y="13885"/>
                    <a:pt x="1255" y="13924"/>
                    <a:pt x="1225" y="13963"/>
                  </a:cubicBezTo>
                  <a:cubicBezTo>
                    <a:pt x="1210" y="13982"/>
                    <a:pt x="1195" y="14002"/>
                    <a:pt x="1184" y="14017"/>
                  </a:cubicBezTo>
                  <a:cubicBezTo>
                    <a:pt x="1178" y="14024"/>
                    <a:pt x="1173" y="14030"/>
                    <a:pt x="1170" y="14035"/>
                  </a:cubicBezTo>
                  <a:cubicBezTo>
                    <a:pt x="1168" y="14037"/>
                    <a:pt x="1167" y="14039"/>
                    <a:pt x="1166" y="14040"/>
                  </a:cubicBezTo>
                  <a:cubicBezTo>
                    <a:pt x="1166" y="14040"/>
                    <a:pt x="1166" y="14040"/>
                    <a:pt x="1166" y="14040"/>
                  </a:cubicBezTo>
                  <a:cubicBezTo>
                    <a:pt x="1165" y="14042"/>
                    <a:pt x="1165" y="14042"/>
                    <a:pt x="1164" y="14042"/>
                  </a:cubicBezTo>
                  <a:cubicBezTo>
                    <a:pt x="1161" y="14046"/>
                    <a:pt x="1157" y="14050"/>
                    <a:pt x="1147" y="14061"/>
                  </a:cubicBezTo>
                  <a:cubicBezTo>
                    <a:pt x="1114" y="14096"/>
                    <a:pt x="1035" y="14177"/>
                    <a:pt x="964" y="14250"/>
                  </a:cubicBezTo>
                  <a:cubicBezTo>
                    <a:pt x="929" y="14287"/>
                    <a:pt x="896" y="14321"/>
                    <a:pt x="871" y="14347"/>
                  </a:cubicBezTo>
                  <a:cubicBezTo>
                    <a:pt x="858" y="14359"/>
                    <a:pt x="848" y="14370"/>
                    <a:pt x="841" y="14377"/>
                  </a:cubicBezTo>
                  <a:cubicBezTo>
                    <a:pt x="838" y="14381"/>
                    <a:pt x="835" y="14384"/>
                    <a:pt x="833" y="14386"/>
                  </a:cubicBezTo>
                  <a:cubicBezTo>
                    <a:pt x="832" y="14387"/>
                    <a:pt x="831" y="14387"/>
                    <a:pt x="830" y="14388"/>
                  </a:cubicBezTo>
                  <a:cubicBezTo>
                    <a:pt x="830" y="14388"/>
                    <a:pt x="830" y="14389"/>
                    <a:pt x="829" y="14389"/>
                  </a:cubicBezTo>
                  <a:cubicBezTo>
                    <a:pt x="829" y="14389"/>
                    <a:pt x="829" y="14389"/>
                    <a:pt x="828" y="14390"/>
                  </a:cubicBezTo>
                  <a:cubicBezTo>
                    <a:pt x="824" y="14394"/>
                    <a:pt x="800" y="14420"/>
                    <a:pt x="776" y="14448"/>
                  </a:cubicBezTo>
                  <a:cubicBezTo>
                    <a:pt x="764" y="14462"/>
                    <a:pt x="752" y="14477"/>
                    <a:pt x="742" y="14489"/>
                  </a:cubicBezTo>
                  <a:cubicBezTo>
                    <a:pt x="733" y="14502"/>
                    <a:pt x="726" y="14513"/>
                    <a:pt x="726" y="14515"/>
                  </a:cubicBezTo>
                  <a:cubicBezTo>
                    <a:pt x="725" y="14516"/>
                    <a:pt x="725" y="14517"/>
                    <a:pt x="725" y="14519"/>
                  </a:cubicBezTo>
                  <a:close/>
                  <a:moveTo>
                    <a:pt x="2590" y="16691"/>
                  </a:moveTo>
                  <a:cubicBezTo>
                    <a:pt x="2590" y="16670"/>
                    <a:pt x="2590" y="16649"/>
                    <a:pt x="2590" y="16629"/>
                  </a:cubicBezTo>
                  <a:cubicBezTo>
                    <a:pt x="2590" y="16351"/>
                    <a:pt x="2593" y="16105"/>
                    <a:pt x="2593" y="16006"/>
                  </a:cubicBezTo>
                  <a:cubicBezTo>
                    <a:pt x="2593" y="15980"/>
                    <a:pt x="2596" y="15957"/>
                    <a:pt x="2600" y="15934"/>
                  </a:cubicBezTo>
                  <a:cubicBezTo>
                    <a:pt x="2357" y="15899"/>
                    <a:pt x="2357" y="15899"/>
                    <a:pt x="2357" y="15899"/>
                  </a:cubicBezTo>
                  <a:cubicBezTo>
                    <a:pt x="2353" y="15889"/>
                    <a:pt x="2353" y="15889"/>
                    <a:pt x="2353" y="15889"/>
                  </a:cubicBezTo>
                  <a:cubicBezTo>
                    <a:pt x="2353" y="15889"/>
                    <a:pt x="2350" y="15881"/>
                    <a:pt x="2343" y="15866"/>
                  </a:cubicBezTo>
                  <a:cubicBezTo>
                    <a:pt x="2321" y="15820"/>
                    <a:pt x="2259" y="15714"/>
                    <a:pt x="2130" y="15618"/>
                  </a:cubicBezTo>
                  <a:cubicBezTo>
                    <a:pt x="1955" y="15488"/>
                    <a:pt x="1075" y="14830"/>
                    <a:pt x="1061" y="14820"/>
                  </a:cubicBezTo>
                  <a:cubicBezTo>
                    <a:pt x="1061" y="14820"/>
                    <a:pt x="1061" y="14820"/>
                    <a:pt x="1061" y="14820"/>
                  </a:cubicBezTo>
                  <a:cubicBezTo>
                    <a:pt x="718" y="14561"/>
                    <a:pt x="718" y="14561"/>
                    <a:pt x="718" y="14561"/>
                  </a:cubicBezTo>
                  <a:cubicBezTo>
                    <a:pt x="718" y="14564"/>
                    <a:pt x="718" y="14566"/>
                    <a:pt x="718" y="14568"/>
                  </a:cubicBezTo>
                  <a:cubicBezTo>
                    <a:pt x="715" y="14586"/>
                    <a:pt x="698" y="14647"/>
                    <a:pt x="680" y="14700"/>
                  </a:cubicBezTo>
                  <a:cubicBezTo>
                    <a:pt x="663" y="14752"/>
                    <a:pt x="621" y="14884"/>
                    <a:pt x="573" y="14954"/>
                  </a:cubicBezTo>
                  <a:cubicBezTo>
                    <a:pt x="546" y="14994"/>
                    <a:pt x="383" y="15208"/>
                    <a:pt x="256" y="15374"/>
                  </a:cubicBezTo>
                  <a:cubicBezTo>
                    <a:pt x="283" y="15378"/>
                    <a:pt x="330" y="15384"/>
                    <a:pt x="396" y="15393"/>
                  </a:cubicBezTo>
                  <a:cubicBezTo>
                    <a:pt x="512" y="15410"/>
                    <a:pt x="654" y="15444"/>
                    <a:pt x="762" y="15474"/>
                  </a:cubicBezTo>
                  <a:cubicBezTo>
                    <a:pt x="872" y="15504"/>
                    <a:pt x="939" y="15542"/>
                    <a:pt x="1022" y="15585"/>
                  </a:cubicBezTo>
                  <a:cubicBezTo>
                    <a:pt x="1110" y="15630"/>
                    <a:pt x="1261" y="15772"/>
                    <a:pt x="1262" y="15773"/>
                  </a:cubicBezTo>
                  <a:cubicBezTo>
                    <a:pt x="1266" y="15777"/>
                    <a:pt x="1266" y="15777"/>
                    <a:pt x="1266" y="15777"/>
                  </a:cubicBezTo>
                  <a:cubicBezTo>
                    <a:pt x="1266" y="15777"/>
                    <a:pt x="1266" y="15777"/>
                    <a:pt x="1266" y="15777"/>
                  </a:cubicBezTo>
                  <a:cubicBezTo>
                    <a:pt x="1319" y="15822"/>
                    <a:pt x="1497" y="15976"/>
                    <a:pt x="1562" y="16039"/>
                  </a:cubicBezTo>
                  <a:cubicBezTo>
                    <a:pt x="1637" y="16112"/>
                    <a:pt x="1966" y="16421"/>
                    <a:pt x="1967" y="16421"/>
                  </a:cubicBezTo>
                  <a:cubicBezTo>
                    <a:pt x="2015" y="16462"/>
                    <a:pt x="2169" y="16615"/>
                    <a:pt x="2254" y="16652"/>
                  </a:cubicBezTo>
                  <a:cubicBezTo>
                    <a:pt x="2294" y="16670"/>
                    <a:pt x="2385" y="16681"/>
                    <a:pt x="2463" y="16686"/>
                  </a:cubicBezTo>
                  <a:cubicBezTo>
                    <a:pt x="2517" y="16689"/>
                    <a:pt x="2565" y="16691"/>
                    <a:pt x="2590" y="16691"/>
                  </a:cubicBezTo>
                  <a:close/>
                  <a:moveTo>
                    <a:pt x="3982" y="16849"/>
                  </a:moveTo>
                  <a:cubicBezTo>
                    <a:pt x="3981" y="16831"/>
                    <a:pt x="3980" y="16813"/>
                    <a:pt x="3980" y="16794"/>
                  </a:cubicBezTo>
                  <a:cubicBezTo>
                    <a:pt x="3980" y="16789"/>
                    <a:pt x="3980" y="16785"/>
                    <a:pt x="3980" y="16781"/>
                  </a:cubicBezTo>
                  <a:cubicBezTo>
                    <a:pt x="3982" y="16628"/>
                    <a:pt x="4001" y="16538"/>
                    <a:pt x="4020" y="16483"/>
                  </a:cubicBezTo>
                  <a:cubicBezTo>
                    <a:pt x="4030" y="16456"/>
                    <a:pt x="4040" y="16438"/>
                    <a:pt x="4048" y="16426"/>
                  </a:cubicBezTo>
                  <a:cubicBezTo>
                    <a:pt x="4052" y="16420"/>
                    <a:pt x="4055" y="16415"/>
                    <a:pt x="4058" y="16412"/>
                  </a:cubicBezTo>
                  <a:cubicBezTo>
                    <a:pt x="4059" y="16411"/>
                    <a:pt x="4060" y="16409"/>
                    <a:pt x="4060" y="16409"/>
                  </a:cubicBezTo>
                  <a:cubicBezTo>
                    <a:pt x="4060" y="16409"/>
                    <a:pt x="4061" y="16408"/>
                    <a:pt x="4061" y="16408"/>
                  </a:cubicBezTo>
                  <a:cubicBezTo>
                    <a:pt x="4061" y="16408"/>
                    <a:pt x="4061" y="16408"/>
                    <a:pt x="4061" y="16408"/>
                  </a:cubicBezTo>
                  <a:cubicBezTo>
                    <a:pt x="4061" y="16408"/>
                    <a:pt x="4061" y="16408"/>
                    <a:pt x="4061" y="16408"/>
                  </a:cubicBezTo>
                  <a:cubicBezTo>
                    <a:pt x="4064" y="16403"/>
                    <a:pt x="4064" y="16404"/>
                    <a:pt x="4066" y="16403"/>
                  </a:cubicBezTo>
                  <a:cubicBezTo>
                    <a:pt x="4081" y="16389"/>
                    <a:pt x="4180" y="16319"/>
                    <a:pt x="4276" y="16251"/>
                  </a:cubicBezTo>
                  <a:cubicBezTo>
                    <a:pt x="4345" y="16202"/>
                    <a:pt x="4411" y="16156"/>
                    <a:pt x="4444" y="16133"/>
                  </a:cubicBezTo>
                  <a:cubicBezTo>
                    <a:pt x="4438" y="16104"/>
                    <a:pt x="4423" y="16018"/>
                    <a:pt x="4404" y="15924"/>
                  </a:cubicBezTo>
                  <a:cubicBezTo>
                    <a:pt x="4381" y="15807"/>
                    <a:pt x="4354" y="15676"/>
                    <a:pt x="4336" y="15623"/>
                  </a:cubicBezTo>
                  <a:cubicBezTo>
                    <a:pt x="4322" y="15580"/>
                    <a:pt x="4239" y="15431"/>
                    <a:pt x="4160" y="15297"/>
                  </a:cubicBezTo>
                  <a:cubicBezTo>
                    <a:pt x="4089" y="15174"/>
                    <a:pt x="4020" y="15061"/>
                    <a:pt x="4009" y="15042"/>
                  </a:cubicBezTo>
                  <a:cubicBezTo>
                    <a:pt x="3999" y="15034"/>
                    <a:pt x="3999" y="15034"/>
                    <a:pt x="3999" y="15034"/>
                  </a:cubicBezTo>
                  <a:cubicBezTo>
                    <a:pt x="2916" y="15639"/>
                    <a:pt x="2916" y="15639"/>
                    <a:pt x="2916" y="15639"/>
                  </a:cubicBezTo>
                  <a:cubicBezTo>
                    <a:pt x="2915" y="15639"/>
                    <a:pt x="2915" y="15639"/>
                    <a:pt x="2915" y="15639"/>
                  </a:cubicBezTo>
                  <a:cubicBezTo>
                    <a:pt x="2915" y="15639"/>
                    <a:pt x="2897" y="15645"/>
                    <a:pt x="2870" y="15659"/>
                  </a:cubicBezTo>
                  <a:cubicBezTo>
                    <a:pt x="2789" y="15700"/>
                    <a:pt x="2629" y="15805"/>
                    <a:pt x="2629" y="16006"/>
                  </a:cubicBezTo>
                  <a:cubicBezTo>
                    <a:pt x="2629" y="16105"/>
                    <a:pt x="2626" y="16352"/>
                    <a:pt x="2626" y="16629"/>
                  </a:cubicBezTo>
                  <a:cubicBezTo>
                    <a:pt x="2626" y="16647"/>
                    <a:pt x="2626" y="16667"/>
                    <a:pt x="2626" y="16685"/>
                  </a:cubicBezTo>
                  <a:cubicBezTo>
                    <a:pt x="2628" y="16686"/>
                    <a:pt x="2630" y="16686"/>
                    <a:pt x="2632" y="16686"/>
                  </a:cubicBezTo>
                  <a:cubicBezTo>
                    <a:pt x="2692" y="16680"/>
                    <a:pt x="2838" y="16664"/>
                    <a:pt x="2985" y="16647"/>
                  </a:cubicBezTo>
                  <a:cubicBezTo>
                    <a:pt x="3080" y="16636"/>
                    <a:pt x="3175" y="16624"/>
                    <a:pt x="3247" y="16615"/>
                  </a:cubicBezTo>
                  <a:cubicBezTo>
                    <a:pt x="3282" y="16610"/>
                    <a:pt x="3312" y="16606"/>
                    <a:pt x="3333" y="16603"/>
                  </a:cubicBezTo>
                  <a:cubicBezTo>
                    <a:pt x="3343" y="16601"/>
                    <a:pt x="3351" y="16600"/>
                    <a:pt x="3356" y="16598"/>
                  </a:cubicBezTo>
                  <a:cubicBezTo>
                    <a:pt x="3357" y="16598"/>
                    <a:pt x="3358" y="16598"/>
                    <a:pt x="3359" y="16598"/>
                  </a:cubicBezTo>
                  <a:cubicBezTo>
                    <a:pt x="3361" y="16596"/>
                    <a:pt x="3363" y="16595"/>
                    <a:pt x="3367" y="16595"/>
                  </a:cubicBezTo>
                  <a:cubicBezTo>
                    <a:pt x="3376" y="16596"/>
                    <a:pt x="3378" y="16599"/>
                    <a:pt x="3379" y="16601"/>
                  </a:cubicBezTo>
                  <a:cubicBezTo>
                    <a:pt x="3379" y="16601"/>
                    <a:pt x="3379" y="16601"/>
                    <a:pt x="3379" y="16601"/>
                  </a:cubicBezTo>
                  <a:cubicBezTo>
                    <a:pt x="3379" y="16601"/>
                    <a:pt x="3379" y="16602"/>
                    <a:pt x="3380" y="16603"/>
                  </a:cubicBezTo>
                  <a:cubicBezTo>
                    <a:pt x="3380" y="16604"/>
                    <a:pt x="3380" y="16605"/>
                    <a:pt x="3381" y="16606"/>
                  </a:cubicBezTo>
                  <a:cubicBezTo>
                    <a:pt x="3381" y="16606"/>
                    <a:pt x="3381" y="16606"/>
                    <a:pt x="3381" y="16606"/>
                  </a:cubicBezTo>
                  <a:cubicBezTo>
                    <a:pt x="3381" y="16607"/>
                    <a:pt x="3381" y="16607"/>
                    <a:pt x="3381" y="16608"/>
                  </a:cubicBezTo>
                  <a:cubicBezTo>
                    <a:pt x="3381" y="16609"/>
                    <a:pt x="3381" y="16609"/>
                    <a:pt x="3381" y="16609"/>
                  </a:cubicBezTo>
                  <a:cubicBezTo>
                    <a:pt x="3382" y="16622"/>
                    <a:pt x="3394" y="16702"/>
                    <a:pt x="3405" y="16779"/>
                  </a:cubicBezTo>
                  <a:cubicBezTo>
                    <a:pt x="3417" y="16861"/>
                    <a:pt x="3430" y="16942"/>
                    <a:pt x="3430" y="16942"/>
                  </a:cubicBezTo>
                  <a:cubicBezTo>
                    <a:pt x="3404" y="16946"/>
                    <a:pt x="3404" y="16946"/>
                    <a:pt x="3404" y="16946"/>
                  </a:cubicBezTo>
                  <a:cubicBezTo>
                    <a:pt x="3404" y="16946"/>
                    <a:pt x="3404" y="16946"/>
                    <a:pt x="3404" y="16946"/>
                  </a:cubicBezTo>
                  <a:cubicBezTo>
                    <a:pt x="3404" y="16946"/>
                    <a:pt x="3391" y="16865"/>
                    <a:pt x="3379" y="16783"/>
                  </a:cubicBezTo>
                  <a:cubicBezTo>
                    <a:pt x="3370" y="16719"/>
                    <a:pt x="3360" y="16655"/>
                    <a:pt x="3356" y="16625"/>
                  </a:cubicBezTo>
                  <a:cubicBezTo>
                    <a:pt x="3264" y="16644"/>
                    <a:pt x="2766" y="16698"/>
                    <a:pt x="2637" y="16712"/>
                  </a:cubicBezTo>
                  <a:cubicBezTo>
                    <a:pt x="2626" y="16716"/>
                    <a:pt x="2626" y="16716"/>
                    <a:pt x="2626" y="16716"/>
                  </a:cubicBezTo>
                  <a:cubicBezTo>
                    <a:pt x="2626" y="16783"/>
                    <a:pt x="2627" y="16851"/>
                    <a:pt x="2627" y="16920"/>
                  </a:cubicBezTo>
                  <a:cubicBezTo>
                    <a:pt x="2628" y="16973"/>
                    <a:pt x="2629" y="17026"/>
                    <a:pt x="2629" y="17078"/>
                  </a:cubicBezTo>
                  <a:cubicBezTo>
                    <a:pt x="2633" y="17078"/>
                    <a:pt x="2637" y="17079"/>
                    <a:pt x="2641" y="17080"/>
                  </a:cubicBezTo>
                  <a:lnTo>
                    <a:pt x="3982" y="16849"/>
                  </a:lnTo>
                  <a:close/>
                  <a:moveTo>
                    <a:pt x="4455" y="17145"/>
                  </a:moveTo>
                  <a:cubicBezTo>
                    <a:pt x="4452" y="17126"/>
                    <a:pt x="4451" y="17104"/>
                    <a:pt x="4450" y="17078"/>
                  </a:cubicBezTo>
                  <a:cubicBezTo>
                    <a:pt x="4448" y="17039"/>
                    <a:pt x="4448" y="16995"/>
                    <a:pt x="4444" y="16958"/>
                  </a:cubicBezTo>
                  <a:cubicBezTo>
                    <a:pt x="4443" y="16940"/>
                    <a:pt x="4442" y="16922"/>
                    <a:pt x="4442" y="16902"/>
                  </a:cubicBezTo>
                  <a:cubicBezTo>
                    <a:pt x="4442" y="16829"/>
                    <a:pt x="4457" y="16738"/>
                    <a:pt x="4511" y="16532"/>
                  </a:cubicBezTo>
                  <a:cubicBezTo>
                    <a:pt x="4525" y="16480"/>
                    <a:pt x="4531" y="16433"/>
                    <a:pt x="4531" y="16392"/>
                  </a:cubicBezTo>
                  <a:cubicBezTo>
                    <a:pt x="4531" y="16312"/>
                    <a:pt x="4510" y="16252"/>
                    <a:pt x="4490" y="16212"/>
                  </a:cubicBezTo>
                  <a:cubicBezTo>
                    <a:pt x="4480" y="16192"/>
                    <a:pt x="4470" y="16177"/>
                    <a:pt x="4462" y="16167"/>
                  </a:cubicBezTo>
                  <a:cubicBezTo>
                    <a:pt x="4462" y="16166"/>
                    <a:pt x="4461" y="16166"/>
                    <a:pt x="4461" y="16165"/>
                  </a:cubicBezTo>
                  <a:cubicBezTo>
                    <a:pt x="4425" y="16190"/>
                    <a:pt x="4357" y="16238"/>
                    <a:pt x="4288" y="16287"/>
                  </a:cubicBezTo>
                  <a:cubicBezTo>
                    <a:pt x="4238" y="16322"/>
                    <a:pt x="4188" y="16357"/>
                    <a:pt x="4151" y="16384"/>
                  </a:cubicBezTo>
                  <a:cubicBezTo>
                    <a:pt x="4132" y="16398"/>
                    <a:pt x="4116" y="16409"/>
                    <a:pt x="4105" y="16418"/>
                  </a:cubicBezTo>
                  <a:cubicBezTo>
                    <a:pt x="4100" y="16422"/>
                    <a:pt x="4095" y="16425"/>
                    <a:pt x="4092" y="16427"/>
                  </a:cubicBezTo>
                  <a:cubicBezTo>
                    <a:pt x="4091" y="16428"/>
                    <a:pt x="4091" y="16429"/>
                    <a:pt x="4090" y="16429"/>
                  </a:cubicBezTo>
                  <a:cubicBezTo>
                    <a:pt x="4088" y="16432"/>
                    <a:pt x="4087" y="16433"/>
                    <a:pt x="4086" y="16435"/>
                  </a:cubicBezTo>
                  <a:cubicBezTo>
                    <a:pt x="4073" y="16451"/>
                    <a:pt x="4020" y="16519"/>
                    <a:pt x="4016" y="16781"/>
                  </a:cubicBezTo>
                  <a:cubicBezTo>
                    <a:pt x="4016" y="16785"/>
                    <a:pt x="4016" y="16789"/>
                    <a:pt x="4016" y="16794"/>
                  </a:cubicBezTo>
                  <a:cubicBezTo>
                    <a:pt x="4016" y="16936"/>
                    <a:pt x="4051" y="17013"/>
                    <a:pt x="4098" y="17058"/>
                  </a:cubicBezTo>
                  <a:cubicBezTo>
                    <a:pt x="4146" y="17103"/>
                    <a:pt x="4211" y="17119"/>
                    <a:pt x="4279" y="17131"/>
                  </a:cubicBezTo>
                  <a:cubicBezTo>
                    <a:pt x="4330" y="17139"/>
                    <a:pt x="4391" y="17143"/>
                    <a:pt x="4455" y="17145"/>
                  </a:cubicBezTo>
                  <a:close/>
                  <a:moveTo>
                    <a:pt x="5716" y="17420"/>
                  </a:moveTo>
                  <a:cubicBezTo>
                    <a:pt x="5796" y="17437"/>
                    <a:pt x="5888" y="17458"/>
                    <a:pt x="5973" y="17479"/>
                  </a:cubicBezTo>
                  <a:cubicBezTo>
                    <a:pt x="5978" y="17438"/>
                    <a:pt x="5992" y="17309"/>
                    <a:pt x="6000" y="17164"/>
                  </a:cubicBezTo>
                  <a:cubicBezTo>
                    <a:pt x="6005" y="17081"/>
                    <a:pt x="6006" y="16985"/>
                    <a:pt x="6006" y="16900"/>
                  </a:cubicBezTo>
                  <a:cubicBezTo>
                    <a:pt x="6006" y="16823"/>
                    <a:pt x="6005" y="16755"/>
                    <a:pt x="6004" y="16716"/>
                  </a:cubicBezTo>
                  <a:cubicBezTo>
                    <a:pt x="6002" y="16631"/>
                    <a:pt x="5979" y="16482"/>
                    <a:pt x="5956" y="16355"/>
                  </a:cubicBezTo>
                  <a:cubicBezTo>
                    <a:pt x="5938" y="16256"/>
                    <a:pt x="5921" y="16171"/>
                    <a:pt x="5914" y="16138"/>
                  </a:cubicBezTo>
                  <a:cubicBezTo>
                    <a:pt x="4494" y="16150"/>
                    <a:pt x="4494" y="16150"/>
                    <a:pt x="4494" y="16150"/>
                  </a:cubicBezTo>
                  <a:cubicBezTo>
                    <a:pt x="4521" y="16186"/>
                    <a:pt x="4567" y="16267"/>
                    <a:pt x="4567" y="16392"/>
                  </a:cubicBezTo>
                  <a:cubicBezTo>
                    <a:pt x="4567" y="16436"/>
                    <a:pt x="4561" y="16486"/>
                    <a:pt x="4546" y="16541"/>
                  </a:cubicBezTo>
                  <a:cubicBezTo>
                    <a:pt x="4492" y="16747"/>
                    <a:pt x="4478" y="16835"/>
                    <a:pt x="4478" y="16902"/>
                  </a:cubicBezTo>
                  <a:cubicBezTo>
                    <a:pt x="4478" y="16920"/>
                    <a:pt x="4479" y="16937"/>
                    <a:pt x="4480" y="16955"/>
                  </a:cubicBezTo>
                  <a:cubicBezTo>
                    <a:pt x="4484" y="16999"/>
                    <a:pt x="4484" y="17051"/>
                    <a:pt x="4486" y="17092"/>
                  </a:cubicBezTo>
                  <a:cubicBezTo>
                    <a:pt x="4487" y="17112"/>
                    <a:pt x="4489" y="17130"/>
                    <a:pt x="4491" y="17141"/>
                  </a:cubicBezTo>
                  <a:cubicBezTo>
                    <a:pt x="4491" y="17142"/>
                    <a:pt x="4491" y="17144"/>
                    <a:pt x="4492" y="17145"/>
                  </a:cubicBezTo>
                  <a:cubicBezTo>
                    <a:pt x="4495" y="17145"/>
                    <a:pt x="4497" y="17145"/>
                    <a:pt x="4500" y="17145"/>
                  </a:cubicBezTo>
                  <a:cubicBezTo>
                    <a:pt x="4591" y="17145"/>
                    <a:pt x="4683" y="17141"/>
                    <a:pt x="4753" y="17138"/>
                  </a:cubicBezTo>
                  <a:cubicBezTo>
                    <a:pt x="4787" y="17137"/>
                    <a:pt x="4821" y="17135"/>
                    <a:pt x="4854" y="17135"/>
                  </a:cubicBezTo>
                  <a:cubicBezTo>
                    <a:pt x="4899" y="17135"/>
                    <a:pt x="4941" y="17139"/>
                    <a:pt x="4979" y="17162"/>
                  </a:cubicBezTo>
                  <a:cubicBezTo>
                    <a:pt x="5016" y="17184"/>
                    <a:pt x="5046" y="17224"/>
                    <a:pt x="5064" y="17286"/>
                  </a:cubicBezTo>
                  <a:cubicBezTo>
                    <a:pt x="5066" y="17293"/>
                    <a:pt x="5068" y="17302"/>
                    <a:pt x="5070" y="17311"/>
                  </a:cubicBezTo>
                  <a:cubicBezTo>
                    <a:pt x="5070" y="17310"/>
                    <a:pt x="5070" y="17310"/>
                    <a:pt x="5070" y="17310"/>
                  </a:cubicBezTo>
                  <a:cubicBezTo>
                    <a:pt x="5071" y="17310"/>
                    <a:pt x="5556" y="17388"/>
                    <a:pt x="5716" y="17420"/>
                  </a:cubicBezTo>
                  <a:close/>
                  <a:moveTo>
                    <a:pt x="6810" y="17658"/>
                  </a:moveTo>
                  <a:cubicBezTo>
                    <a:pt x="6848" y="17573"/>
                    <a:pt x="7026" y="17168"/>
                    <a:pt x="7202" y="16769"/>
                  </a:cubicBezTo>
                  <a:cubicBezTo>
                    <a:pt x="7298" y="16549"/>
                    <a:pt x="7394" y="16331"/>
                    <a:pt x="7466" y="16168"/>
                  </a:cubicBezTo>
                  <a:cubicBezTo>
                    <a:pt x="7496" y="16099"/>
                    <a:pt x="7522" y="16040"/>
                    <a:pt x="7542" y="15995"/>
                  </a:cubicBezTo>
                  <a:cubicBezTo>
                    <a:pt x="6310" y="15958"/>
                    <a:pt x="6310" y="15958"/>
                    <a:pt x="6310" y="15958"/>
                  </a:cubicBezTo>
                  <a:cubicBezTo>
                    <a:pt x="6310" y="16012"/>
                    <a:pt x="6309" y="16292"/>
                    <a:pt x="6302" y="16488"/>
                  </a:cubicBezTo>
                  <a:cubicBezTo>
                    <a:pt x="6299" y="16556"/>
                    <a:pt x="6282" y="16613"/>
                    <a:pt x="6244" y="16650"/>
                  </a:cubicBezTo>
                  <a:cubicBezTo>
                    <a:pt x="6188" y="16703"/>
                    <a:pt x="6109" y="16713"/>
                    <a:pt x="6061" y="16713"/>
                  </a:cubicBezTo>
                  <a:cubicBezTo>
                    <a:pt x="6053" y="16713"/>
                    <a:pt x="6047" y="16713"/>
                    <a:pt x="6040" y="16713"/>
                  </a:cubicBezTo>
                  <a:cubicBezTo>
                    <a:pt x="6040" y="16713"/>
                    <a:pt x="6040" y="16714"/>
                    <a:pt x="6040" y="16715"/>
                  </a:cubicBezTo>
                  <a:cubicBezTo>
                    <a:pt x="6041" y="16755"/>
                    <a:pt x="6043" y="16822"/>
                    <a:pt x="6043" y="16900"/>
                  </a:cubicBezTo>
                  <a:cubicBezTo>
                    <a:pt x="6043" y="16985"/>
                    <a:pt x="6041" y="17082"/>
                    <a:pt x="6036" y="17166"/>
                  </a:cubicBezTo>
                  <a:cubicBezTo>
                    <a:pt x="6028" y="17318"/>
                    <a:pt x="6013" y="17452"/>
                    <a:pt x="6009" y="17488"/>
                  </a:cubicBezTo>
                  <a:cubicBezTo>
                    <a:pt x="6081" y="17506"/>
                    <a:pt x="6147" y="17523"/>
                    <a:pt x="6194" y="17535"/>
                  </a:cubicBezTo>
                  <a:cubicBezTo>
                    <a:pt x="6308" y="17564"/>
                    <a:pt x="6384" y="17616"/>
                    <a:pt x="6763" y="17653"/>
                  </a:cubicBezTo>
                  <a:cubicBezTo>
                    <a:pt x="6778" y="17654"/>
                    <a:pt x="6794" y="17656"/>
                    <a:pt x="6810" y="17658"/>
                  </a:cubicBezTo>
                  <a:close/>
                  <a:moveTo>
                    <a:pt x="8559" y="16295"/>
                  </a:moveTo>
                  <a:cubicBezTo>
                    <a:pt x="8560" y="16225"/>
                    <a:pt x="8575" y="15450"/>
                    <a:pt x="8579" y="15400"/>
                  </a:cubicBezTo>
                  <a:cubicBezTo>
                    <a:pt x="8594" y="15269"/>
                    <a:pt x="8669" y="15199"/>
                    <a:pt x="8741" y="15166"/>
                  </a:cubicBezTo>
                  <a:cubicBezTo>
                    <a:pt x="8746" y="15163"/>
                    <a:pt x="8752" y="15161"/>
                    <a:pt x="8757" y="15159"/>
                  </a:cubicBezTo>
                  <a:cubicBezTo>
                    <a:pt x="8702" y="15120"/>
                    <a:pt x="8477" y="14964"/>
                    <a:pt x="8252" y="14807"/>
                  </a:cubicBezTo>
                  <a:cubicBezTo>
                    <a:pt x="8123" y="14717"/>
                    <a:pt x="7993" y="14626"/>
                    <a:pt x="7896" y="14558"/>
                  </a:cubicBezTo>
                  <a:cubicBezTo>
                    <a:pt x="7878" y="14545"/>
                    <a:pt x="7862" y="14534"/>
                    <a:pt x="7846" y="14523"/>
                  </a:cubicBezTo>
                  <a:cubicBezTo>
                    <a:pt x="7619" y="15909"/>
                    <a:pt x="7619" y="15909"/>
                    <a:pt x="7619" y="15909"/>
                  </a:cubicBezTo>
                  <a:cubicBezTo>
                    <a:pt x="7618" y="15911"/>
                    <a:pt x="7618" y="15911"/>
                    <a:pt x="7618" y="15911"/>
                  </a:cubicBezTo>
                  <a:cubicBezTo>
                    <a:pt x="7618" y="15911"/>
                    <a:pt x="7423" y="16355"/>
                    <a:pt x="7228" y="16799"/>
                  </a:cubicBezTo>
                  <a:cubicBezTo>
                    <a:pt x="7130" y="17021"/>
                    <a:pt x="7032" y="17243"/>
                    <a:pt x="6959" y="17410"/>
                  </a:cubicBezTo>
                  <a:cubicBezTo>
                    <a:pt x="6922" y="17494"/>
                    <a:pt x="6891" y="17564"/>
                    <a:pt x="6869" y="17613"/>
                  </a:cubicBezTo>
                  <a:cubicBezTo>
                    <a:pt x="6860" y="17634"/>
                    <a:pt x="6852" y="17651"/>
                    <a:pt x="6847" y="17664"/>
                  </a:cubicBezTo>
                  <a:cubicBezTo>
                    <a:pt x="7214" y="17725"/>
                    <a:pt x="7625" y="17940"/>
                    <a:pt x="7626" y="17940"/>
                  </a:cubicBezTo>
                  <a:cubicBezTo>
                    <a:pt x="7646" y="17952"/>
                    <a:pt x="7646" y="17952"/>
                    <a:pt x="7646" y="17952"/>
                  </a:cubicBezTo>
                  <a:lnTo>
                    <a:pt x="8559" y="16295"/>
                  </a:lnTo>
                  <a:close/>
                  <a:moveTo>
                    <a:pt x="11352" y="16170"/>
                  </a:moveTo>
                  <a:cubicBezTo>
                    <a:pt x="11342" y="16162"/>
                    <a:pt x="11331" y="16155"/>
                    <a:pt x="11321" y="16147"/>
                  </a:cubicBezTo>
                  <a:cubicBezTo>
                    <a:pt x="11027" y="15935"/>
                    <a:pt x="10685" y="15698"/>
                    <a:pt x="10525" y="15575"/>
                  </a:cubicBezTo>
                  <a:cubicBezTo>
                    <a:pt x="10377" y="15462"/>
                    <a:pt x="10132" y="15275"/>
                    <a:pt x="10096" y="15248"/>
                  </a:cubicBezTo>
                  <a:cubicBezTo>
                    <a:pt x="8890" y="15167"/>
                    <a:pt x="8890" y="15167"/>
                    <a:pt x="8890" y="15167"/>
                  </a:cubicBezTo>
                  <a:cubicBezTo>
                    <a:pt x="8884" y="15167"/>
                    <a:pt x="8820" y="15168"/>
                    <a:pt x="8756" y="15198"/>
                  </a:cubicBezTo>
                  <a:cubicBezTo>
                    <a:pt x="8692" y="15229"/>
                    <a:pt x="8629" y="15285"/>
                    <a:pt x="8615" y="15404"/>
                  </a:cubicBezTo>
                  <a:cubicBezTo>
                    <a:pt x="8612" y="15447"/>
                    <a:pt x="8597" y="16195"/>
                    <a:pt x="8595" y="16290"/>
                  </a:cubicBezTo>
                  <a:cubicBezTo>
                    <a:pt x="8624" y="16307"/>
                    <a:pt x="8722" y="16367"/>
                    <a:pt x="8834" y="16430"/>
                  </a:cubicBezTo>
                  <a:cubicBezTo>
                    <a:pt x="8967" y="16506"/>
                    <a:pt x="9120" y="16588"/>
                    <a:pt x="9194" y="16609"/>
                  </a:cubicBezTo>
                  <a:cubicBezTo>
                    <a:pt x="9348" y="16653"/>
                    <a:pt x="9536" y="16694"/>
                    <a:pt x="9686" y="16756"/>
                  </a:cubicBezTo>
                  <a:cubicBezTo>
                    <a:pt x="9761" y="16788"/>
                    <a:pt x="9862" y="16849"/>
                    <a:pt x="9950" y="16912"/>
                  </a:cubicBezTo>
                  <a:cubicBezTo>
                    <a:pt x="10039" y="16974"/>
                    <a:pt x="10114" y="17036"/>
                    <a:pt x="10142" y="17072"/>
                  </a:cubicBezTo>
                  <a:cubicBezTo>
                    <a:pt x="10147" y="17079"/>
                    <a:pt x="10152" y="17089"/>
                    <a:pt x="10158" y="17101"/>
                  </a:cubicBezTo>
                  <a:cubicBezTo>
                    <a:pt x="10209" y="17061"/>
                    <a:pt x="10481" y="16848"/>
                    <a:pt x="10755" y="16633"/>
                  </a:cubicBezTo>
                  <a:cubicBezTo>
                    <a:pt x="10907" y="16514"/>
                    <a:pt x="11060" y="16395"/>
                    <a:pt x="11175" y="16306"/>
                  </a:cubicBezTo>
                  <a:cubicBezTo>
                    <a:pt x="11233" y="16261"/>
                    <a:pt x="11281" y="16224"/>
                    <a:pt x="11316" y="16197"/>
                  </a:cubicBezTo>
                  <a:cubicBezTo>
                    <a:pt x="11331" y="16186"/>
                    <a:pt x="11342" y="16177"/>
                    <a:pt x="11352" y="16170"/>
                  </a:cubicBezTo>
                  <a:close/>
                  <a:moveTo>
                    <a:pt x="13767" y="16037"/>
                  </a:moveTo>
                  <a:cubicBezTo>
                    <a:pt x="13766" y="16036"/>
                    <a:pt x="13766" y="16036"/>
                    <a:pt x="13766" y="16036"/>
                  </a:cubicBezTo>
                  <a:cubicBezTo>
                    <a:pt x="13766" y="16036"/>
                    <a:pt x="13766" y="16036"/>
                    <a:pt x="13766" y="16036"/>
                  </a:cubicBezTo>
                  <a:lnTo>
                    <a:pt x="13767" y="16037"/>
                  </a:lnTo>
                  <a:close/>
                  <a:moveTo>
                    <a:pt x="15469" y="13222"/>
                  </a:moveTo>
                  <a:cubicBezTo>
                    <a:pt x="15466" y="13232"/>
                    <a:pt x="15464" y="13239"/>
                    <a:pt x="15461" y="13245"/>
                  </a:cubicBezTo>
                  <a:cubicBezTo>
                    <a:pt x="15459" y="13251"/>
                    <a:pt x="15456" y="13256"/>
                    <a:pt x="15453" y="13260"/>
                  </a:cubicBezTo>
                  <a:cubicBezTo>
                    <a:pt x="15451" y="13262"/>
                    <a:pt x="15448" y="13264"/>
                    <a:pt x="15445" y="13266"/>
                  </a:cubicBezTo>
                  <a:cubicBezTo>
                    <a:pt x="15434" y="13287"/>
                    <a:pt x="15397" y="13351"/>
                    <a:pt x="15324" y="13447"/>
                  </a:cubicBezTo>
                  <a:cubicBezTo>
                    <a:pt x="15216" y="13587"/>
                    <a:pt x="15048" y="13809"/>
                    <a:pt x="14992" y="13915"/>
                  </a:cubicBezTo>
                  <a:cubicBezTo>
                    <a:pt x="14991" y="13917"/>
                    <a:pt x="14991" y="13917"/>
                    <a:pt x="14991" y="13917"/>
                  </a:cubicBezTo>
                  <a:cubicBezTo>
                    <a:pt x="14989" y="13919"/>
                    <a:pt x="14989" y="13919"/>
                    <a:pt x="14989" y="13919"/>
                  </a:cubicBezTo>
                  <a:cubicBezTo>
                    <a:pt x="14989" y="13919"/>
                    <a:pt x="14988" y="13919"/>
                    <a:pt x="14986" y="13922"/>
                  </a:cubicBezTo>
                  <a:cubicBezTo>
                    <a:pt x="14972" y="13941"/>
                    <a:pt x="14903" y="14046"/>
                    <a:pt x="14863" y="14353"/>
                  </a:cubicBezTo>
                  <a:cubicBezTo>
                    <a:pt x="14840" y="14529"/>
                    <a:pt x="14820" y="14738"/>
                    <a:pt x="14807" y="14902"/>
                  </a:cubicBezTo>
                  <a:cubicBezTo>
                    <a:pt x="14793" y="15066"/>
                    <a:pt x="14785" y="15186"/>
                    <a:pt x="14785" y="15186"/>
                  </a:cubicBezTo>
                  <a:cubicBezTo>
                    <a:pt x="14785" y="15186"/>
                    <a:pt x="14785" y="15186"/>
                    <a:pt x="14785" y="15186"/>
                  </a:cubicBezTo>
                  <a:cubicBezTo>
                    <a:pt x="14784" y="15187"/>
                    <a:pt x="14784" y="15187"/>
                    <a:pt x="14784" y="15187"/>
                  </a:cubicBezTo>
                  <a:cubicBezTo>
                    <a:pt x="14784" y="15188"/>
                    <a:pt x="14755" y="15419"/>
                    <a:pt x="14616" y="15671"/>
                  </a:cubicBezTo>
                  <a:cubicBezTo>
                    <a:pt x="14546" y="15796"/>
                    <a:pt x="14529" y="15956"/>
                    <a:pt x="14529" y="16079"/>
                  </a:cubicBezTo>
                  <a:cubicBezTo>
                    <a:pt x="14529" y="16177"/>
                    <a:pt x="14539" y="16250"/>
                    <a:pt x="14542" y="16266"/>
                  </a:cubicBezTo>
                  <a:cubicBezTo>
                    <a:pt x="15359" y="16254"/>
                    <a:pt x="16562" y="16235"/>
                    <a:pt x="16680" y="16235"/>
                  </a:cubicBezTo>
                  <a:cubicBezTo>
                    <a:pt x="16683" y="16235"/>
                    <a:pt x="16685" y="16235"/>
                    <a:pt x="16687" y="16235"/>
                  </a:cubicBezTo>
                  <a:cubicBezTo>
                    <a:pt x="16688" y="16235"/>
                    <a:pt x="16688" y="16235"/>
                    <a:pt x="16689" y="16235"/>
                  </a:cubicBezTo>
                  <a:cubicBezTo>
                    <a:pt x="16689" y="16235"/>
                    <a:pt x="16690" y="16235"/>
                    <a:pt x="16690" y="16236"/>
                  </a:cubicBezTo>
                  <a:cubicBezTo>
                    <a:pt x="16691" y="16236"/>
                    <a:pt x="16691" y="16236"/>
                    <a:pt x="16692" y="16236"/>
                  </a:cubicBezTo>
                  <a:cubicBezTo>
                    <a:pt x="16692" y="16236"/>
                    <a:pt x="16692" y="16236"/>
                    <a:pt x="16692" y="16236"/>
                  </a:cubicBezTo>
                  <a:cubicBezTo>
                    <a:pt x="16695" y="16236"/>
                    <a:pt x="16702" y="16236"/>
                    <a:pt x="16711" y="16236"/>
                  </a:cubicBezTo>
                  <a:cubicBezTo>
                    <a:pt x="16763" y="16236"/>
                    <a:pt x="16902" y="16239"/>
                    <a:pt x="17076" y="16286"/>
                  </a:cubicBezTo>
                  <a:cubicBezTo>
                    <a:pt x="17076" y="16285"/>
                    <a:pt x="17088" y="16267"/>
                    <a:pt x="17106" y="16233"/>
                  </a:cubicBezTo>
                  <a:cubicBezTo>
                    <a:pt x="17161" y="16127"/>
                    <a:pt x="17272" y="15874"/>
                    <a:pt x="17272" y="15543"/>
                  </a:cubicBezTo>
                  <a:cubicBezTo>
                    <a:pt x="17272" y="15405"/>
                    <a:pt x="17252" y="15253"/>
                    <a:pt x="17201" y="15093"/>
                  </a:cubicBezTo>
                  <a:cubicBezTo>
                    <a:pt x="17201" y="15092"/>
                    <a:pt x="17201" y="15092"/>
                    <a:pt x="17201" y="15092"/>
                  </a:cubicBezTo>
                  <a:cubicBezTo>
                    <a:pt x="17201" y="15090"/>
                    <a:pt x="17201" y="15090"/>
                    <a:pt x="17201" y="15090"/>
                  </a:cubicBezTo>
                  <a:cubicBezTo>
                    <a:pt x="17201" y="15090"/>
                    <a:pt x="17192" y="15044"/>
                    <a:pt x="17170" y="14965"/>
                  </a:cubicBezTo>
                  <a:cubicBezTo>
                    <a:pt x="17104" y="14728"/>
                    <a:pt x="16916" y="14198"/>
                    <a:pt x="16477" y="13766"/>
                  </a:cubicBezTo>
                  <a:cubicBezTo>
                    <a:pt x="16112" y="13407"/>
                    <a:pt x="15657" y="13268"/>
                    <a:pt x="15469" y="13222"/>
                  </a:cubicBezTo>
                  <a:close/>
                  <a:moveTo>
                    <a:pt x="15391" y="13205"/>
                  </a:moveTo>
                  <a:cubicBezTo>
                    <a:pt x="14189" y="12969"/>
                    <a:pt x="14189" y="12969"/>
                    <a:pt x="14189" y="12969"/>
                  </a:cubicBezTo>
                  <a:cubicBezTo>
                    <a:pt x="14179" y="12968"/>
                    <a:pt x="14179" y="12968"/>
                    <a:pt x="14179" y="12968"/>
                  </a:cubicBezTo>
                  <a:cubicBezTo>
                    <a:pt x="14046" y="13773"/>
                    <a:pt x="13862" y="14889"/>
                    <a:pt x="13806" y="15246"/>
                  </a:cubicBezTo>
                  <a:cubicBezTo>
                    <a:pt x="13763" y="15512"/>
                    <a:pt x="13752" y="15698"/>
                    <a:pt x="13752" y="15820"/>
                  </a:cubicBezTo>
                  <a:cubicBezTo>
                    <a:pt x="13752" y="15891"/>
                    <a:pt x="13756" y="15941"/>
                    <a:pt x="13760" y="15972"/>
                  </a:cubicBezTo>
                  <a:cubicBezTo>
                    <a:pt x="13761" y="15987"/>
                    <a:pt x="13763" y="15998"/>
                    <a:pt x="13764" y="16005"/>
                  </a:cubicBezTo>
                  <a:cubicBezTo>
                    <a:pt x="13765" y="16008"/>
                    <a:pt x="13765" y="16010"/>
                    <a:pt x="13766" y="16012"/>
                  </a:cubicBezTo>
                  <a:cubicBezTo>
                    <a:pt x="13766" y="16012"/>
                    <a:pt x="13766" y="16012"/>
                    <a:pt x="13766" y="16012"/>
                  </a:cubicBezTo>
                  <a:cubicBezTo>
                    <a:pt x="13766" y="16013"/>
                    <a:pt x="13766" y="16013"/>
                    <a:pt x="13766" y="16013"/>
                  </a:cubicBezTo>
                  <a:cubicBezTo>
                    <a:pt x="13766" y="16013"/>
                    <a:pt x="13766" y="16013"/>
                    <a:pt x="13766" y="16013"/>
                  </a:cubicBezTo>
                  <a:cubicBezTo>
                    <a:pt x="13767" y="16015"/>
                    <a:pt x="13767" y="16018"/>
                    <a:pt x="13767" y="16020"/>
                  </a:cubicBezTo>
                  <a:cubicBezTo>
                    <a:pt x="13768" y="16025"/>
                    <a:pt x="13768" y="16029"/>
                    <a:pt x="13767" y="16032"/>
                  </a:cubicBezTo>
                  <a:cubicBezTo>
                    <a:pt x="13768" y="16043"/>
                    <a:pt x="13771" y="16087"/>
                    <a:pt x="13776" y="16146"/>
                  </a:cubicBezTo>
                  <a:cubicBezTo>
                    <a:pt x="13779" y="16183"/>
                    <a:pt x="13783" y="16227"/>
                    <a:pt x="13787" y="16276"/>
                  </a:cubicBezTo>
                  <a:cubicBezTo>
                    <a:pt x="13805" y="16278"/>
                    <a:pt x="13805" y="16278"/>
                    <a:pt x="13805" y="16278"/>
                  </a:cubicBezTo>
                  <a:cubicBezTo>
                    <a:pt x="13879" y="16277"/>
                    <a:pt x="14153" y="16272"/>
                    <a:pt x="14505" y="16267"/>
                  </a:cubicBezTo>
                  <a:cubicBezTo>
                    <a:pt x="14502" y="16243"/>
                    <a:pt x="14493" y="16172"/>
                    <a:pt x="14493" y="16079"/>
                  </a:cubicBezTo>
                  <a:cubicBezTo>
                    <a:pt x="14493" y="15953"/>
                    <a:pt x="14510" y="15788"/>
                    <a:pt x="14584" y="15653"/>
                  </a:cubicBezTo>
                  <a:cubicBezTo>
                    <a:pt x="14652" y="15531"/>
                    <a:pt x="14693" y="15413"/>
                    <a:pt x="14717" y="15325"/>
                  </a:cubicBezTo>
                  <a:cubicBezTo>
                    <a:pt x="14729" y="15282"/>
                    <a:pt x="14737" y="15246"/>
                    <a:pt x="14742" y="15221"/>
                  </a:cubicBezTo>
                  <a:cubicBezTo>
                    <a:pt x="14747" y="15196"/>
                    <a:pt x="14749" y="15182"/>
                    <a:pt x="14749" y="15182"/>
                  </a:cubicBezTo>
                  <a:cubicBezTo>
                    <a:pt x="14750" y="15157"/>
                    <a:pt x="14783" y="14693"/>
                    <a:pt x="14827" y="14349"/>
                  </a:cubicBezTo>
                  <a:cubicBezTo>
                    <a:pt x="14870" y="14017"/>
                    <a:pt x="14948" y="13912"/>
                    <a:pt x="14961" y="13896"/>
                  </a:cubicBezTo>
                  <a:cubicBezTo>
                    <a:pt x="15021" y="13784"/>
                    <a:pt x="15187" y="13565"/>
                    <a:pt x="15295" y="13425"/>
                  </a:cubicBezTo>
                  <a:cubicBezTo>
                    <a:pt x="15340" y="13366"/>
                    <a:pt x="15371" y="13320"/>
                    <a:pt x="15390" y="13289"/>
                  </a:cubicBezTo>
                  <a:cubicBezTo>
                    <a:pt x="15409" y="13257"/>
                    <a:pt x="15417" y="13241"/>
                    <a:pt x="15417" y="13241"/>
                  </a:cubicBezTo>
                  <a:cubicBezTo>
                    <a:pt x="15429" y="13217"/>
                    <a:pt x="15429" y="13217"/>
                    <a:pt x="15429" y="13217"/>
                  </a:cubicBezTo>
                  <a:cubicBezTo>
                    <a:pt x="15432" y="13220"/>
                    <a:pt x="15432" y="13220"/>
                    <a:pt x="15432" y="13220"/>
                  </a:cubicBezTo>
                  <a:cubicBezTo>
                    <a:pt x="15432" y="13218"/>
                    <a:pt x="15433" y="13216"/>
                    <a:pt x="15433" y="13214"/>
                  </a:cubicBezTo>
                  <a:cubicBezTo>
                    <a:pt x="15414" y="13210"/>
                    <a:pt x="15399" y="13207"/>
                    <a:pt x="15391" y="13205"/>
                  </a:cubicBezTo>
                  <a:close/>
                  <a:moveTo>
                    <a:pt x="14206" y="12098"/>
                  </a:moveTo>
                  <a:cubicBezTo>
                    <a:pt x="14189" y="12100"/>
                    <a:pt x="14189" y="12100"/>
                    <a:pt x="14189" y="12100"/>
                  </a:cubicBezTo>
                  <a:cubicBezTo>
                    <a:pt x="11707" y="12794"/>
                    <a:pt x="11707" y="12794"/>
                    <a:pt x="11707" y="12794"/>
                  </a:cubicBezTo>
                  <a:cubicBezTo>
                    <a:pt x="11758" y="12852"/>
                    <a:pt x="11837" y="12932"/>
                    <a:pt x="11906" y="13000"/>
                  </a:cubicBezTo>
                  <a:cubicBezTo>
                    <a:pt x="11974" y="13067"/>
                    <a:pt x="12032" y="13123"/>
                    <a:pt x="12042" y="13131"/>
                  </a:cubicBezTo>
                  <a:cubicBezTo>
                    <a:pt x="12058" y="13142"/>
                    <a:pt x="12202" y="13231"/>
                    <a:pt x="12358" y="13327"/>
                  </a:cubicBezTo>
                  <a:cubicBezTo>
                    <a:pt x="12524" y="13428"/>
                    <a:pt x="12704" y="13536"/>
                    <a:pt x="12756" y="13559"/>
                  </a:cubicBezTo>
                  <a:cubicBezTo>
                    <a:pt x="12830" y="13590"/>
                    <a:pt x="12851" y="13632"/>
                    <a:pt x="12850" y="13661"/>
                  </a:cubicBezTo>
                  <a:cubicBezTo>
                    <a:pt x="12850" y="13674"/>
                    <a:pt x="12847" y="13683"/>
                    <a:pt x="12845" y="13687"/>
                  </a:cubicBezTo>
                  <a:cubicBezTo>
                    <a:pt x="12774" y="13890"/>
                    <a:pt x="12774" y="13890"/>
                    <a:pt x="12774" y="13890"/>
                  </a:cubicBezTo>
                  <a:cubicBezTo>
                    <a:pt x="12589" y="14175"/>
                    <a:pt x="12589" y="14175"/>
                    <a:pt x="12589" y="14175"/>
                  </a:cubicBezTo>
                  <a:cubicBezTo>
                    <a:pt x="12641" y="14413"/>
                    <a:pt x="12641" y="14413"/>
                    <a:pt x="12641" y="14413"/>
                  </a:cubicBezTo>
                  <a:cubicBezTo>
                    <a:pt x="12614" y="14408"/>
                    <a:pt x="12614" y="14408"/>
                    <a:pt x="12614" y="14408"/>
                  </a:cubicBezTo>
                  <a:cubicBezTo>
                    <a:pt x="12614" y="14408"/>
                    <a:pt x="12465" y="14381"/>
                    <a:pt x="12291" y="14349"/>
                  </a:cubicBezTo>
                  <a:cubicBezTo>
                    <a:pt x="12117" y="14318"/>
                    <a:pt x="11918" y="14283"/>
                    <a:pt x="11817" y="14268"/>
                  </a:cubicBezTo>
                  <a:cubicBezTo>
                    <a:pt x="11808" y="14266"/>
                    <a:pt x="11798" y="14266"/>
                    <a:pt x="11790" y="14266"/>
                  </a:cubicBezTo>
                  <a:cubicBezTo>
                    <a:pt x="11714" y="14266"/>
                    <a:pt x="11674" y="14319"/>
                    <a:pt x="11650" y="14378"/>
                  </a:cubicBezTo>
                  <a:cubicBezTo>
                    <a:pt x="11638" y="14407"/>
                    <a:pt x="11631" y="14437"/>
                    <a:pt x="11628" y="14460"/>
                  </a:cubicBezTo>
                  <a:cubicBezTo>
                    <a:pt x="11624" y="14479"/>
                    <a:pt x="11624" y="14492"/>
                    <a:pt x="11623" y="14495"/>
                  </a:cubicBezTo>
                  <a:cubicBezTo>
                    <a:pt x="11645" y="14878"/>
                    <a:pt x="11645" y="14878"/>
                    <a:pt x="11645" y="14878"/>
                  </a:cubicBezTo>
                  <a:cubicBezTo>
                    <a:pt x="11828" y="14964"/>
                    <a:pt x="11878" y="15091"/>
                    <a:pt x="11878" y="15195"/>
                  </a:cubicBezTo>
                  <a:cubicBezTo>
                    <a:pt x="11877" y="15297"/>
                    <a:pt x="11832" y="15375"/>
                    <a:pt x="11831" y="15377"/>
                  </a:cubicBezTo>
                  <a:cubicBezTo>
                    <a:pt x="11415" y="16174"/>
                    <a:pt x="11415" y="16174"/>
                    <a:pt x="11415" y="16174"/>
                  </a:cubicBezTo>
                  <a:cubicBezTo>
                    <a:pt x="11655" y="16370"/>
                    <a:pt x="11739" y="16556"/>
                    <a:pt x="11740" y="16557"/>
                  </a:cubicBezTo>
                  <a:cubicBezTo>
                    <a:pt x="11796" y="16689"/>
                    <a:pt x="11796" y="16689"/>
                    <a:pt x="11796" y="16689"/>
                  </a:cubicBezTo>
                  <a:cubicBezTo>
                    <a:pt x="11800" y="16687"/>
                    <a:pt x="11800" y="16687"/>
                    <a:pt x="11800" y="16687"/>
                  </a:cubicBezTo>
                  <a:cubicBezTo>
                    <a:pt x="11801" y="16687"/>
                    <a:pt x="11904" y="16648"/>
                    <a:pt x="12024" y="16601"/>
                  </a:cubicBezTo>
                  <a:cubicBezTo>
                    <a:pt x="12143" y="16554"/>
                    <a:pt x="12278" y="16499"/>
                    <a:pt x="12338" y="16469"/>
                  </a:cubicBezTo>
                  <a:cubicBezTo>
                    <a:pt x="12395" y="16440"/>
                    <a:pt x="12430" y="16422"/>
                    <a:pt x="12448" y="16401"/>
                  </a:cubicBezTo>
                  <a:cubicBezTo>
                    <a:pt x="12466" y="16380"/>
                    <a:pt x="12473" y="16354"/>
                    <a:pt x="12473" y="16297"/>
                  </a:cubicBezTo>
                  <a:cubicBezTo>
                    <a:pt x="12473" y="16289"/>
                    <a:pt x="12473" y="16280"/>
                    <a:pt x="12473" y="16271"/>
                  </a:cubicBezTo>
                  <a:cubicBezTo>
                    <a:pt x="12473" y="16269"/>
                    <a:pt x="12472" y="16266"/>
                    <a:pt x="12472" y="16264"/>
                  </a:cubicBezTo>
                  <a:cubicBezTo>
                    <a:pt x="12472" y="16190"/>
                    <a:pt x="12512" y="16142"/>
                    <a:pt x="12550" y="16116"/>
                  </a:cubicBezTo>
                  <a:cubicBezTo>
                    <a:pt x="12589" y="16090"/>
                    <a:pt x="12626" y="16082"/>
                    <a:pt x="12627" y="16082"/>
                  </a:cubicBezTo>
                  <a:cubicBezTo>
                    <a:pt x="12629" y="16081"/>
                    <a:pt x="12629" y="16081"/>
                    <a:pt x="12629" y="16081"/>
                  </a:cubicBezTo>
                  <a:cubicBezTo>
                    <a:pt x="13637" y="16048"/>
                    <a:pt x="13637" y="16048"/>
                    <a:pt x="13637" y="16048"/>
                  </a:cubicBezTo>
                  <a:cubicBezTo>
                    <a:pt x="13642" y="16047"/>
                    <a:pt x="13648" y="16045"/>
                    <a:pt x="13653" y="16044"/>
                  </a:cubicBezTo>
                  <a:cubicBezTo>
                    <a:pt x="13653" y="16040"/>
                    <a:pt x="13653" y="16035"/>
                    <a:pt x="13653" y="16032"/>
                  </a:cubicBezTo>
                  <a:cubicBezTo>
                    <a:pt x="13648" y="16009"/>
                    <a:pt x="13637" y="15943"/>
                    <a:pt x="13637" y="15820"/>
                  </a:cubicBezTo>
                  <a:cubicBezTo>
                    <a:pt x="13637" y="15691"/>
                    <a:pt x="13649" y="15499"/>
                    <a:pt x="13692" y="15228"/>
                  </a:cubicBezTo>
                  <a:cubicBezTo>
                    <a:pt x="13778" y="14685"/>
                    <a:pt x="14158" y="12392"/>
                    <a:pt x="14206" y="12098"/>
                  </a:cubicBezTo>
                  <a:close/>
                  <a:moveTo>
                    <a:pt x="13991" y="10009"/>
                  </a:moveTo>
                  <a:cubicBezTo>
                    <a:pt x="13941" y="9997"/>
                    <a:pt x="13892" y="9987"/>
                    <a:pt x="13846" y="9976"/>
                  </a:cubicBezTo>
                  <a:cubicBezTo>
                    <a:pt x="12690" y="10923"/>
                    <a:pt x="12690" y="10923"/>
                    <a:pt x="12690" y="10923"/>
                  </a:cubicBezTo>
                  <a:cubicBezTo>
                    <a:pt x="12666" y="10946"/>
                    <a:pt x="12127" y="11482"/>
                    <a:pt x="12032" y="11556"/>
                  </a:cubicBezTo>
                  <a:cubicBezTo>
                    <a:pt x="11966" y="11608"/>
                    <a:pt x="11916" y="11633"/>
                    <a:pt x="11890" y="11645"/>
                  </a:cubicBezTo>
                  <a:cubicBezTo>
                    <a:pt x="11915" y="11697"/>
                    <a:pt x="11995" y="11865"/>
                    <a:pt x="12075" y="12034"/>
                  </a:cubicBezTo>
                  <a:cubicBezTo>
                    <a:pt x="12123" y="12136"/>
                    <a:pt x="12172" y="12238"/>
                    <a:pt x="12209" y="12314"/>
                  </a:cubicBezTo>
                  <a:cubicBezTo>
                    <a:pt x="12220" y="12337"/>
                    <a:pt x="12230" y="12357"/>
                    <a:pt x="12274" y="12452"/>
                  </a:cubicBezTo>
                  <a:cubicBezTo>
                    <a:pt x="12241" y="12465"/>
                    <a:pt x="12241" y="12465"/>
                    <a:pt x="12241" y="12465"/>
                  </a:cubicBezTo>
                  <a:cubicBezTo>
                    <a:pt x="12119" y="12212"/>
                    <a:pt x="11898" y="11745"/>
                    <a:pt x="11856" y="11658"/>
                  </a:cubicBezTo>
                  <a:cubicBezTo>
                    <a:pt x="11770" y="11686"/>
                    <a:pt x="11324" y="11832"/>
                    <a:pt x="10887" y="11975"/>
                  </a:cubicBezTo>
                  <a:cubicBezTo>
                    <a:pt x="11165" y="12776"/>
                    <a:pt x="11165" y="12776"/>
                    <a:pt x="11165" y="12776"/>
                  </a:cubicBezTo>
                  <a:cubicBezTo>
                    <a:pt x="11131" y="12788"/>
                    <a:pt x="11131" y="12788"/>
                    <a:pt x="11131" y="12788"/>
                  </a:cubicBezTo>
                  <a:cubicBezTo>
                    <a:pt x="10853" y="11986"/>
                    <a:pt x="10853" y="11986"/>
                    <a:pt x="10853" y="11986"/>
                  </a:cubicBezTo>
                  <a:cubicBezTo>
                    <a:pt x="10486" y="12106"/>
                    <a:pt x="10133" y="12220"/>
                    <a:pt x="10015" y="12257"/>
                  </a:cubicBezTo>
                  <a:cubicBezTo>
                    <a:pt x="9959" y="12274"/>
                    <a:pt x="9904" y="12281"/>
                    <a:pt x="9850" y="12281"/>
                  </a:cubicBezTo>
                  <a:cubicBezTo>
                    <a:pt x="9661" y="12280"/>
                    <a:pt x="9499" y="12195"/>
                    <a:pt x="9453" y="12168"/>
                  </a:cubicBezTo>
                  <a:cubicBezTo>
                    <a:pt x="9397" y="12288"/>
                    <a:pt x="9397" y="12288"/>
                    <a:pt x="9397" y="12288"/>
                  </a:cubicBezTo>
                  <a:cubicBezTo>
                    <a:pt x="8749" y="13692"/>
                    <a:pt x="8749" y="13692"/>
                    <a:pt x="8749" y="13692"/>
                  </a:cubicBezTo>
                  <a:cubicBezTo>
                    <a:pt x="8760" y="13690"/>
                    <a:pt x="8760" y="13690"/>
                    <a:pt x="8760" y="13690"/>
                  </a:cubicBezTo>
                  <a:cubicBezTo>
                    <a:pt x="8761" y="13690"/>
                    <a:pt x="8761" y="13690"/>
                    <a:pt x="8761" y="13690"/>
                  </a:cubicBezTo>
                  <a:cubicBezTo>
                    <a:pt x="8761" y="13690"/>
                    <a:pt x="8774" y="13691"/>
                    <a:pt x="8797" y="13692"/>
                  </a:cubicBezTo>
                  <a:cubicBezTo>
                    <a:pt x="8796" y="13687"/>
                    <a:pt x="8796" y="13687"/>
                    <a:pt x="8796" y="13687"/>
                  </a:cubicBezTo>
                  <a:cubicBezTo>
                    <a:pt x="8796" y="13687"/>
                    <a:pt x="8796" y="13687"/>
                    <a:pt x="8796" y="13687"/>
                  </a:cubicBezTo>
                  <a:cubicBezTo>
                    <a:pt x="9685" y="13385"/>
                    <a:pt x="9685" y="13385"/>
                    <a:pt x="9685" y="13385"/>
                  </a:cubicBezTo>
                  <a:cubicBezTo>
                    <a:pt x="10991" y="12957"/>
                    <a:pt x="10991" y="12957"/>
                    <a:pt x="10991" y="12957"/>
                  </a:cubicBezTo>
                  <a:cubicBezTo>
                    <a:pt x="14213" y="12056"/>
                    <a:pt x="14213" y="12056"/>
                    <a:pt x="14213" y="12056"/>
                  </a:cubicBezTo>
                  <a:cubicBezTo>
                    <a:pt x="14215" y="12043"/>
                    <a:pt x="14215" y="12043"/>
                    <a:pt x="14215" y="12043"/>
                  </a:cubicBezTo>
                  <a:cubicBezTo>
                    <a:pt x="14236" y="12029"/>
                    <a:pt x="14236" y="12029"/>
                    <a:pt x="14236" y="12029"/>
                  </a:cubicBezTo>
                  <a:cubicBezTo>
                    <a:pt x="14236" y="12029"/>
                    <a:pt x="14238" y="12027"/>
                    <a:pt x="14243" y="12024"/>
                  </a:cubicBezTo>
                  <a:cubicBezTo>
                    <a:pt x="14278" y="12000"/>
                    <a:pt x="14432" y="11886"/>
                    <a:pt x="14532" y="11748"/>
                  </a:cubicBezTo>
                  <a:cubicBezTo>
                    <a:pt x="14590" y="11668"/>
                    <a:pt x="14637" y="11578"/>
                    <a:pt x="14669" y="11508"/>
                  </a:cubicBezTo>
                  <a:cubicBezTo>
                    <a:pt x="14685" y="11474"/>
                    <a:pt x="14697" y="11444"/>
                    <a:pt x="14705" y="11423"/>
                  </a:cubicBezTo>
                  <a:cubicBezTo>
                    <a:pt x="14714" y="11402"/>
                    <a:pt x="14718" y="11391"/>
                    <a:pt x="14718" y="11391"/>
                  </a:cubicBezTo>
                  <a:cubicBezTo>
                    <a:pt x="14720" y="11383"/>
                    <a:pt x="14720" y="11383"/>
                    <a:pt x="14720" y="11383"/>
                  </a:cubicBezTo>
                  <a:cubicBezTo>
                    <a:pt x="15013" y="10981"/>
                    <a:pt x="15013" y="10981"/>
                    <a:pt x="15013" y="10981"/>
                  </a:cubicBezTo>
                  <a:cubicBezTo>
                    <a:pt x="14994" y="10969"/>
                    <a:pt x="14962" y="10946"/>
                    <a:pt x="14917" y="10906"/>
                  </a:cubicBezTo>
                  <a:cubicBezTo>
                    <a:pt x="14895" y="10885"/>
                    <a:pt x="14859" y="10844"/>
                    <a:pt x="14810" y="10788"/>
                  </a:cubicBezTo>
                  <a:cubicBezTo>
                    <a:pt x="14666" y="10622"/>
                    <a:pt x="14436" y="10344"/>
                    <a:pt x="14436" y="10344"/>
                  </a:cubicBezTo>
                  <a:cubicBezTo>
                    <a:pt x="14431" y="10339"/>
                    <a:pt x="14431" y="10339"/>
                    <a:pt x="14431" y="10339"/>
                  </a:cubicBezTo>
                  <a:cubicBezTo>
                    <a:pt x="14428" y="10332"/>
                    <a:pt x="14428" y="10332"/>
                    <a:pt x="14428" y="10332"/>
                  </a:cubicBezTo>
                  <a:cubicBezTo>
                    <a:pt x="14428" y="10332"/>
                    <a:pt x="14428" y="10331"/>
                    <a:pt x="14426" y="10327"/>
                  </a:cubicBezTo>
                  <a:cubicBezTo>
                    <a:pt x="14411" y="10299"/>
                    <a:pt x="14336" y="10171"/>
                    <a:pt x="14219" y="10098"/>
                  </a:cubicBezTo>
                  <a:cubicBezTo>
                    <a:pt x="14152" y="10055"/>
                    <a:pt x="14071" y="10029"/>
                    <a:pt x="13991" y="10009"/>
                  </a:cubicBezTo>
                  <a:close/>
                  <a:moveTo>
                    <a:pt x="13339" y="9606"/>
                  </a:moveTo>
                  <a:cubicBezTo>
                    <a:pt x="13337" y="9581"/>
                    <a:pt x="13337" y="9581"/>
                    <a:pt x="13337" y="9581"/>
                  </a:cubicBezTo>
                  <a:cubicBezTo>
                    <a:pt x="13338" y="9555"/>
                    <a:pt x="13338" y="9555"/>
                    <a:pt x="13338" y="9555"/>
                  </a:cubicBezTo>
                  <a:cubicBezTo>
                    <a:pt x="13338" y="9555"/>
                    <a:pt x="13338" y="9555"/>
                    <a:pt x="13339" y="9554"/>
                  </a:cubicBezTo>
                  <a:cubicBezTo>
                    <a:pt x="13340" y="9549"/>
                    <a:pt x="13346" y="9523"/>
                    <a:pt x="13351" y="9492"/>
                  </a:cubicBezTo>
                  <a:cubicBezTo>
                    <a:pt x="13356" y="9457"/>
                    <a:pt x="13360" y="9412"/>
                    <a:pt x="13360" y="9366"/>
                  </a:cubicBezTo>
                  <a:cubicBezTo>
                    <a:pt x="13360" y="9315"/>
                    <a:pt x="13354" y="9263"/>
                    <a:pt x="13341" y="9222"/>
                  </a:cubicBezTo>
                  <a:cubicBezTo>
                    <a:pt x="13320" y="9160"/>
                    <a:pt x="13280" y="9106"/>
                    <a:pt x="13208" y="9056"/>
                  </a:cubicBezTo>
                  <a:cubicBezTo>
                    <a:pt x="13136" y="9006"/>
                    <a:pt x="13031" y="8963"/>
                    <a:pt x="12888" y="8928"/>
                  </a:cubicBezTo>
                  <a:cubicBezTo>
                    <a:pt x="12599" y="8859"/>
                    <a:pt x="12340" y="8850"/>
                    <a:pt x="12131" y="8841"/>
                  </a:cubicBezTo>
                  <a:cubicBezTo>
                    <a:pt x="12026" y="8836"/>
                    <a:pt x="11797" y="8822"/>
                    <a:pt x="11594" y="8808"/>
                  </a:cubicBezTo>
                  <a:cubicBezTo>
                    <a:pt x="11492" y="8802"/>
                    <a:pt x="11397" y="8795"/>
                    <a:pt x="11328" y="8791"/>
                  </a:cubicBezTo>
                  <a:cubicBezTo>
                    <a:pt x="11293" y="8788"/>
                    <a:pt x="11264" y="8786"/>
                    <a:pt x="11244" y="8785"/>
                  </a:cubicBezTo>
                  <a:cubicBezTo>
                    <a:pt x="11244" y="8785"/>
                    <a:pt x="11243" y="8785"/>
                    <a:pt x="11243" y="8785"/>
                  </a:cubicBezTo>
                  <a:cubicBezTo>
                    <a:pt x="11233" y="8806"/>
                    <a:pt x="11233" y="8806"/>
                    <a:pt x="11233" y="8806"/>
                  </a:cubicBezTo>
                  <a:cubicBezTo>
                    <a:pt x="11227" y="8895"/>
                    <a:pt x="11201" y="9079"/>
                    <a:pt x="11087" y="9199"/>
                  </a:cubicBezTo>
                  <a:cubicBezTo>
                    <a:pt x="10972" y="9321"/>
                    <a:pt x="10782" y="9493"/>
                    <a:pt x="10703" y="9564"/>
                  </a:cubicBezTo>
                  <a:cubicBezTo>
                    <a:pt x="10767" y="9607"/>
                    <a:pt x="10926" y="9712"/>
                    <a:pt x="11080" y="9813"/>
                  </a:cubicBezTo>
                  <a:cubicBezTo>
                    <a:pt x="11281" y="9944"/>
                    <a:pt x="11404" y="10050"/>
                    <a:pt x="11404" y="10051"/>
                  </a:cubicBezTo>
                  <a:cubicBezTo>
                    <a:pt x="11406" y="10052"/>
                    <a:pt x="11406" y="10052"/>
                    <a:pt x="11406" y="10052"/>
                  </a:cubicBezTo>
                  <a:cubicBezTo>
                    <a:pt x="11688" y="10407"/>
                    <a:pt x="11688" y="10407"/>
                    <a:pt x="11688" y="10407"/>
                  </a:cubicBezTo>
                  <a:cubicBezTo>
                    <a:pt x="11699" y="10401"/>
                    <a:pt x="11728" y="10381"/>
                    <a:pt x="11789" y="10328"/>
                  </a:cubicBezTo>
                  <a:cubicBezTo>
                    <a:pt x="11832" y="10290"/>
                    <a:pt x="11878" y="10278"/>
                    <a:pt x="11915" y="10278"/>
                  </a:cubicBezTo>
                  <a:cubicBezTo>
                    <a:pt x="11968" y="10278"/>
                    <a:pt x="12004" y="10301"/>
                    <a:pt x="12006" y="10302"/>
                  </a:cubicBezTo>
                  <a:cubicBezTo>
                    <a:pt x="12007" y="10303"/>
                    <a:pt x="12007" y="10303"/>
                    <a:pt x="12007" y="10303"/>
                  </a:cubicBezTo>
                  <a:cubicBezTo>
                    <a:pt x="12685" y="10875"/>
                    <a:pt x="12685" y="10875"/>
                    <a:pt x="12685" y="10875"/>
                  </a:cubicBezTo>
                  <a:cubicBezTo>
                    <a:pt x="12673" y="10890"/>
                    <a:pt x="12673" y="10890"/>
                    <a:pt x="12673" y="10890"/>
                  </a:cubicBezTo>
                  <a:cubicBezTo>
                    <a:pt x="13784" y="9980"/>
                    <a:pt x="13784" y="9980"/>
                    <a:pt x="13784" y="9980"/>
                  </a:cubicBezTo>
                  <a:cubicBezTo>
                    <a:pt x="13785" y="9975"/>
                    <a:pt x="13788" y="9967"/>
                    <a:pt x="13789" y="9960"/>
                  </a:cubicBezTo>
                  <a:cubicBezTo>
                    <a:pt x="13782" y="9958"/>
                    <a:pt x="13774" y="9956"/>
                    <a:pt x="13767" y="9954"/>
                  </a:cubicBezTo>
                  <a:cubicBezTo>
                    <a:pt x="13698" y="9930"/>
                    <a:pt x="13613" y="9878"/>
                    <a:pt x="13533" y="9816"/>
                  </a:cubicBezTo>
                  <a:cubicBezTo>
                    <a:pt x="13452" y="9752"/>
                    <a:pt x="13379" y="9681"/>
                    <a:pt x="13339" y="9606"/>
                  </a:cubicBezTo>
                  <a:close/>
                  <a:moveTo>
                    <a:pt x="15999" y="4718"/>
                  </a:moveTo>
                  <a:cubicBezTo>
                    <a:pt x="14058" y="5123"/>
                    <a:pt x="14058" y="5123"/>
                    <a:pt x="14058" y="5123"/>
                  </a:cubicBezTo>
                  <a:cubicBezTo>
                    <a:pt x="13574" y="5007"/>
                    <a:pt x="13574" y="5007"/>
                    <a:pt x="13574" y="5007"/>
                  </a:cubicBezTo>
                  <a:cubicBezTo>
                    <a:pt x="12887" y="4807"/>
                    <a:pt x="12887" y="4807"/>
                    <a:pt x="12887" y="4807"/>
                  </a:cubicBezTo>
                  <a:cubicBezTo>
                    <a:pt x="12788" y="4780"/>
                    <a:pt x="12634" y="4760"/>
                    <a:pt x="12507" y="4748"/>
                  </a:cubicBezTo>
                  <a:cubicBezTo>
                    <a:pt x="12413" y="4738"/>
                    <a:pt x="12334" y="4733"/>
                    <a:pt x="12298" y="4731"/>
                  </a:cubicBezTo>
                  <a:cubicBezTo>
                    <a:pt x="12298" y="4736"/>
                    <a:pt x="12298" y="4736"/>
                    <a:pt x="12298" y="4736"/>
                  </a:cubicBezTo>
                  <a:cubicBezTo>
                    <a:pt x="12294" y="4736"/>
                    <a:pt x="12294" y="4736"/>
                    <a:pt x="12294" y="4736"/>
                  </a:cubicBezTo>
                  <a:cubicBezTo>
                    <a:pt x="12295" y="4766"/>
                    <a:pt x="12299" y="4823"/>
                    <a:pt x="12299" y="4824"/>
                  </a:cubicBezTo>
                  <a:cubicBezTo>
                    <a:pt x="12299" y="4825"/>
                    <a:pt x="12299" y="4825"/>
                    <a:pt x="12299" y="4825"/>
                  </a:cubicBezTo>
                  <a:cubicBezTo>
                    <a:pt x="12024" y="6708"/>
                    <a:pt x="12024" y="6708"/>
                    <a:pt x="12024" y="6708"/>
                  </a:cubicBezTo>
                  <a:cubicBezTo>
                    <a:pt x="12024" y="6709"/>
                    <a:pt x="12007" y="6823"/>
                    <a:pt x="11961" y="6945"/>
                  </a:cubicBezTo>
                  <a:cubicBezTo>
                    <a:pt x="11948" y="6977"/>
                    <a:pt x="11934" y="7010"/>
                    <a:pt x="11917" y="7041"/>
                  </a:cubicBezTo>
                  <a:cubicBezTo>
                    <a:pt x="12035" y="7090"/>
                    <a:pt x="12067" y="7215"/>
                    <a:pt x="12067" y="7217"/>
                  </a:cubicBezTo>
                  <a:cubicBezTo>
                    <a:pt x="12532" y="8728"/>
                    <a:pt x="12532" y="8728"/>
                    <a:pt x="12532" y="8728"/>
                  </a:cubicBezTo>
                  <a:cubicBezTo>
                    <a:pt x="12532" y="8728"/>
                    <a:pt x="12533" y="8729"/>
                    <a:pt x="12533" y="8729"/>
                  </a:cubicBezTo>
                  <a:cubicBezTo>
                    <a:pt x="12541" y="8753"/>
                    <a:pt x="12541" y="8753"/>
                    <a:pt x="12541" y="8753"/>
                  </a:cubicBezTo>
                  <a:cubicBezTo>
                    <a:pt x="12658" y="8766"/>
                    <a:pt x="12783" y="8785"/>
                    <a:pt x="12914" y="8817"/>
                  </a:cubicBezTo>
                  <a:cubicBezTo>
                    <a:pt x="13066" y="8853"/>
                    <a:pt x="13184" y="8900"/>
                    <a:pt x="13273" y="8961"/>
                  </a:cubicBezTo>
                  <a:cubicBezTo>
                    <a:pt x="13348" y="9012"/>
                    <a:pt x="13401" y="9074"/>
                    <a:pt x="13434" y="9145"/>
                  </a:cubicBezTo>
                  <a:cubicBezTo>
                    <a:pt x="13497" y="9130"/>
                    <a:pt x="13629" y="9098"/>
                    <a:pt x="13762" y="9066"/>
                  </a:cubicBezTo>
                  <a:cubicBezTo>
                    <a:pt x="13854" y="9043"/>
                    <a:pt x="13947" y="9021"/>
                    <a:pt x="14018" y="9004"/>
                  </a:cubicBezTo>
                  <a:cubicBezTo>
                    <a:pt x="14053" y="8996"/>
                    <a:pt x="14083" y="8989"/>
                    <a:pt x="14105" y="8984"/>
                  </a:cubicBezTo>
                  <a:cubicBezTo>
                    <a:pt x="14116" y="8982"/>
                    <a:pt x="14125" y="8980"/>
                    <a:pt x="14132" y="8978"/>
                  </a:cubicBezTo>
                  <a:cubicBezTo>
                    <a:pt x="14135" y="8978"/>
                    <a:pt x="14138" y="8977"/>
                    <a:pt x="14140" y="8976"/>
                  </a:cubicBezTo>
                  <a:cubicBezTo>
                    <a:pt x="14143" y="8976"/>
                    <a:pt x="14143" y="8976"/>
                    <a:pt x="14148" y="8975"/>
                  </a:cubicBezTo>
                  <a:cubicBezTo>
                    <a:pt x="14161" y="8973"/>
                    <a:pt x="14224" y="8954"/>
                    <a:pt x="14306" y="8928"/>
                  </a:cubicBezTo>
                  <a:cubicBezTo>
                    <a:pt x="14391" y="8900"/>
                    <a:pt x="14499" y="8863"/>
                    <a:pt x="14614" y="8822"/>
                  </a:cubicBezTo>
                  <a:cubicBezTo>
                    <a:pt x="14729" y="8780"/>
                    <a:pt x="14956" y="8663"/>
                    <a:pt x="15153" y="8555"/>
                  </a:cubicBezTo>
                  <a:cubicBezTo>
                    <a:pt x="15252" y="8502"/>
                    <a:pt x="15344" y="8450"/>
                    <a:pt x="15414" y="8411"/>
                  </a:cubicBezTo>
                  <a:cubicBezTo>
                    <a:pt x="15448" y="8392"/>
                    <a:pt x="15477" y="8376"/>
                    <a:pt x="15498" y="8364"/>
                  </a:cubicBezTo>
                  <a:cubicBezTo>
                    <a:pt x="15509" y="8358"/>
                    <a:pt x="15518" y="8353"/>
                    <a:pt x="15524" y="8350"/>
                  </a:cubicBezTo>
                  <a:cubicBezTo>
                    <a:pt x="15532" y="8346"/>
                    <a:pt x="15535" y="8344"/>
                    <a:pt x="15541" y="8341"/>
                  </a:cubicBezTo>
                  <a:cubicBezTo>
                    <a:pt x="15555" y="8335"/>
                    <a:pt x="15594" y="8318"/>
                    <a:pt x="15629" y="8303"/>
                  </a:cubicBezTo>
                  <a:cubicBezTo>
                    <a:pt x="15629" y="8301"/>
                    <a:pt x="15628" y="8294"/>
                    <a:pt x="15628" y="8288"/>
                  </a:cubicBezTo>
                  <a:cubicBezTo>
                    <a:pt x="15617" y="8199"/>
                    <a:pt x="15593" y="8008"/>
                    <a:pt x="15566" y="7787"/>
                  </a:cubicBezTo>
                  <a:cubicBezTo>
                    <a:pt x="15528" y="7483"/>
                    <a:pt x="15483" y="7124"/>
                    <a:pt x="15455" y="6906"/>
                  </a:cubicBezTo>
                  <a:cubicBezTo>
                    <a:pt x="15442" y="6803"/>
                    <a:pt x="15436" y="6717"/>
                    <a:pt x="15436" y="6641"/>
                  </a:cubicBezTo>
                  <a:cubicBezTo>
                    <a:pt x="15436" y="6396"/>
                    <a:pt x="15499" y="6268"/>
                    <a:pt x="15574" y="6087"/>
                  </a:cubicBezTo>
                  <a:cubicBezTo>
                    <a:pt x="15676" y="5842"/>
                    <a:pt x="15938" y="5628"/>
                    <a:pt x="16017" y="5288"/>
                  </a:cubicBezTo>
                  <a:cubicBezTo>
                    <a:pt x="16039" y="5197"/>
                    <a:pt x="16047" y="5111"/>
                    <a:pt x="16047" y="5035"/>
                  </a:cubicBezTo>
                  <a:cubicBezTo>
                    <a:pt x="16047" y="4931"/>
                    <a:pt x="16032" y="4845"/>
                    <a:pt x="16018" y="4785"/>
                  </a:cubicBezTo>
                  <a:cubicBezTo>
                    <a:pt x="16011" y="4756"/>
                    <a:pt x="16004" y="4734"/>
                    <a:pt x="15999" y="4718"/>
                  </a:cubicBezTo>
                  <a:close/>
                  <a:moveTo>
                    <a:pt x="16063" y="1762"/>
                  </a:moveTo>
                  <a:cubicBezTo>
                    <a:pt x="15597" y="1868"/>
                    <a:pt x="15107" y="1907"/>
                    <a:pt x="14951" y="1935"/>
                  </a:cubicBezTo>
                  <a:cubicBezTo>
                    <a:pt x="14889" y="1946"/>
                    <a:pt x="14696" y="1949"/>
                    <a:pt x="14462" y="1949"/>
                  </a:cubicBezTo>
                  <a:cubicBezTo>
                    <a:pt x="14004" y="1949"/>
                    <a:pt x="13398" y="1936"/>
                    <a:pt x="13373" y="1935"/>
                  </a:cubicBezTo>
                  <a:cubicBezTo>
                    <a:pt x="13296" y="1939"/>
                    <a:pt x="13198" y="1939"/>
                    <a:pt x="13121" y="2025"/>
                  </a:cubicBezTo>
                  <a:cubicBezTo>
                    <a:pt x="13081" y="2071"/>
                    <a:pt x="13033" y="2135"/>
                    <a:pt x="12996" y="2187"/>
                  </a:cubicBezTo>
                  <a:cubicBezTo>
                    <a:pt x="12958" y="2240"/>
                    <a:pt x="12931" y="2281"/>
                    <a:pt x="12931" y="2281"/>
                  </a:cubicBezTo>
                  <a:cubicBezTo>
                    <a:pt x="12930" y="2282"/>
                    <a:pt x="12930" y="2282"/>
                    <a:pt x="12930" y="2282"/>
                  </a:cubicBezTo>
                  <a:cubicBezTo>
                    <a:pt x="12930" y="2282"/>
                    <a:pt x="12930" y="2282"/>
                    <a:pt x="12930" y="2282"/>
                  </a:cubicBezTo>
                  <a:cubicBezTo>
                    <a:pt x="12929" y="2282"/>
                    <a:pt x="12834" y="2400"/>
                    <a:pt x="12735" y="2523"/>
                  </a:cubicBezTo>
                  <a:cubicBezTo>
                    <a:pt x="12686" y="2584"/>
                    <a:pt x="12636" y="2647"/>
                    <a:pt x="12597" y="2697"/>
                  </a:cubicBezTo>
                  <a:cubicBezTo>
                    <a:pt x="12558" y="2747"/>
                    <a:pt x="12529" y="2787"/>
                    <a:pt x="12527" y="2793"/>
                  </a:cubicBezTo>
                  <a:cubicBezTo>
                    <a:pt x="12510" y="2830"/>
                    <a:pt x="12469" y="2925"/>
                    <a:pt x="12456" y="2955"/>
                  </a:cubicBezTo>
                  <a:cubicBezTo>
                    <a:pt x="12483" y="2967"/>
                    <a:pt x="12510" y="2983"/>
                    <a:pt x="12534" y="3006"/>
                  </a:cubicBezTo>
                  <a:cubicBezTo>
                    <a:pt x="12536" y="3007"/>
                    <a:pt x="12536" y="3007"/>
                    <a:pt x="12536" y="3007"/>
                  </a:cubicBezTo>
                  <a:cubicBezTo>
                    <a:pt x="13277" y="4135"/>
                    <a:pt x="13277" y="4135"/>
                    <a:pt x="13277" y="4135"/>
                  </a:cubicBezTo>
                  <a:cubicBezTo>
                    <a:pt x="13279" y="4137"/>
                    <a:pt x="13321" y="4201"/>
                    <a:pt x="13321" y="4309"/>
                  </a:cubicBezTo>
                  <a:cubicBezTo>
                    <a:pt x="13321" y="4367"/>
                    <a:pt x="13309" y="4438"/>
                    <a:pt x="13272" y="4517"/>
                  </a:cubicBezTo>
                  <a:cubicBezTo>
                    <a:pt x="13193" y="4684"/>
                    <a:pt x="13129" y="4790"/>
                    <a:pt x="13102" y="4832"/>
                  </a:cubicBezTo>
                  <a:cubicBezTo>
                    <a:pt x="13583" y="4972"/>
                    <a:pt x="13583" y="4972"/>
                    <a:pt x="13583" y="4972"/>
                  </a:cubicBezTo>
                  <a:cubicBezTo>
                    <a:pt x="14059" y="5086"/>
                    <a:pt x="14059" y="5086"/>
                    <a:pt x="14059" y="5086"/>
                  </a:cubicBezTo>
                  <a:cubicBezTo>
                    <a:pt x="15987" y="4684"/>
                    <a:pt x="15987" y="4684"/>
                    <a:pt x="15987" y="4684"/>
                  </a:cubicBezTo>
                  <a:cubicBezTo>
                    <a:pt x="15981" y="4684"/>
                    <a:pt x="15981" y="4684"/>
                    <a:pt x="15981" y="4684"/>
                  </a:cubicBezTo>
                  <a:cubicBezTo>
                    <a:pt x="15981" y="4684"/>
                    <a:pt x="15981" y="4684"/>
                    <a:pt x="15981" y="4684"/>
                  </a:cubicBezTo>
                  <a:cubicBezTo>
                    <a:pt x="15981" y="4684"/>
                    <a:pt x="15981" y="4684"/>
                    <a:pt x="15981" y="4684"/>
                  </a:cubicBezTo>
                  <a:cubicBezTo>
                    <a:pt x="15970" y="4630"/>
                    <a:pt x="15773" y="4005"/>
                    <a:pt x="15674" y="3534"/>
                  </a:cubicBezTo>
                  <a:cubicBezTo>
                    <a:pt x="15630" y="3326"/>
                    <a:pt x="15613" y="3118"/>
                    <a:pt x="15613" y="2932"/>
                  </a:cubicBezTo>
                  <a:cubicBezTo>
                    <a:pt x="15613" y="2673"/>
                    <a:pt x="15645" y="2455"/>
                    <a:pt x="15678" y="2333"/>
                  </a:cubicBezTo>
                  <a:cubicBezTo>
                    <a:pt x="15707" y="2224"/>
                    <a:pt x="15809" y="2076"/>
                    <a:pt x="15905" y="1951"/>
                  </a:cubicBezTo>
                  <a:cubicBezTo>
                    <a:pt x="15953" y="1890"/>
                    <a:pt x="15999" y="1834"/>
                    <a:pt x="16034" y="1794"/>
                  </a:cubicBezTo>
                  <a:cubicBezTo>
                    <a:pt x="16045" y="1782"/>
                    <a:pt x="16054" y="1771"/>
                    <a:pt x="16063" y="1762"/>
                  </a:cubicBezTo>
                  <a:close/>
                  <a:moveTo>
                    <a:pt x="11544" y="17077"/>
                  </a:moveTo>
                  <a:cubicBezTo>
                    <a:pt x="11544" y="17056"/>
                    <a:pt x="11544" y="17056"/>
                    <a:pt x="11544" y="17056"/>
                  </a:cubicBezTo>
                  <a:cubicBezTo>
                    <a:pt x="11507" y="17056"/>
                    <a:pt x="11507" y="17056"/>
                    <a:pt x="11507" y="17056"/>
                  </a:cubicBezTo>
                  <a:cubicBezTo>
                    <a:pt x="11508" y="17077"/>
                    <a:pt x="11508" y="17077"/>
                    <a:pt x="11508" y="17077"/>
                  </a:cubicBezTo>
                  <a:cubicBezTo>
                    <a:pt x="11508" y="17178"/>
                    <a:pt x="11540" y="17639"/>
                    <a:pt x="11638" y="17830"/>
                  </a:cubicBezTo>
                  <a:cubicBezTo>
                    <a:pt x="11679" y="17910"/>
                    <a:pt x="11714" y="17964"/>
                    <a:pt x="11741" y="18000"/>
                  </a:cubicBezTo>
                  <a:cubicBezTo>
                    <a:pt x="11787" y="18000"/>
                    <a:pt x="11787" y="18000"/>
                    <a:pt x="11787" y="18000"/>
                  </a:cubicBezTo>
                  <a:cubicBezTo>
                    <a:pt x="11760" y="17967"/>
                    <a:pt x="11720" y="17910"/>
                    <a:pt x="11670" y="17813"/>
                  </a:cubicBezTo>
                  <a:cubicBezTo>
                    <a:pt x="11578" y="17639"/>
                    <a:pt x="11543" y="17172"/>
                    <a:pt x="11544" y="17077"/>
                  </a:cubicBezTo>
                  <a:close/>
                  <a:moveTo>
                    <a:pt x="4350" y="14287"/>
                  </a:moveTo>
                  <a:cubicBezTo>
                    <a:pt x="4349" y="14287"/>
                    <a:pt x="4349" y="14287"/>
                    <a:pt x="4349" y="14287"/>
                  </a:cubicBezTo>
                  <a:cubicBezTo>
                    <a:pt x="4350" y="14287"/>
                    <a:pt x="4350" y="14287"/>
                    <a:pt x="4350" y="14287"/>
                  </a:cubicBezTo>
                  <a:close/>
                  <a:moveTo>
                    <a:pt x="1041" y="9601"/>
                  </a:moveTo>
                  <a:cubicBezTo>
                    <a:pt x="1041" y="9601"/>
                    <a:pt x="1041" y="9601"/>
                    <a:pt x="1041" y="9601"/>
                  </a:cubicBezTo>
                  <a:cubicBezTo>
                    <a:pt x="1041" y="9601"/>
                    <a:pt x="1041" y="9601"/>
                    <a:pt x="1041" y="96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799"/>
            </a:p>
          </p:txBody>
        </p:sp>
      </p:grpSp>
      <p:sp>
        <p:nvSpPr>
          <p:cNvPr id="6" name="Tijdelijke aanduiding voor dianummer 5"/>
          <p:cNvSpPr>
            <a:spLocks noGrp="1"/>
          </p:cNvSpPr>
          <p:nvPr>
            <p:ph type="sldNum" sz="quarter" idx="4"/>
          </p:nvPr>
        </p:nvSpPr>
        <p:spPr bwMode="gray">
          <a:xfrm>
            <a:off x="11157644" y="6382800"/>
            <a:ext cx="499720" cy="252000"/>
          </a:xfrm>
          <a:prstGeom prst="rect">
            <a:avLst/>
          </a:prstGeom>
        </p:spPr>
        <p:txBody>
          <a:bodyPr vert="horz" lIns="0" tIns="0" rIns="0" bIns="0" rtlCol="0" anchor="t">
            <a:noAutofit/>
          </a:bodyPr>
          <a:lstStyle>
            <a:lvl1pPr algn="r">
              <a:defRPr sz="1000">
                <a:solidFill>
                  <a:srgbClr val="898285"/>
                </a:solidFill>
                <a:latin typeface="Univers" panose="020B0603020202030204" pitchFamily="34" charset="0"/>
              </a:defRPr>
            </a:lvl1pPr>
          </a:lstStyle>
          <a:p>
            <a:fld id="{1336C48C-F87C-4E4B-81EF-5027B17D1F61}" type="slidenum">
              <a:rPr lang="nl-NL" noProof="1" smtClean="0"/>
              <a:pPr/>
              <a:t>‹nr.›</a:t>
            </a:fld>
            <a:endParaRPr lang="nl-NL" noProof="1"/>
          </a:p>
        </p:txBody>
      </p:sp>
      <p:sp>
        <p:nvSpPr>
          <p:cNvPr id="4" name="Tijdelijke aanduiding voor datum 3"/>
          <p:cNvSpPr>
            <a:spLocks noGrp="1"/>
          </p:cNvSpPr>
          <p:nvPr>
            <p:ph type="dt" sz="half" idx="2"/>
          </p:nvPr>
        </p:nvSpPr>
        <p:spPr bwMode="gray">
          <a:xfrm>
            <a:off x="9897422" y="6382800"/>
            <a:ext cx="1260222" cy="252000"/>
          </a:xfrm>
          <a:prstGeom prst="rect">
            <a:avLst/>
          </a:prstGeom>
        </p:spPr>
        <p:txBody>
          <a:bodyPr vert="horz" lIns="0" tIns="0" rIns="0" bIns="0" rtlCol="0" anchor="t">
            <a:noAutofit/>
          </a:bodyPr>
          <a:lstStyle>
            <a:lvl1pPr algn="r">
              <a:defRPr sz="1000">
                <a:solidFill>
                  <a:schemeClr val="accent4"/>
                </a:solidFill>
                <a:latin typeface="Univers" panose="020B0603020202030204" pitchFamily="34" charset="0"/>
              </a:defRPr>
            </a:lvl1pPr>
          </a:lstStyle>
          <a:p>
            <a:endParaRPr lang="nl-NL" noProof="1"/>
          </a:p>
        </p:txBody>
      </p:sp>
      <p:sp>
        <p:nvSpPr>
          <p:cNvPr id="5" name="Tijdelijke aanduiding voor voettekst 4"/>
          <p:cNvSpPr>
            <a:spLocks noGrp="1"/>
          </p:cNvSpPr>
          <p:nvPr>
            <p:ph type="ftr" sz="quarter" idx="3"/>
          </p:nvPr>
        </p:nvSpPr>
        <p:spPr bwMode="gray">
          <a:xfrm>
            <a:off x="1439625" y="6382800"/>
            <a:ext cx="6263881" cy="252000"/>
          </a:xfrm>
          <a:prstGeom prst="rect">
            <a:avLst/>
          </a:prstGeom>
        </p:spPr>
        <p:txBody>
          <a:bodyPr vert="horz" lIns="0" tIns="0" rIns="0" bIns="0" rtlCol="0" anchor="t">
            <a:noAutofit/>
          </a:bodyPr>
          <a:lstStyle>
            <a:lvl1pPr algn="l">
              <a:defRPr sz="1000">
                <a:solidFill>
                  <a:schemeClr val="accent4"/>
                </a:solidFill>
                <a:latin typeface="Univers" panose="020B0603020202030204" pitchFamily="34" charset="0"/>
              </a:defRPr>
            </a:lvl1pPr>
          </a:lstStyle>
          <a:p>
            <a:endParaRPr lang="nl-NL" noProof="1"/>
          </a:p>
        </p:txBody>
      </p:sp>
      <p:sp>
        <p:nvSpPr>
          <p:cNvPr id="3" name="Tijdelijke aanduiding voor tekst 2 (JU-Free)"/>
          <p:cNvSpPr>
            <a:spLocks noGrp="1"/>
          </p:cNvSpPr>
          <p:nvPr>
            <p:ph type="body" idx="1"/>
          </p:nvPr>
        </p:nvSpPr>
        <p:spPr bwMode="gray">
          <a:xfrm>
            <a:off x="1439625" y="1295280"/>
            <a:ext cx="10149357" cy="4971600"/>
          </a:xfrm>
          <a:prstGeom prst="rect">
            <a:avLst/>
          </a:prstGeom>
        </p:spPr>
        <p:txBody>
          <a:bodyPr vert="horz" lIns="0" tIns="0" rIns="0" bIns="0" rtlCol="0">
            <a:noAutofit/>
          </a:bodyPr>
          <a:lstStyle/>
          <a:p>
            <a:pPr lvl="0"/>
            <a:r>
              <a:rPr lang="nl-NL" noProof="1"/>
              <a:t>JU-LEVEL1=Basistekst</a:t>
            </a:r>
          </a:p>
          <a:p>
            <a:pPr lvl="1"/>
            <a:r>
              <a:rPr lang="nl-NL" noProof="1"/>
              <a:t>JU-LEVEL2=Tussenkop 1</a:t>
            </a:r>
          </a:p>
          <a:p>
            <a:pPr lvl="2"/>
            <a:r>
              <a:rPr lang="nl-NL" noProof="1"/>
              <a:t>JU-LEVEL3=Tussenkop 2</a:t>
            </a:r>
          </a:p>
          <a:p>
            <a:pPr lvl="3"/>
            <a:r>
              <a:rPr lang="nl-NL" noProof="1"/>
              <a:t>JU-LEVEL4=Tussenkop 3</a:t>
            </a:r>
          </a:p>
          <a:p>
            <a:pPr lvl="4"/>
            <a:r>
              <a:rPr lang="nl-NL" noProof="1"/>
              <a:t>JU-LEVEL5=Extra titelstijl</a:t>
            </a:r>
          </a:p>
          <a:p>
            <a:pPr lvl="5"/>
            <a:r>
              <a:rPr lang="nl-NL" noProof="1"/>
              <a:t>JU-LEVEL6=Opsomming 1e niveau</a:t>
            </a:r>
          </a:p>
          <a:p>
            <a:pPr lvl="6"/>
            <a:r>
              <a:rPr lang="nl-NL" noProof="1"/>
              <a:t>JU-LEVEL7=Opsomming 2e niveau</a:t>
            </a:r>
          </a:p>
          <a:p>
            <a:pPr lvl="7"/>
            <a:r>
              <a:rPr lang="nl-NL" noProof="1"/>
              <a:t>JU-LEVEL8=Opsomming 3e niveau</a:t>
            </a:r>
          </a:p>
          <a:p>
            <a:pPr lvl="8"/>
            <a:r>
              <a:rPr lang="nl-NL" noProof="1"/>
              <a:t>JU-LEVEL9=Zwevend 1e niveau</a:t>
            </a:r>
          </a:p>
        </p:txBody>
      </p:sp>
      <p:sp>
        <p:nvSpPr>
          <p:cNvPr id="2" name="Tijdelijke aanduiding voor titel 1"/>
          <p:cNvSpPr>
            <a:spLocks noGrp="1"/>
          </p:cNvSpPr>
          <p:nvPr>
            <p:ph type="title"/>
          </p:nvPr>
        </p:nvSpPr>
        <p:spPr bwMode="gray">
          <a:xfrm>
            <a:off x="1439625" y="0"/>
            <a:ext cx="10149357" cy="810000"/>
          </a:xfrm>
          <a:prstGeom prst="rect">
            <a:avLst/>
          </a:prstGeom>
        </p:spPr>
        <p:txBody>
          <a:bodyPr vert="horz" lIns="0" tIns="0" rIns="0" bIns="0" rtlCol="0" anchor="ctr">
            <a:noAutofit/>
          </a:bodyPr>
          <a:lstStyle/>
          <a:p>
            <a:r>
              <a:rPr lang="nl-NL" noProof="1"/>
              <a:t>[Titel]</a:t>
            </a:r>
          </a:p>
        </p:txBody>
      </p:sp>
    </p:spTree>
    <p:extLst>
      <p:ext uri="{BB962C8B-B14F-4D97-AF65-F5344CB8AC3E}">
        <p14:creationId xmlns:p14="http://schemas.microsoft.com/office/powerpoint/2010/main" val="61485953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088610" rtl="0" eaLnBrk="1" latinLnBrk="0" hangingPunct="1">
        <a:lnSpc>
          <a:spcPct val="100000"/>
        </a:lnSpc>
        <a:spcBef>
          <a:spcPct val="0"/>
        </a:spcBef>
        <a:buNone/>
        <a:defRPr sz="1999" b="1" kern="1200" baseline="0">
          <a:solidFill>
            <a:schemeClr val="bg1"/>
          </a:solidFill>
          <a:latin typeface="Univers" panose="020B0603020202030204" pitchFamily="34" charset="0"/>
          <a:ea typeface="+mj-ea"/>
          <a:cs typeface="+mj-cs"/>
        </a:defRPr>
      </a:lvl1pPr>
    </p:titleStyle>
    <p:bodyStyle>
      <a:lvl1pPr marL="0" indent="0" algn="l" defTabSz="1088610" rtl="0" eaLnBrk="1" latinLnBrk="0" hangingPunct="1">
        <a:lnSpc>
          <a:spcPct val="114000"/>
        </a:lnSpc>
        <a:spcBef>
          <a:spcPts val="0"/>
        </a:spcBef>
        <a:buFont typeface="Arial" pitchFamily="34" charset="0"/>
        <a:buNone/>
        <a:defRPr sz="1500" b="0" kern="1200" baseline="0">
          <a:solidFill>
            <a:schemeClr val="tx1"/>
          </a:solidFill>
          <a:latin typeface="Univers" panose="020B0603020202030204" pitchFamily="34" charset="0"/>
          <a:ea typeface="+mn-ea"/>
          <a:cs typeface="+mn-cs"/>
        </a:defRPr>
      </a:lvl1pPr>
      <a:lvl2pPr marL="0" indent="0" algn="l" defTabSz="1088610" rtl="0" eaLnBrk="1" latinLnBrk="0" hangingPunct="1">
        <a:lnSpc>
          <a:spcPct val="114000"/>
        </a:lnSpc>
        <a:spcBef>
          <a:spcPts val="1999"/>
        </a:spcBef>
        <a:buFont typeface="Arial" pitchFamily="34" charset="0"/>
        <a:buNone/>
        <a:defRPr sz="1500" b="1" kern="1200">
          <a:solidFill>
            <a:schemeClr val="tx1"/>
          </a:solidFill>
          <a:latin typeface="Univers" panose="020B0603020202030204" pitchFamily="34" charset="0"/>
          <a:ea typeface="+mn-ea"/>
          <a:cs typeface="+mn-cs"/>
        </a:defRPr>
      </a:lvl2pPr>
      <a:lvl3pPr marL="0" indent="0" algn="l" defTabSz="1088610" rtl="0" eaLnBrk="1" latinLnBrk="0" hangingPunct="1">
        <a:lnSpc>
          <a:spcPct val="114000"/>
        </a:lnSpc>
        <a:spcBef>
          <a:spcPts val="1999"/>
        </a:spcBef>
        <a:buFont typeface="Arial" pitchFamily="34" charset="0"/>
        <a:buNone/>
        <a:defRPr sz="1500" b="1" kern="1200">
          <a:solidFill>
            <a:schemeClr val="accent1"/>
          </a:solidFill>
          <a:latin typeface="Univers" panose="020B0603020202030204" pitchFamily="34" charset="0"/>
          <a:ea typeface="+mn-ea"/>
          <a:cs typeface="+mn-cs"/>
        </a:defRPr>
      </a:lvl3pPr>
      <a:lvl4pPr marL="0" indent="0" algn="l" defTabSz="1088610" rtl="0" eaLnBrk="1" latinLnBrk="0" hangingPunct="1">
        <a:lnSpc>
          <a:spcPct val="114000"/>
        </a:lnSpc>
        <a:spcBef>
          <a:spcPts val="1999"/>
        </a:spcBef>
        <a:buFont typeface="Arial" pitchFamily="34" charset="0"/>
        <a:buNone/>
        <a:defRPr sz="1500" b="1" kern="1200">
          <a:solidFill>
            <a:srgbClr val="C73735"/>
          </a:solidFill>
          <a:latin typeface="Univers" panose="020B0603020202030204" pitchFamily="34" charset="0"/>
          <a:ea typeface="+mn-ea"/>
          <a:cs typeface="+mn-cs"/>
        </a:defRPr>
      </a:lvl4pPr>
      <a:lvl5pPr marL="0" indent="0" algn="l" defTabSz="1088610" rtl="0" eaLnBrk="1" latinLnBrk="0" hangingPunct="1">
        <a:lnSpc>
          <a:spcPct val="114000"/>
        </a:lnSpc>
        <a:spcBef>
          <a:spcPts val="1000"/>
        </a:spcBef>
        <a:spcAft>
          <a:spcPts val="1799"/>
        </a:spcAft>
        <a:buFont typeface="Arial" pitchFamily="34" charset="0"/>
        <a:buNone/>
        <a:defRPr sz="2499" b="0" kern="1200">
          <a:solidFill>
            <a:schemeClr val="accent2"/>
          </a:solidFill>
          <a:latin typeface="Univers" panose="020B0603020202030204" pitchFamily="34" charset="0"/>
          <a:ea typeface="+mn-ea"/>
          <a:cs typeface="+mn-cs"/>
        </a:defRPr>
      </a:lvl5pPr>
      <a:lvl6pPr marL="197941" indent="-197941" algn="l" defTabSz="1088610" rtl="0" eaLnBrk="1" latinLnBrk="0" hangingPunct="1">
        <a:lnSpc>
          <a:spcPct val="114000"/>
        </a:lnSpc>
        <a:spcBef>
          <a:spcPts val="0"/>
        </a:spcBef>
        <a:spcAft>
          <a:spcPts val="0"/>
        </a:spcAft>
        <a:buFontTx/>
        <a:buBlip>
          <a:blip r:embed="rId56"/>
        </a:buBlip>
        <a:defRPr sz="1500" b="0" kern="1200" baseline="0">
          <a:solidFill>
            <a:schemeClr val="tx1"/>
          </a:solidFill>
          <a:latin typeface="Univers" panose="020B0603020202030204" pitchFamily="34" charset="0"/>
          <a:ea typeface="+mn-ea"/>
          <a:cs typeface="+mn-cs"/>
        </a:defRPr>
      </a:lvl6pPr>
      <a:lvl7pPr marL="539838" indent="-215935" algn="l" defTabSz="1088610" rtl="0" eaLnBrk="1" latinLnBrk="0" hangingPunct="1">
        <a:lnSpc>
          <a:spcPct val="114000"/>
        </a:lnSpc>
        <a:spcBef>
          <a:spcPts val="0"/>
        </a:spcBef>
        <a:buFontTx/>
        <a:buBlip>
          <a:blip r:embed="rId57"/>
        </a:buBlip>
        <a:defRPr sz="1500" kern="1200">
          <a:solidFill>
            <a:schemeClr val="tx1"/>
          </a:solidFill>
          <a:latin typeface="Univers" panose="020B0603020202030204" pitchFamily="34" charset="0"/>
          <a:ea typeface="+mn-ea"/>
          <a:cs typeface="+mn-cs"/>
        </a:defRPr>
      </a:lvl7pPr>
      <a:lvl8pPr marL="1025692" marR="0" indent="-143957" algn="l" defTabSz="1088610" rtl="0" eaLnBrk="1" fontAlgn="auto" latinLnBrk="0" hangingPunct="1">
        <a:lnSpc>
          <a:spcPct val="114000"/>
        </a:lnSpc>
        <a:spcBef>
          <a:spcPts val="0"/>
        </a:spcBef>
        <a:spcAft>
          <a:spcPts val="0"/>
        </a:spcAft>
        <a:buClrTx/>
        <a:buSzTx/>
        <a:buFont typeface="Arial" panose="020B0604020202020204" pitchFamily="34" charset="0"/>
        <a:buChar char="•"/>
        <a:tabLst/>
        <a:defRPr sz="1500" kern="1200">
          <a:solidFill>
            <a:schemeClr val="tx1"/>
          </a:solidFill>
          <a:latin typeface="Univers" panose="020B0603020202030204" pitchFamily="34" charset="0"/>
          <a:ea typeface="+mn-ea"/>
          <a:cs typeface="+mn-cs"/>
        </a:defRPr>
      </a:lvl8pPr>
      <a:lvl9pPr marL="197941" indent="0" algn="l" defTabSz="1088610" rtl="0" eaLnBrk="1" latinLnBrk="0" hangingPunct="1">
        <a:lnSpc>
          <a:spcPct val="114000"/>
        </a:lnSpc>
        <a:spcBef>
          <a:spcPts val="0"/>
        </a:spcBef>
        <a:buClrTx/>
        <a:buFont typeface="Arial" pitchFamily="34" charset="0"/>
        <a:buNone/>
        <a:defRPr sz="1500" kern="1200" baseline="0">
          <a:solidFill>
            <a:schemeClr val="tx1"/>
          </a:solidFill>
          <a:latin typeface="Univers" panose="020B0603020202030204" pitchFamily="34" charset="0"/>
          <a:ea typeface="+mn-ea"/>
          <a:cs typeface="+mn-cs"/>
        </a:defRPr>
      </a:lvl9pPr>
    </p:bodyStyle>
    <p:otherStyle>
      <a:defPPr>
        <a:defRPr lang="nl-NL"/>
      </a:defPPr>
      <a:lvl1pPr marL="0" algn="l" defTabSz="1088610" rtl="0" eaLnBrk="1" latinLnBrk="0" hangingPunct="1">
        <a:defRPr sz="1000" kern="1200">
          <a:solidFill>
            <a:schemeClr val="tx1"/>
          </a:solidFill>
          <a:latin typeface="+mn-lt"/>
          <a:ea typeface="+mn-ea"/>
          <a:cs typeface="+mn-cs"/>
        </a:defRPr>
      </a:lvl1pPr>
      <a:lvl2pPr marL="544306" algn="l" defTabSz="1088610" rtl="0" eaLnBrk="1" latinLnBrk="0" hangingPunct="1">
        <a:defRPr sz="1000" kern="1200">
          <a:solidFill>
            <a:schemeClr val="tx1"/>
          </a:solidFill>
          <a:latin typeface="+mn-lt"/>
          <a:ea typeface="+mn-ea"/>
          <a:cs typeface="+mn-cs"/>
        </a:defRPr>
      </a:lvl2pPr>
      <a:lvl3pPr marL="1088610" algn="l" defTabSz="1088610" rtl="0" eaLnBrk="1" latinLnBrk="0" hangingPunct="1">
        <a:defRPr sz="1000" kern="1200">
          <a:solidFill>
            <a:schemeClr val="tx1"/>
          </a:solidFill>
          <a:latin typeface="+mn-lt"/>
          <a:ea typeface="+mn-ea"/>
          <a:cs typeface="+mn-cs"/>
        </a:defRPr>
      </a:lvl3pPr>
      <a:lvl4pPr marL="1632916" algn="l" defTabSz="1088610" rtl="0" eaLnBrk="1" latinLnBrk="0" hangingPunct="1">
        <a:defRPr sz="1000" kern="1200">
          <a:solidFill>
            <a:schemeClr val="tx1"/>
          </a:solidFill>
          <a:latin typeface="+mn-lt"/>
          <a:ea typeface="+mn-ea"/>
          <a:cs typeface="+mn-cs"/>
        </a:defRPr>
      </a:lvl4pPr>
      <a:lvl5pPr marL="2177222" algn="l" defTabSz="1088610" rtl="0" eaLnBrk="1" latinLnBrk="0" hangingPunct="1">
        <a:defRPr sz="1000" kern="1200">
          <a:solidFill>
            <a:schemeClr val="tx1"/>
          </a:solidFill>
          <a:latin typeface="+mn-lt"/>
          <a:ea typeface="+mn-ea"/>
          <a:cs typeface="+mn-cs"/>
        </a:defRPr>
      </a:lvl5pPr>
      <a:lvl6pPr marL="2721526" algn="l" defTabSz="1088610" rtl="0" eaLnBrk="1" latinLnBrk="0" hangingPunct="1">
        <a:defRPr sz="1000" kern="1200">
          <a:solidFill>
            <a:schemeClr val="tx1"/>
          </a:solidFill>
          <a:latin typeface="+mn-lt"/>
          <a:ea typeface="+mn-ea"/>
          <a:cs typeface="+mn-cs"/>
        </a:defRPr>
      </a:lvl6pPr>
      <a:lvl7pPr marL="3265831" algn="l" defTabSz="1088610" rtl="0" eaLnBrk="1" latinLnBrk="0" hangingPunct="1">
        <a:defRPr sz="1000" kern="1200">
          <a:solidFill>
            <a:schemeClr val="tx1"/>
          </a:solidFill>
          <a:latin typeface="+mn-lt"/>
          <a:ea typeface="+mn-ea"/>
          <a:cs typeface="+mn-cs"/>
        </a:defRPr>
      </a:lvl7pPr>
      <a:lvl8pPr marL="3810137" algn="l" defTabSz="1088610" rtl="0" eaLnBrk="1" latinLnBrk="0" hangingPunct="1">
        <a:defRPr sz="1000" kern="1200">
          <a:solidFill>
            <a:schemeClr val="tx1"/>
          </a:solidFill>
          <a:latin typeface="+mn-lt"/>
          <a:ea typeface="+mn-ea"/>
          <a:cs typeface="+mn-cs"/>
        </a:defRPr>
      </a:lvl8pPr>
      <a:lvl9pPr marL="4354442" algn="l" defTabSz="1088610" rtl="0" eaLnBrk="1" latinLnBrk="0" hangingPunct="1">
        <a:defRPr sz="1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CE6D5"/>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EBA6BD8-16F4-BB6C-E489-F2048206D9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2FA20C1B-FA49-E173-CFC7-CBCBBAE962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9067D98E-4753-D405-657D-2E69052B9A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obias Light" pitchFamily="2" charset="77"/>
              </a:defRPr>
            </a:lvl1pPr>
          </a:lstStyle>
          <a:p>
            <a:fld id="{F43F58D8-3E08-0E4D-B02F-1FE9F79555EC}" type="datetimeFigureOut">
              <a:rPr lang="nl-NL" smtClean="0"/>
              <a:pPr/>
              <a:t>8-4-2025</a:t>
            </a:fld>
            <a:endParaRPr lang="nl-NL"/>
          </a:p>
        </p:txBody>
      </p:sp>
      <p:sp>
        <p:nvSpPr>
          <p:cNvPr id="5" name="Tijdelijke aanduiding voor voettekst 4">
            <a:extLst>
              <a:ext uri="{FF2B5EF4-FFF2-40B4-BE49-F238E27FC236}">
                <a16:creationId xmlns:a16="http://schemas.microsoft.com/office/drawing/2014/main" id="{33C0B815-E188-AF1F-5911-2102C2B227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obias Light" pitchFamily="2" charset="77"/>
              </a:defRPr>
            </a:lvl1pPr>
          </a:lstStyle>
          <a:p>
            <a:endParaRPr lang="nl-NL"/>
          </a:p>
        </p:txBody>
      </p:sp>
      <p:sp>
        <p:nvSpPr>
          <p:cNvPr id="6" name="Tijdelijke aanduiding voor dianummer 5">
            <a:extLst>
              <a:ext uri="{FF2B5EF4-FFF2-40B4-BE49-F238E27FC236}">
                <a16:creationId xmlns:a16="http://schemas.microsoft.com/office/drawing/2014/main" id="{38620653-06C6-563E-DC32-95578869A2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obias Light" pitchFamily="2" charset="77"/>
              </a:defRPr>
            </a:lvl1pPr>
          </a:lstStyle>
          <a:p>
            <a:fld id="{DA5D48B6-F5F0-E143-8F4E-EBC619CFDC7F}" type="slidenum">
              <a:rPr lang="nl-NL" smtClean="0"/>
              <a:pPr/>
              <a:t>‹nr.›</a:t>
            </a:fld>
            <a:endParaRPr lang="nl-NL"/>
          </a:p>
        </p:txBody>
      </p:sp>
      <p:pic>
        <p:nvPicPr>
          <p:cNvPr id="9" name="Afbeelding 8">
            <a:extLst>
              <a:ext uri="{FF2B5EF4-FFF2-40B4-BE49-F238E27FC236}">
                <a16:creationId xmlns:a16="http://schemas.microsoft.com/office/drawing/2014/main" id="{40A8749B-4115-5CCF-23ED-887B2B7431A8}"/>
              </a:ext>
            </a:extLst>
          </p:cNvPr>
          <p:cNvPicPr>
            <a:picLocks noChangeAspect="1"/>
          </p:cNvPicPr>
          <p:nvPr userDrawn="1"/>
        </p:nvPicPr>
        <p:blipFill>
          <a:blip r:embed="rId16"/>
          <a:stretch>
            <a:fillRect/>
          </a:stretch>
        </p:blipFill>
        <p:spPr>
          <a:xfrm>
            <a:off x="838200" y="6043862"/>
            <a:ext cx="10515600" cy="449013"/>
          </a:xfrm>
          <a:prstGeom prst="rect">
            <a:avLst/>
          </a:prstGeom>
        </p:spPr>
      </p:pic>
    </p:spTree>
    <p:extLst>
      <p:ext uri="{BB962C8B-B14F-4D97-AF65-F5344CB8AC3E}">
        <p14:creationId xmlns:p14="http://schemas.microsoft.com/office/powerpoint/2010/main" val="132445005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Lst>
  <p:txStyles>
    <p:titleStyle>
      <a:lvl1pPr algn="l" defTabSz="914400" rtl="0" eaLnBrk="1" latinLnBrk="0" hangingPunct="1">
        <a:lnSpc>
          <a:spcPct val="90000"/>
        </a:lnSpc>
        <a:spcBef>
          <a:spcPct val="0"/>
        </a:spcBef>
        <a:buNone/>
        <a:defRPr sz="4400" kern="1200">
          <a:solidFill>
            <a:schemeClr val="tx1"/>
          </a:solidFill>
          <a:latin typeface="Tobias Light" pitchFamily="2" charset="77"/>
          <a:ea typeface="+mj-ea"/>
          <a:cs typeface="Wallop" pitchFamily="2" charset="77"/>
        </a:defRPr>
      </a:lvl1pPr>
    </p:titleStyle>
    <p:bodyStyle>
      <a:lvl1pPr marL="228600" indent="-228600" algn="l" defTabSz="914400" rtl="0" eaLnBrk="1" latinLnBrk="0" hangingPunct="1">
        <a:lnSpc>
          <a:spcPct val="90000"/>
        </a:lnSpc>
        <a:spcBef>
          <a:spcPts val="1000"/>
        </a:spcBef>
        <a:buClr>
          <a:srgbClr val="EC6442"/>
        </a:buClr>
        <a:buFont typeface="Arial" panose="020B0604020202020204" pitchFamily="34" charset="0"/>
        <a:buChar char="•"/>
        <a:defRPr sz="2800" kern="1200">
          <a:solidFill>
            <a:schemeClr val="tx1"/>
          </a:solidFill>
          <a:latin typeface="Wallop" pitchFamily="2" charset="77"/>
          <a:ea typeface="+mn-ea"/>
          <a:cs typeface="Wallop" pitchFamily="2" charset="77"/>
        </a:defRPr>
      </a:lvl1pPr>
      <a:lvl2pPr marL="685800" indent="-228600" algn="l" defTabSz="914400" rtl="0" eaLnBrk="1" latinLnBrk="0" hangingPunct="1">
        <a:lnSpc>
          <a:spcPct val="90000"/>
        </a:lnSpc>
        <a:spcBef>
          <a:spcPts val="500"/>
        </a:spcBef>
        <a:buClr>
          <a:srgbClr val="EC6442"/>
        </a:buClr>
        <a:buFont typeface="Arial" panose="020B0604020202020204" pitchFamily="34" charset="0"/>
        <a:buChar char="•"/>
        <a:defRPr sz="2400" kern="1200">
          <a:solidFill>
            <a:schemeClr val="tx1"/>
          </a:solidFill>
          <a:latin typeface="Wallop" pitchFamily="2" charset="77"/>
          <a:ea typeface="+mn-ea"/>
          <a:cs typeface="Wallop" pitchFamily="2" charset="77"/>
        </a:defRPr>
      </a:lvl2pPr>
      <a:lvl3pPr marL="1143000" indent="-228600" algn="l" defTabSz="914400" rtl="0" eaLnBrk="1" latinLnBrk="0" hangingPunct="1">
        <a:lnSpc>
          <a:spcPct val="90000"/>
        </a:lnSpc>
        <a:spcBef>
          <a:spcPts val="500"/>
        </a:spcBef>
        <a:buClr>
          <a:srgbClr val="EC6442"/>
        </a:buClr>
        <a:buFont typeface="Arial" panose="020B0604020202020204" pitchFamily="34" charset="0"/>
        <a:buChar char="•"/>
        <a:defRPr sz="2000" kern="1200">
          <a:solidFill>
            <a:schemeClr val="tx1"/>
          </a:solidFill>
          <a:latin typeface="Wallop" pitchFamily="2" charset="77"/>
          <a:ea typeface="+mn-ea"/>
          <a:cs typeface="Wallop" pitchFamily="2" charset="77"/>
        </a:defRPr>
      </a:lvl3pPr>
      <a:lvl4pPr marL="1600200" indent="-228600" algn="l" defTabSz="914400" rtl="0" eaLnBrk="1" latinLnBrk="0" hangingPunct="1">
        <a:lnSpc>
          <a:spcPct val="90000"/>
        </a:lnSpc>
        <a:spcBef>
          <a:spcPts val="500"/>
        </a:spcBef>
        <a:buClr>
          <a:srgbClr val="EC6442"/>
        </a:buClr>
        <a:buFont typeface="Arial" panose="020B0604020202020204" pitchFamily="34" charset="0"/>
        <a:buChar char="•"/>
        <a:defRPr sz="1800" kern="1200">
          <a:solidFill>
            <a:schemeClr val="tx1"/>
          </a:solidFill>
          <a:latin typeface="Wallop" pitchFamily="2" charset="77"/>
          <a:ea typeface="+mn-ea"/>
          <a:cs typeface="Wallop" pitchFamily="2" charset="77"/>
        </a:defRPr>
      </a:lvl4pPr>
      <a:lvl5pPr marL="2057400" indent="-228600" algn="l" defTabSz="914400" rtl="0" eaLnBrk="1" latinLnBrk="0" hangingPunct="1">
        <a:lnSpc>
          <a:spcPct val="90000"/>
        </a:lnSpc>
        <a:spcBef>
          <a:spcPts val="500"/>
        </a:spcBef>
        <a:buClr>
          <a:srgbClr val="EC6442"/>
        </a:buClr>
        <a:buFont typeface="Arial" panose="020B0604020202020204" pitchFamily="34" charset="0"/>
        <a:buChar char="•"/>
        <a:defRPr sz="1800" kern="1200">
          <a:solidFill>
            <a:schemeClr val="tx1"/>
          </a:solidFill>
          <a:latin typeface="Wallop" pitchFamily="2" charset="77"/>
          <a:ea typeface="+mn-ea"/>
          <a:cs typeface="Wallop"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6.png"/><Relationship Id="rId4"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linkedin.com/in/leenpaape?lipi=urn%3Ali%3Apage%3Ad_flagship3_profile_view_base_contact_details%3Bf8WetJ%2F9Tz%2ByIJt4yH04sQ%3D%3D" TargetMode="External"/><Relationship Id="rId2" Type="http://schemas.openxmlformats.org/officeDocument/2006/relationships/hyperlink" Target="mailto:l.paape@nyenrode.nl" TargetMode="Externa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howroom SATELLIET | Breda (HQ)">
            <a:extLst>
              <a:ext uri="{FF2B5EF4-FFF2-40B4-BE49-F238E27FC236}">
                <a16:creationId xmlns:a16="http://schemas.microsoft.com/office/drawing/2014/main" id="{25154D81-AAF8-B930-94A6-766D0237E51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759324" y="3176516"/>
            <a:ext cx="4259483" cy="32071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spirium Breda en Amsterdam - Showroom | Hydrozorg - Hydrozorg">
            <a:extLst>
              <a:ext uri="{FF2B5EF4-FFF2-40B4-BE49-F238E27FC236}">
                <a16:creationId xmlns:a16="http://schemas.microsoft.com/office/drawing/2014/main" id="{F57024EE-E5B7-6FC0-D949-F977676D04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3193" y="4677878"/>
            <a:ext cx="3078510" cy="1164863"/>
          </a:xfrm>
          <a:prstGeom prst="rect">
            <a:avLst/>
          </a:prstGeom>
          <a:noFill/>
          <a:extLst>
            <a:ext uri="{909E8E84-426E-40DD-AFC4-6F175D3DCCD1}">
              <a14:hiddenFill xmlns:a14="http://schemas.microsoft.com/office/drawing/2010/main">
                <a:solidFill>
                  <a:srgbClr val="FFFFFF"/>
                </a:solidFill>
              </a14:hiddenFill>
            </a:ext>
          </a:extLst>
        </p:spPr>
      </p:pic>
      <p:sp>
        <p:nvSpPr>
          <p:cNvPr id="4" name="Tekstvak 3">
            <a:extLst>
              <a:ext uri="{FF2B5EF4-FFF2-40B4-BE49-F238E27FC236}">
                <a16:creationId xmlns:a16="http://schemas.microsoft.com/office/drawing/2014/main" id="{D0BA2EFB-1648-9C4D-6B39-A954B7B3891C}"/>
              </a:ext>
            </a:extLst>
          </p:cNvPr>
          <p:cNvSpPr txBox="1"/>
          <p:nvPr/>
        </p:nvSpPr>
        <p:spPr>
          <a:xfrm>
            <a:off x="1173193" y="724600"/>
            <a:ext cx="9894498" cy="2215991"/>
          </a:xfrm>
          <a:prstGeom prst="rect">
            <a:avLst/>
          </a:prstGeom>
          <a:noFill/>
        </p:spPr>
        <p:txBody>
          <a:bodyPr wrap="square" rtlCol="0">
            <a:spAutoFit/>
          </a:bodyPr>
          <a:lstStyle/>
          <a:p>
            <a:pPr algn="ctr"/>
            <a:r>
              <a:rPr lang="nl-NL" sz="2000" b="1" dirty="0">
                <a:effectLst/>
                <a:latin typeface="Aptos" panose="020B0004020202020204" pitchFamily="34" charset="0"/>
                <a:ea typeface="Aptos" panose="020B0004020202020204" pitchFamily="34" charset="0"/>
                <a:cs typeface="Aptos" panose="020B0004020202020204" pitchFamily="34" charset="0"/>
              </a:rPr>
              <a:t>WELKOM </a:t>
            </a:r>
            <a:r>
              <a:rPr lang="nl-NL" sz="2000" dirty="0">
                <a:effectLst/>
                <a:latin typeface="Aptos" panose="020B0004020202020204" pitchFamily="34" charset="0"/>
                <a:ea typeface="Aptos" panose="020B0004020202020204" pitchFamily="34" charset="0"/>
                <a:cs typeface="Aptos" panose="020B0004020202020204" pitchFamily="34" charset="0"/>
              </a:rPr>
              <a:t>in het </a:t>
            </a:r>
            <a:r>
              <a:rPr lang="nl-NL" sz="2000" dirty="0" err="1">
                <a:effectLst/>
                <a:latin typeface="Aptos" panose="020B0004020202020204" pitchFamily="34" charset="0"/>
                <a:ea typeface="Aptos" panose="020B0004020202020204" pitchFamily="34" charset="0"/>
                <a:cs typeface="Aptos" panose="020B0004020202020204" pitchFamily="34" charset="0"/>
              </a:rPr>
              <a:t>Inspirium</a:t>
            </a:r>
            <a:r>
              <a:rPr lang="nl-NL" sz="2000" dirty="0">
                <a:effectLst/>
                <a:latin typeface="Aptos" panose="020B0004020202020204" pitchFamily="34" charset="0"/>
                <a:ea typeface="Aptos" panose="020B0004020202020204" pitchFamily="34" charset="0"/>
                <a:cs typeface="Aptos" panose="020B0004020202020204" pitchFamily="34" charset="0"/>
              </a:rPr>
              <a:t>, een belevingscentrum gericht op </a:t>
            </a:r>
            <a:r>
              <a:rPr lang="nl-NL" sz="2000" dirty="0" err="1">
                <a:effectLst/>
                <a:latin typeface="Aptos" panose="020B0004020202020204" pitchFamily="34" charset="0"/>
                <a:ea typeface="Aptos" panose="020B0004020202020204" pitchFamily="34" charset="0"/>
                <a:cs typeface="Aptos" panose="020B0004020202020204" pitchFamily="34" charset="0"/>
              </a:rPr>
              <a:t>hospitality</a:t>
            </a:r>
            <a:r>
              <a:rPr lang="nl-NL" sz="2000" dirty="0">
                <a:effectLst/>
                <a:latin typeface="Aptos" panose="020B0004020202020204" pitchFamily="34" charset="0"/>
                <a:ea typeface="Aptos" panose="020B0004020202020204" pitchFamily="34" charset="0"/>
                <a:cs typeface="Aptos" panose="020B0004020202020204" pitchFamily="34" charset="0"/>
              </a:rPr>
              <a:t> en onderdeel Satelliet Meubelen. Hun monumentale showroom zag in de jaren ’20 van de vorige eeuw het levenslicht als </a:t>
            </a:r>
            <a:r>
              <a:rPr lang="nl-NL" sz="2000" b="1" dirty="0">
                <a:effectLst/>
                <a:latin typeface="Aptos" panose="020B0004020202020204" pitchFamily="34" charset="0"/>
                <a:ea typeface="Aptos" panose="020B0004020202020204" pitchFamily="34" charset="0"/>
                <a:cs typeface="Aptos" panose="020B0004020202020204" pitchFamily="34" charset="0"/>
              </a:rPr>
              <a:t>stoomtimmerfabriek</a:t>
            </a:r>
            <a:r>
              <a:rPr lang="nl-NL" sz="2000" dirty="0">
                <a:effectLst/>
                <a:latin typeface="Aptos" panose="020B0004020202020204" pitchFamily="34" charset="0"/>
                <a:ea typeface="Aptos" panose="020B0004020202020204" pitchFamily="34" charset="0"/>
                <a:cs typeface="Aptos" panose="020B0004020202020204" pitchFamily="34" charset="0"/>
              </a:rPr>
              <a:t>, in het voormalige woonhuis van de familie Chabot houden wij met Dux Nova kantoor. Om duurzame initiatieven tastbaar te maken, heeft Satelliet het </a:t>
            </a:r>
            <a:r>
              <a:rPr lang="nl-NL" sz="2000" b="1" dirty="0">
                <a:effectLst/>
                <a:latin typeface="Aptos" panose="020B0004020202020204" pitchFamily="34" charset="0"/>
                <a:ea typeface="Aptos" panose="020B0004020202020204" pitchFamily="34" charset="0"/>
                <a:cs typeface="Aptos" panose="020B0004020202020204" pitchFamily="34" charset="0"/>
              </a:rPr>
              <a:t>duurzaamheidsplatform</a:t>
            </a:r>
            <a:r>
              <a:rPr lang="nl-NL" sz="2000" dirty="0">
                <a:effectLst/>
                <a:latin typeface="Aptos" panose="020B0004020202020204" pitchFamily="34" charset="0"/>
                <a:ea typeface="Aptos" panose="020B0004020202020204" pitchFamily="34" charset="0"/>
                <a:cs typeface="Aptos" panose="020B0004020202020204" pitchFamily="34" charset="0"/>
              </a:rPr>
              <a:t> ontwikkeld. Deze groene route moet leiden naar het doel om in 2030 de meest duurzame leverancier van Europa te zijn</a:t>
            </a:r>
          </a:p>
          <a:p>
            <a:pPr algn="ctr"/>
            <a:endParaRPr lang="nl-NL" dirty="0"/>
          </a:p>
        </p:txBody>
      </p:sp>
    </p:spTree>
    <p:extLst>
      <p:ext uri="{BB962C8B-B14F-4D97-AF65-F5344CB8AC3E}">
        <p14:creationId xmlns:p14="http://schemas.microsoft.com/office/powerpoint/2010/main" val="3860369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67E3F7-420A-43FE-9581-585F9883B468}"/>
              </a:ext>
            </a:extLst>
          </p:cNvPr>
          <p:cNvPicPr>
            <a:picLocks noChangeAspect="1"/>
          </p:cNvPicPr>
          <p:nvPr/>
        </p:nvPicPr>
        <p:blipFill>
          <a:blip r:embed="rId2"/>
          <a:stretch>
            <a:fillRect/>
          </a:stretch>
        </p:blipFill>
        <p:spPr>
          <a:xfrm>
            <a:off x="5622253" y="526"/>
            <a:ext cx="6569748" cy="3438168"/>
          </a:xfrm>
          <a:prstGeom prst="rect">
            <a:avLst/>
          </a:prstGeom>
        </p:spPr>
      </p:pic>
      <p:pic>
        <p:nvPicPr>
          <p:cNvPr id="14" name="Picture 13" descr="A picture containing text, person, person&#10;&#10;Description automatically generated">
            <a:extLst>
              <a:ext uri="{FF2B5EF4-FFF2-40B4-BE49-F238E27FC236}">
                <a16:creationId xmlns:a16="http://schemas.microsoft.com/office/drawing/2014/main" id="{82A05CFD-2436-4DEA-96C6-17B946EE94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3329604"/>
            <a:ext cx="6714508" cy="3527872"/>
          </a:xfrm>
          <a:prstGeom prst="rect">
            <a:avLst/>
          </a:prstGeom>
        </p:spPr>
      </p:pic>
    </p:spTree>
    <p:extLst>
      <p:ext uri="{BB962C8B-B14F-4D97-AF65-F5344CB8AC3E}">
        <p14:creationId xmlns:p14="http://schemas.microsoft.com/office/powerpoint/2010/main" val="124201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lan Greenspan found a flaw in his ideology   10 3 2008">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526"/>
            <a:ext cx="12190321" cy="6856950"/>
          </a:xfrm>
          <a:prstGeom prst="rect">
            <a:avLst/>
          </a:prstGeom>
        </p:spPr>
      </p:pic>
    </p:spTree>
    <p:extLst>
      <p:ext uri="{BB962C8B-B14F-4D97-AF65-F5344CB8AC3E}">
        <p14:creationId xmlns:p14="http://schemas.microsoft.com/office/powerpoint/2010/main" val="424627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944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073" y="420830"/>
            <a:ext cx="10972801" cy="777979"/>
          </a:xfrm>
        </p:spPr>
        <p:txBody>
          <a:bodyPr/>
          <a:lstStyle/>
          <a:p>
            <a:r>
              <a:rPr lang="nl-NL"/>
              <a:t>Relevante lange termijn ontwikkelingen</a:t>
            </a:r>
            <a:endParaRPr lang="en-US"/>
          </a:p>
        </p:txBody>
      </p:sp>
      <p:sp>
        <p:nvSpPr>
          <p:cNvPr id="3" name="Content Placeholder 2"/>
          <p:cNvSpPr>
            <a:spLocks noGrp="1"/>
          </p:cNvSpPr>
          <p:nvPr>
            <p:ph sz="half" idx="1"/>
          </p:nvPr>
        </p:nvSpPr>
        <p:spPr>
          <a:xfrm>
            <a:off x="596074" y="1066964"/>
            <a:ext cx="4897205" cy="3455459"/>
          </a:xfrm>
        </p:spPr>
        <p:txBody>
          <a:bodyPr>
            <a:normAutofit fontScale="85000" lnSpcReduction="20000"/>
          </a:bodyPr>
          <a:lstStyle/>
          <a:p>
            <a:pPr marL="362822" indent="-362822">
              <a:lnSpc>
                <a:spcPct val="150000"/>
              </a:lnSpc>
            </a:pPr>
            <a:r>
              <a:rPr lang="nl-NL" sz="1905"/>
              <a:t>Maatschappelijke ontwikkelingen:</a:t>
            </a:r>
          </a:p>
          <a:p>
            <a:pPr marL="1330349" lvl="1" indent="-362822">
              <a:lnSpc>
                <a:spcPct val="100000"/>
              </a:lnSpc>
            </a:pPr>
            <a:r>
              <a:rPr lang="nl-NL" sz="1905"/>
              <a:t>Migratie</a:t>
            </a:r>
          </a:p>
          <a:p>
            <a:pPr marL="1330349" lvl="1" indent="-362822">
              <a:lnSpc>
                <a:spcPct val="100000"/>
              </a:lnSpc>
            </a:pPr>
            <a:r>
              <a:rPr lang="nl-NL" sz="1905"/>
              <a:t>Factor arbeid versus kapitaal</a:t>
            </a:r>
          </a:p>
          <a:p>
            <a:pPr marL="1330349" lvl="1" indent="-362822">
              <a:lnSpc>
                <a:spcPct val="100000"/>
              </a:lnSpc>
            </a:pPr>
            <a:r>
              <a:rPr lang="nl-NL" sz="1905"/>
              <a:t>Ongelijkheid</a:t>
            </a:r>
          </a:p>
          <a:p>
            <a:pPr marL="1330349" lvl="1" indent="-362822">
              <a:lnSpc>
                <a:spcPct val="100000"/>
              </a:lnSpc>
            </a:pPr>
            <a:r>
              <a:rPr lang="nl-NL" sz="1905"/>
              <a:t>Arbeidsmarkt (zzp’ers)</a:t>
            </a:r>
          </a:p>
          <a:p>
            <a:pPr marL="1330349" lvl="1" indent="-362822">
              <a:lnSpc>
                <a:spcPct val="100000"/>
              </a:lnSpc>
            </a:pPr>
            <a:r>
              <a:rPr lang="nl-NL" sz="1905"/>
              <a:t>Vertrouwen in de samenleving</a:t>
            </a:r>
          </a:p>
          <a:p>
            <a:pPr marL="1330349" lvl="1" indent="-362822">
              <a:lnSpc>
                <a:spcPct val="100000"/>
              </a:lnSpc>
            </a:pPr>
            <a:r>
              <a:rPr lang="nl-NL" sz="1905"/>
              <a:t>Profiling en gebruik van data</a:t>
            </a:r>
          </a:p>
          <a:p>
            <a:pPr marL="1330349" lvl="1" indent="-362822">
              <a:lnSpc>
                <a:spcPct val="100000"/>
              </a:lnSpc>
            </a:pPr>
            <a:r>
              <a:rPr lang="nl-NL" sz="1905"/>
              <a:t>Machtsconcentratie</a:t>
            </a:r>
          </a:p>
          <a:p>
            <a:pPr marL="1330349" lvl="1" indent="-362822">
              <a:lnSpc>
                <a:spcPct val="100000"/>
              </a:lnSpc>
            </a:pPr>
            <a:r>
              <a:rPr lang="nl-NL" sz="1905"/>
              <a:t>Regeldruk</a:t>
            </a:r>
          </a:p>
          <a:p>
            <a:pPr marL="362822" indent="-362822">
              <a:lnSpc>
                <a:spcPct val="150000"/>
              </a:lnSpc>
            </a:pPr>
            <a:r>
              <a:rPr lang="nl-NL" sz="1905"/>
              <a:t>AI &amp; robotisering (toekomst arbeid?)</a:t>
            </a:r>
          </a:p>
          <a:p>
            <a:pPr marL="362822" indent="-362822">
              <a:lnSpc>
                <a:spcPct val="150000"/>
              </a:lnSpc>
            </a:pPr>
            <a:r>
              <a:rPr lang="nl-NL" sz="1905"/>
              <a:t>Klimaatverandering/Antropoceen</a:t>
            </a:r>
          </a:p>
          <a:p>
            <a:pPr marL="362822" indent="-362822">
              <a:lnSpc>
                <a:spcPct val="150000"/>
              </a:lnSpc>
            </a:pPr>
            <a:endParaRPr lang="en-US" sz="1905"/>
          </a:p>
        </p:txBody>
      </p:sp>
      <p:sp>
        <p:nvSpPr>
          <p:cNvPr id="5" name="Content Placeholder 4"/>
          <p:cNvSpPr>
            <a:spLocks noGrp="1"/>
          </p:cNvSpPr>
          <p:nvPr>
            <p:ph sz="half" idx="2"/>
          </p:nvPr>
        </p:nvSpPr>
        <p:spPr>
          <a:xfrm>
            <a:off x="6106431" y="1132708"/>
            <a:ext cx="4881157" cy="3455459"/>
          </a:xfrm>
        </p:spPr>
        <p:txBody>
          <a:bodyPr>
            <a:normAutofit fontScale="85000" lnSpcReduction="20000"/>
          </a:bodyPr>
          <a:lstStyle/>
          <a:p>
            <a:r>
              <a:rPr lang="nl-NL" sz="1905"/>
              <a:t>17 UN SDG’s</a:t>
            </a:r>
          </a:p>
          <a:p>
            <a:r>
              <a:rPr lang="nl-NL" sz="1905"/>
              <a:t>Water &amp; voedsel</a:t>
            </a:r>
          </a:p>
          <a:p>
            <a:r>
              <a:rPr lang="nl-NL" sz="1905"/>
              <a:t>Genetica (</a:t>
            </a:r>
            <a:r>
              <a:rPr lang="nl-NL" sz="1905" err="1"/>
              <a:t>Hacking</a:t>
            </a:r>
            <a:r>
              <a:rPr lang="nl-NL" sz="1905"/>
              <a:t> Darwin)</a:t>
            </a:r>
          </a:p>
          <a:p>
            <a:r>
              <a:rPr lang="nl-NL" sz="1905"/>
              <a:t>Korte versus lange termijn oriëntatie</a:t>
            </a:r>
          </a:p>
          <a:p>
            <a:r>
              <a:rPr lang="nl-NL" sz="1905"/>
              <a:t>Innovatie</a:t>
            </a:r>
          </a:p>
          <a:p>
            <a:r>
              <a:rPr lang="nl-NL" sz="1905"/>
              <a:t>Energietransitie</a:t>
            </a:r>
          </a:p>
          <a:p>
            <a:r>
              <a:rPr lang="nl-NL" sz="1905"/>
              <a:t>Andere businessmodellen</a:t>
            </a:r>
          </a:p>
          <a:p>
            <a:r>
              <a:rPr lang="nl-NL" sz="1905"/>
              <a:t>Externalities beprijzen</a:t>
            </a:r>
            <a:endParaRPr lang="en-US" sz="1905"/>
          </a:p>
          <a:p>
            <a:r>
              <a:rPr lang="nl-NL" sz="1905"/>
              <a:t>Stranded assets</a:t>
            </a:r>
          </a:p>
          <a:p>
            <a:r>
              <a:rPr lang="nl-NL" sz="1905"/>
              <a:t>Oorlog</a:t>
            </a:r>
          </a:p>
          <a:p>
            <a:r>
              <a:rPr lang="nl-NL" sz="1905"/>
              <a:t>Geopolitiek</a:t>
            </a:r>
          </a:p>
        </p:txBody>
      </p:sp>
      <p:sp>
        <p:nvSpPr>
          <p:cNvPr id="4" name="Slide Number Placeholder 3"/>
          <p:cNvSpPr>
            <a:spLocks noGrp="1"/>
          </p:cNvSpPr>
          <p:nvPr>
            <p:ph type="sldNum" sz="quarter" idx="4294967295"/>
          </p:nvPr>
        </p:nvSpPr>
        <p:spPr>
          <a:xfrm>
            <a:off x="11568795" y="5804240"/>
            <a:ext cx="623206" cy="267088"/>
          </a:xfrm>
        </p:spPr>
        <p:txBody>
          <a:bodyPr/>
          <a:lstStyle/>
          <a:p>
            <a:fld id="{34A0F559-C120-4789-B420-3451E346105D}" type="slidenum">
              <a:rPr lang="en-US" smtClean="0"/>
              <a:t>12</a:t>
            </a:fld>
            <a:endParaRPr lang="en-US"/>
          </a:p>
        </p:txBody>
      </p:sp>
    </p:spTree>
    <p:extLst>
      <p:ext uri="{BB962C8B-B14F-4D97-AF65-F5344CB8AC3E}">
        <p14:creationId xmlns:p14="http://schemas.microsoft.com/office/powerpoint/2010/main" val="2591751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p:nvPr>
        </p:nvSpPr>
        <p:spPr>
          <a:xfrm>
            <a:off x="5714268" y="249352"/>
            <a:ext cx="10972801" cy="777979"/>
          </a:xfrm>
        </p:spPr>
        <p:txBody>
          <a:bodyPr/>
          <a:lstStyle/>
          <a:p>
            <a:r>
              <a:rPr lang="en-US" altLang="en-US" err="1">
                <a:solidFill>
                  <a:schemeClr val="tx2"/>
                </a:solidFill>
              </a:rPr>
              <a:t>Exploratie</a:t>
            </a:r>
            <a:r>
              <a:rPr lang="en-US" altLang="en-US">
                <a:solidFill>
                  <a:schemeClr val="tx2"/>
                </a:solidFill>
              </a:rPr>
              <a:t> &amp; </a:t>
            </a:r>
            <a:r>
              <a:rPr lang="en-US" altLang="en-US" err="1">
                <a:solidFill>
                  <a:schemeClr val="tx2"/>
                </a:solidFill>
              </a:rPr>
              <a:t>Exploitatie</a:t>
            </a:r>
            <a:endParaRPr lang="en-US" altLang="en-US">
              <a:solidFill>
                <a:schemeClr val="tx2"/>
              </a:solidFill>
            </a:endParaRPr>
          </a:p>
        </p:txBody>
      </p:sp>
      <p:sp>
        <p:nvSpPr>
          <p:cNvPr id="7" name="Freeform 6"/>
          <p:cNvSpPr>
            <a:spLocks/>
          </p:cNvSpPr>
          <p:nvPr/>
        </p:nvSpPr>
        <p:spPr bwMode="auto">
          <a:xfrm>
            <a:off x="4845353" y="1692207"/>
            <a:ext cx="5428419" cy="3020551"/>
          </a:xfrm>
          <a:custGeom>
            <a:avLst/>
            <a:gdLst>
              <a:gd name="T0" fmla="*/ 0 w 2400"/>
              <a:gd name="T1" fmla="*/ 2400 h 2400"/>
              <a:gd name="T2" fmla="*/ 960 w 2400"/>
              <a:gd name="T3" fmla="*/ 2016 h 2400"/>
              <a:gd name="T4" fmla="*/ 1440 w 2400"/>
              <a:gd name="T5" fmla="*/ 384 h 2400"/>
              <a:gd name="T6" fmla="*/ 2400 w 2400"/>
              <a:gd name="T7" fmla="*/ 0 h 2400"/>
            </a:gdLst>
            <a:ahLst/>
            <a:cxnLst>
              <a:cxn ang="0">
                <a:pos x="T0" y="T1"/>
              </a:cxn>
              <a:cxn ang="0">
                <a:pos x="T2" y="T3"/>
              </a:cxn>
              <a:cxn ang="0">
                <a:pos x="T4" y="T5"/>
              </a:cxn>
              <a:cxn ang="0">
                <a:pos x="T6" y="T7"/>
              </a:cxn>
            </a:cxnLst>
            <a:rect l="0" t="0" r="r" b="b"/>
            <a:pathLst>
              <a:path w="2400" h="2400">
                <a:moveTo>
                  <a:pt x="0" y="2400"/>
                </a:moveTo>
                <a:cubicBezTo>
                  <a:pt x="360" y="2376"/>
                  <a:pt x="720" y="2352"/>
                  <a:pt x="960" y="2016"/>
                </a:cubicBezTo>
                <a:cubicBezTo>
                  <a:pt x="1200" y="1680"/>
                  <a:pt x="1200" y="720"/>
                  <a:pt x="1440" y="384"/>
                </a:cubicBezTo>
                <a:cubicBezTo>
                  <a:pt x="1680" y="48"/>
                  <a:pt x="2040" y="24"/>
                  <a:pt x="2400" y="0"/>
                </a:cubicBezTo>
              </a:path>
            </a:pathLst>
          </a:custGeom>
          <a:noFill/>
          <a:ln w="76200" cmpd="sng">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67527">
              <a:defRPr/>
            </a:pPr>
            <a:endParaRPr lang="en-US" sz="2400" kern="0">
              <a:solidFill>
                <a:srgbClr val="1F497D"/>
              </a:solidFill>
              <a:latin typeface="Arial"/>
              <a:ea typeface="ＭＳ Ｐゴシック"/>
            </a:endParaRPr>
          </a:p>
        </p:txBody>
      </p:sp>
      <p:pic>
        <p:nvPicPr>
          <p:cNvPr id="100356" name="Picture 5"/>
          <p:cNvPicPr>
            <a:picLocks noChangeAspect="1" noChangeArrowheads="1"/>
          </p:cNvPicPr>
          <p:nvPr/>
        </p:nvPicPr>
        <p:blipFill>
          <a:blip r:embed="rId2" cstate="print">
            <a:grayscl/>
            <a:biLevel thresh="50000"/>
            <a:extLst>
              <a:ext uri="{28A0092B-C50C-407E-A947-70E740481C1C}">
                <a14:useLocalDpi xmlns:a14="http://schemas.microsoft.com/office/drawing/2010/main" val="0"/>
              </a:ext>
            </a:extLst>
          </a:blip>
          <a:srcRect r="49985" b="59052"/>
          <a:stretch>
            <a:fillRect/>
          </a:stretch>
        </p:blipFill>
        <p:spPr bwMode="auto">
          <a:xfrm>
            <a:off x="10251550" y="1657288"/>
            <a:ext cx="1522179" cy="1136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0357" name="Groep 3"/>
          <p:cNvGrpSpPr>
            <a:grpSpLocks/>
          </p:cNvGrpSpPr>
          <p:nvPr/>
        </p:nvGrpSpPr>
        <p:grpSpPr bwMode="auto">
          <a:xfrm>
            <a:off x="4965985" y="4950847"/>
            <a:ext cx="5887136" cy="925370"/>
            <a:chOff x="2135366" y="5671652"/>
            <a:chExt cx="6203982" cy="925700"/>
          </a:xfrm>
        </p:grpSpPr>
        <p:pic>
          <p:nvPicPr>
            <p:cNvPr id="100373"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5366" y="5671652"/>
              <a:ext cx="4747626" cy="92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76200" algn="ctr">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0374" name="Picture 2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7524" y="5671652"/>
              <a:ext cx="1251824" cy="92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76200" algn="ctr">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5" name="Rechte verbindingslijn 14"/>
          <p:cNvCxnSpPr/>
          <p:nvPr/>
        </p:nvCxnSpPr>
        <p:spPr bwMode="auto">
          <a:xfrm>
            <a:off x="4102517" y="4723867"/>
            <a:ext cx="647601" cy="0"/>
          </a:xfrm>
          <a:prstGeom prst="line">
            <a:avLst/>
          </a:prstGeom>
          <a:noFill/>
          <a:ln w="76200" cap="flat" cmpd="sng" algn="ctr">
            <a:solidFill>
              <a:schemeClr val="tx1"/>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0359" name="Tekstvak 5"/>
          <p:cNvSpPr txBox="1">
            <a:spLocks noChangeArrowheads="1"/>
          </p:cNvSpPr>
          <p:nvPr/>
        </p:nvSpPr>
        <p:spPr bwMode="auto">
          <a:xfrm>
            <a:off x="2940716" y="4292135"/>
            <a:ext cx="1368216" cy="584775"/>
          </a:xfrm>
          <a:prstGeom prst="rect">
            <a:avLst/>
          </a:prstGeom>
          <a:solidFill>
            <a:schemeClr val="bg1">
              <a:alpha val="7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Dreams, Hunches</a:t>
            </a:r>
          </a:p>
        </p:txBody>
      </p:sp>
      <p:sp>
        <p:nvSpPr>
          <p:cNvPr id="100360" name="Tekstvak 31"/>
          <p:cNvSpPr txBox="1">
            <a:spLocks noChangeArrowheads="1"/>
          </p:cNvSpPr>
          <p:nvPr/>
        </p:nvSpPr>
        <p:spPr bwMode="auto">
          <a:xfrm>
            <a:off x="4318384" y="4292135"/>
            <a:ext cx="20332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Vision driven</a:t>
            </a:r>
          </a:p>
        </p:txBody>
      </p:sp>
      <p:sp>
        <p:nvSpPr>
          <p:cNvPr id="100361" name="Tekstvak 34"/>
          <p:cNvSpPr txBox="1">
            <a:spLocks noChangeArrowheads="1"/>
          </p:cNvSpPr>
          <p:nvPr/>
        </p:nvSpPr>
        <p:spPr bwMode="auto">
          <a:xfrm>
            <a:off x="4750118" y="4003253"/>
            <a:ext cx="23761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Mission driven</a:t>
            </a:r>
          </a:p>
        </p:txBody>
      </p:sp>
      <p:sp>
        <p:nvSpPr>
          <p:cNvPr id="100362" name="Tekstvak 35"/>
          <p:cNvSpPr txBox="1">
            <a:spLocks noChangeArrowheads="1"/>
          </p:cNvSpPr>
          <p:nvPr/>
        </p:nvSpPr>
        <p:spPr bwMode="auto">
          <a:xfrm>
            <a:off x="5542159" y="3715960"/>
            <a:ext cx="136821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Strategic</a:t>
            </a:r>
          </a:p>
        </p:txBody>
      </p:sp>
      <p:sp>
        <p:nvSpPr>
          <p:cNvPr id="100363" name="Tekstvak 38"/>
          <p:cNvSpPr txBox="1">
            <a:spLocks noChangeArrowheads="1"/>
          </p:cNvSpPr>
          <p:nvPr/>
        </p:nvSpPr>
        <p:spPr bwMode="auto">
          <a:xfrm>
            <a:off x="5902467" y="3428667"/>
            <a:ext cx="14761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Operational</a:t>
            </a:r>
          </a:p>
        </p:txBody>
      </p:sp>
      <p:sp>
        <p:nvSpPr>
          <p:cNvPr id="100364" name="Tekstvak 39"/>
          <p:cNvSpPr txBox="1">
            <a:spLocks noChangeArrowheads="1"/>
          </p:cNvSpPr>
          <p:nvPr/>
        </p:nvSpPr>
        <p:spPr bwMode="auto">
          <a:xfrm>
            <a:off x="5902467" y="2995346"/>
            <a:ext cx="158408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Structuring</a:t>
            </a:r>
          </a:p>
        </p:txBody>
      </p:sp>
      <p:sp>
        <p:nvSpPr>
          <p:cNvPr id="100365" name="Tekstvak 40"/>
          <p:cNvSpPr txBox="1">
            <a:spLocks noChangeArrowheads="1"/>
          </p:cNvSpPr>
          <p:nvPr/>
        </p:nvSpPr>
        <p:spPr bwMode="auto">
          <a:xfrm>
            <a:off x="6326264" y="2563612"/>
            <a:ext cx="144757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Regulating</a:t>
            </a:r>
          </a:p>
        </p:txBody>
      </p:sp>
      <p:sp>
        <p:nvSpPr>
          <p:cNvPr id="100366" name="Tekstvak 42"/>
          <p:cNvSpPr txBox="1">
            <a:spLocks noChangeArrowheads="1"/>
          </p:cNvSpPr>
          <p:nvPr/>
        </p:nvSpPr>
        <p:spPr bwMode="auto">
          <a:xfrm>
            <a:off x="6045320" y="2131878"/>
            <a:ext cx="2017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Setting standards</a:t>
            </a:r>
          </a:p>
        </p:txBody>
      </p:sp>
      <p:sp>
        <p:nvSpPr>
          <p:cNvPr id="100367" name="Tekstvak 43"/>
          <p:cNvSpPr txBox="1">
            <a:spLocks noChangeArrowheads="1"/>
          </p:cNvSpPr>
          <p:nvPr/>
        </p:nvSpPr>
        <p:spPr bwMode="auto">
          <a:xfrm>
            <a:off x="6397692" y="1700144"/>
            <a:ext cx="21681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Setting procedures</a:t>
            </a:r>
          </a:p>
        </p:txBody>
      </p:sp>
      <p:sp>
        <p:nvSpPr>
          <p:cNvPr id="100368" name="Tekstvak 44"/>
          <p:cNvSpPr txBox="1">
            <a:spLocks noChangeArrowheads="1"/>
          </p:cNvSpPr>
          <p:nvPr/>
        </p:nvSpPr>
        <p:spPr bwMode="auto">
          <a:xfrm>
            <a:off x="7692892" y="1433485"/>
            <a:ext cx="16650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16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200">
                <a:solidFill>
                  <a:schemeClr val="tx1"/>
                </a:solidFill>
                <a:latin typeface="Arial" panose="020B0604020202020204" pitchFamily="34" charset="0"/>
              </a:defRPr>
            </a:lvl5pPr>
            <a:lvl6pPr marL="2514600" indent="-228600" eaLnBrk="0" fontAlgn="base" hangingPunct="0">
              <a:spcBef>
                <a:spcPct val="20000"/>
              </a:spcBef>
              <a:spcAft>
                <a:spcPct val="0"/>
              </a:spcAft>
              <a:defRPr sz="1200">
                <a:solidFill>
                  <a:schemeClr val="tx1"/>
                </a:solidFill>
                <a:latin typeface="Arial" panose="020B0604020202020204" pitchFamily="34" charset="0"/>
              </a:defRPr>
            </a:lvl6pPr>
            <a:lvl7pPr marL="2971800" indent="-228600" eaLnBrk="0" fontAlgn="base" hangingPunct="0">
              <a:spcBef>
                <a:spcPct val="20000"/>
              </a:spcBef>
              <a:spcAft>
                <a:spcPct val="0"/>
              </a:spcAft>
              <a:defRPr sz="1200">
                <a:solidFill>
                  <a:schemeClr val="tx1"/>
                </a:solidFill>
                <a:latin typeface="Arial" panose="020B0604020202020204" pitchFamily="34" charset="0"/>
              </a:defRPr>
            </a:lvl7pPr>
            <a:lvl8pPr marL="3429000" indent="-228600" eaLnBrk="0" fontAlgn="base" hangingPunct="0">
              <a:spcBef>
                <a:spcPct val="20000"/>
              </a:spcBef>
              <a:spcAft>
                <a:spcPct val="0"/>
              </a:spcAft>
              <a:defRPr sz="1200">
                <a:solidFill>
                  <a:schemeClr val="tx1"/>
                </a:solidFill>
                <a:latin typeface="Arial" panose="020B0604020202020204" pitchFamily="34" charset="0"/>
              </a:defRPr>
            </a:lvl8pPr>
            <a:lvl9pPr marL="3886200" indent="-228600" eaLnBrk="0" fontAlgn="base" hangingPunct="0">
              <a:spcBef>
                <a:spcPct val="20000"/>
              </a:spcBef>
              <a:spcAft>
                <a:spcPct val="0"/>
              </a:spcAft>
              <a:defRPr sz="1200">
                <a:solidFill>
                  <a:schemeClr val="tx1"/>
                </a:solidFill>
                <a:latin typeface="Arial" panose="020B0604020202020204" pitchFamily="34" charset="0"/>
              </a:defRPr>
            </a:lvl9pPr>
          </a:lstStyle>
          <a:p>
            <a:pPr algn="ctr" defTabSz="967527">
              <a:spcBef>
                <a:spcPct val="0"/>
              </a:spcBef>
              <a:defRPr/>
            </a:pPr>
            <a:r>
              <a:rPr lang="en-US" altLang="en-US" sz="1600" b="1">
                <a:solidFill>
                  <a:srgbClr val="1F497D"/>
                </a:solidFill>
              </a:rPr>
              <a:t>Enforcing</a:t>
            </a:r>
          </a:p>
        </p:txBody>
      </p:sp>
      <p:grpSp>
        <p:nvGrpSpPr>
          <p:cNvPr id="100369" name="Groep 19"/>
          <p:cNvGrpSpPr>
            <a:grpSpLocks/>
          </p:cNvGrpSpPr>
          <p:nvPr/>
        </p:nvGrpSpPr>
        <p:grpSpPr bwMode="auto">
          <a:xfrm>
            <a:off x="8935237" y="-521039"/>
            <a:ext cx="3163402" cy="3096739"/>
            <a:chOff x="5982682" y="187771"/>
            <a:chExt cx="3163492" cy="3097213"/>
          </a:xfrm>
        </p:grpSpPr>
        <p:pic>
          <p:nvPicPr>
            <p:cNvPr id="10037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8224" y="187771"/>
              <a:ext cx="2557950" cy="3097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8" name="Rechte verbindingslijn 47"/>
            <p:cNvCxnSpPr/>
            <p:nvPr/>
          </p:nvCxnSpPr>
          <p:spPr bwMode="auto">
            <a:xfrm>
              <a:off x="5982682" y="3242121"/>
              <a:ext cx="647619" cy="0"/>
            </a:xfrm>
            <a:prstGeom prst="line">
              <a:avLst/>
            </a:prstGeom>
            <a:noFill/>
            <a:ln w="76200" cap="flat" cmpd="sng" algn="ctr">
              <a:solidFill>
                <a:schemeClr val="tx1"/>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00370" name="Tijdelijke aanduiding voor dianummer 1"/>
          <p:cNvSpPr>
            <a:spLocks noGrp="1"/>
          </p:cNvSpPr>
          <p:nvPr>
            <p:ph type="sldNum" sz="quarter" idx="4294967295"/>
          </p:nvPr>
        </p:nvSpPr>
        <p:spPr>
          <a:xfrm>
            <a:off x="10437260" y="-122026"/>
            <a:ext cx="1142825" cy="238088"/>
          </a:xfrm>
          <a:prstGeom prst="rect">
            <a:avLst/>
          </a:prstGeom>
          <a:noFill/>
        </p:spPr>
        <p:txBody>
          <a:bodyPr/>
          <a:lstStyle>
            <a:lvl1pPr>
              <a:spcBef>
                <a:spcPct val="20000"/>
              </a:spcBef>
              <a:defRPr sz="2000">
                <a:solidFill>
                  <a:schemeClr val="tx1"/>
                </a:solidFill>
                <a:latin typeface="Arial" panose="020B0604020202020204" pitchFamily="34" charset="0"/>
              </a:defRPr>
            </a:lvl1pPr>
            <a:lvl2pPr marL="742800" indent="-285692">
              <a:spcBef>
                <a:spcPct val="20000"/>
              </a:spcBef>
              <a:defRPr>
                <a:solidFill>
                  <a:schemeClr val="tx1"/>
                </a:solidFill>
                <a:latin typeface="Arial" panose="020B0604020202020204" pitchFamily="34" charset="0"/>
              </a:defRPr>
            </a:lvl2pPr>
            <a:lvl3pPr marL="1142770" indent="-228554">
              <a:spcBef>
                <a:spcPct val="20000"/>
              </a:spcBef>
              <a:defRPr sz="1600">
                <a:solidFill>
                  <a:schemeClr val="tx1"/>
                </a:solidFill>
                <a:latin typeface="Arial" panose="020B0604020202020204" pitchFamily="34" charset="0"/>
              </a:defRPr>
            </a:lvl3pPr>
            <a:lvl4pPr marL="1599878" indent="-228554">
              <a:spcBef>
                <a:spcPct val="20000"/>
              </a:spcBef>
              <a:defRPr sz="1400">
                <a:solidFill>
                  <a:schemeClr val="tx1"/>
                </a:solidFill>
                <a:latin typeface="Arial" panose="020B0604020202020204" pitchFamily="34" charset="0"/>
              </a:defRPr>
            </a:lvl4pPr>
            <a:lvl5pPr marL="2056986" indent="-228554">
              <a:spcBef>
                <a:spcPct val="20000"/>
              </a:spcBef>
              <a:defRPr sz="1200">
                <a:solidFill>
                  <a:schemeClr val="tx1"/>
                </a:solidFill>
                <a:latin typeface="Arial" panose="020B0604020202020204" pitchFamily="34" charset="0"/>
              </a:defRPr>
            </a:lvl5pPr>
            <a:lvl6pPr marL="2514094" indent="-228554" eaLnBrk="0" fontAlgn="base" hangingPunct="0">
              <a:spcBef>
                <a:spcPct val="20000"/>
              </a:spcBef>
              <a:spcAft>
                <a:spcPct val="0"/>
              </a:spcAft>
              <a:defRPr sz="1200">
                <a:solidFill>
                  <a:schemeClr val="tx1"/>
                </a:solidFill>
                <a:latin typeface="Arial" panose="020B0604020202020204" pitchFamily="34" charset="0"/>
              </a:defRPr>
            </a:lvl6pPr>
            <a:lvl7pPr marL="2971202" indent="-228554" eaLnBrk="0" fontAlgn="base" hangingPunct="0">
              <a:spcBef>
                <a:spcPct val="20000"/>
              </a:spcBef>
              <a:spcAft>
                <a:spcPct val="0"/>
              </a:spcAft>
              <a:defRPr sz="1200">
                <a:solidFill>
                  <a:schemeClr val="tx1"/>
                </a:solidFill>
                <a:latin typeface="Arial" panose="020B0604020202020204" pitchFamily="34" charset="0"/>
              </a:defRPr>
            </a:lvl7pPr>
            <a:lvl8pPr marL="3428310" indent="-228554" eaLnBrk="0" fontAlgn="base" hangingPunct="0">
              <a:spcBef>
                <a:spcPct val="20000"/>
              </a:spcBef>
              <a:spcAft>
                <a:spcPct val="0"/>
              </a:spcAft>
              <a:defRPr sz="1200">
                <a:solidFill>
                  <a:schemeClr val="tx1"/>
                </a:solidFill>
                <a:latin typeface="Arial" panose="020B0604020202020204" pitchFamily="34" charset="0"/>
              </a:defRPr>
            </a:lvl8pPr>
            <a:lvl9pPr marL="3885417" indent="-228554" eaLnBrk="0" fontAlgn="base" hangingPunct="0">
              <a:spcBef>
                <a:spcPct val="20000"/>
              </a:spcBef>
              <a:spcAft>
                <a:spcPct val="0"/>
              </a:spcAft>
              <a:defRPr sz="1200">
                <a:solidFill>
                  <a:schemeClr val="tx1"/>
                </a:solidFill>
                <a:latin typeface="Arial" panose="020B0604020202020204" pitchFamily="34" charset="0"/>
              </a:defRPr>
            </a:lvl9pPr>
          </a:lstStyle>
          <a:p>
            <a:pPr algn="l" defTabSz="967527">
              <a:spcBef>
                <a:spcPct val="0"/>
              </a:spcBef>
              <a:defRPr/>
            </a:pPr>
            <a:fld id="{D88D7953-6805-4D54-BBFD-3BDC3A09035C}" type="slidenum">
              <a:rPr lang="en-GB" altLang="en-US" sz="1000">
                <a:solidFill>
                  <a:srgbClr val="1F497D"/>
                </a:solidFill>
              </a:rPr>
              <a:pPr algn="l" defTabSz="967527">
                <a:spcBef>
                  <a:spcPct val="0"/>
                </a:spcBef>
                <a:defRPr/>
              </a:pPr>
              <a:t>13</a:t>
            </a:fld>
            <a:endParaRPr lang="en-GB" altLang="en-US" sz="1000">
              <a:solidFill>
                <a:srgbClr val="1F497D"/>
              </a:solidFill>
            </a:endParaRPr>
          </a:p>
        </p:txBody>
      </p:sp>
      <p:pic>
        <p:nvPicPr>
          <p:cNvPr id="3" name="Picture 2">
            <a:extLst>
              <a:ext uri="{FF2B5EF4-FFF2-40B4-BE49-F238E27FC236}">
                <a16:creationId xmlns:a16="http://schemas.microsoft.com/office/drawing/2014/main" id="{7E27E403-A863-BBA8-BE2A-ABD5E451AB38}"/>
              </a:ext>
            </a:extLst>
          </p:cNvPr>
          <p:cNvPicPr>
            <a:picLocks noChangeAspect="1"/>
          </p:cNvPicPr>
          <p:nvPr/>
        </p:nvPicPr>
        <p:blipFill>
          <a:blip r:embed="rId6"/>
          <a:stretch>
            <a:fillRect/>
          </a:stretch>
        </p:blipFill>
        <p:spPr>
          <a:xfrm>
            <a:off x="-8150" y="6094"/>
            <a:ext cx="3028635" cy="4565828"/>
          </a:xfrm>
          <a:prstGeom prst="rect">
            <a:avLst/>
          </a:prstGeom>
        </p:spPr>
      </p:pic>
    </p:spTree>
    <p:extLst>
      <p:ext uri="{BB962C8B-B14F-4D97-AF65-F5344CB8AC3E}">
        <p14:creationId xmlns:p14="http://schemas.microsoft.com/office/powerpoint/2010/main" val="519969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8A583B-E44B-9097-20AD-C0D5A844356F}"/>
              </a:ext>
            </a:extLst>
          </p:cNvPr>
          <p:cNvSpPr>
            <a:spLocks noGrp="1"/>
          </p:cNvSpPr>
          <p:nvPr>
            <p:ph type="title"/>
          </p:nvPr>
        </p:nvSpPr>
        <p:spPr>
          <a:xfrm>
            <a:off x="609601" y="275122"/>
            <a:ext cx="10972801" cy="777979"/>
          </a:xfrm>
        </p:spPr>
        <p:txBody>
          <a:bodyPr anchor="ctr">
            <a:normAutofit/>
          </a:bodyPr>
          <a:lstStyle/>
          <a:p>
            <a:r>
              <a:rPr lang="en-GB" err="1"/>
              <a:t>Efficientie</a:t>
            </a:r>
            <a:r>
              <a:rPr lang="en-GB"/>
              <a:t> of </a:t>
            </a:r>
            <a:r>
              <a:rPr lang="en-GB" err="1"/>
              <a:t>schaal</a:t>
            </a:r>
            <a:r>
              <a:rPr lang="en-GB"/>
              <a:t> is de </a:t>
            </a:r>
            <a:r>
              <a:rPr lang="en-GB" err="1"/>
              <a:t>dominante</a:t>
            </a:r>
            <a:r>
              <a:rPr lang="en-GB"/>
              <a:t> </a:t>
            </a:r>
            <a:r>
              <a:rPr lang="en-GB" err="1"/>
              <a:t>logica</a:t>
            </a:r>
            <a:endParaRPr lang="en-GB"/>
          </a:p>
        </p:txBody>
      </p:sp>
      <p:sp>
        <p:nvSpPr>
          <p:cNvPr id="5" name="Tekstvak 4">
            <a:extLst>
              <a:ext uri="{FF2B5EF4-FFF2-40B4-BE49-F238E27FC236}">
                <a16:creationId xmlns:a16="http://schemas.microsoft.com/office/drawing/2014/main" id="{656DAC44-B948-4C9A-8E2F-EB1213CB2C3B}"/>
              </a:ext>
            </a:extLst>
          </p:cNvPr>
          <p:cNvSpPr txBox="1"/>
          <p:nvPr/>
        </p:nvSpPr>
        <p:spPr>
          <a:xfrm>
            <a:off x="623392" y="1413086"/>
            <a:ext cx="6691724" cy="4535809"/>
          </a:xfrm>
          <a:prstGeom prst="rect">
            <a:avLst/>
          </a:prstGeom>
        </p:spPr>
        <p:txBody>
          <a:bodyPr vert="horz" lIns="96757" tIns="48378" rIns="96757" bIns="48378" rtlCol="0">
            <a:normAutofit/>
          </a:bodyPr>
          <a:lstStyle/>
          <a:p>
            <a:pPr marL="362822" indent="-362822">
              <a:lnSpc>
                <a:spcPct val="150000"/>
              </a:lnSpc>
              <a:spcAft>
                <a:spcPts val="635"/>
              </a:spcAft>
              <a:buFont typeface="Arial" panose="020B0604020202020204" pitchFamily="34" charset="0"/>
              <a:buChar char="•"/>
            </a:pPr>
            <a:r>
              <a:rPr lang="en-US" sz="2539">
                <a:solidFill>
                  <a:schemeClr val="tx2"/>
                </a:solidFill>
              </a:rPr>
              <a:t>Continu </a:t>
            </a:r>
            <a:r>
              <a:rPr lang="en-US" sz="2539" err="1">
                <a:solidFill>
                  <a:schemeClr val="tx2"/>
                </a:solidFill>
              </a:rPr>
              <a:t>werken</a:t>
            </a:r>
            <a:r>
              <a:rPr lang="en-US" sz="2539">
                <a:solidFill>
                  <a:schemeClr val="tx2"/>
                </a:solidFill>
              </a:rPr>
              <a:t> </a:t>
            </a:r>
            <a:r>
              <a:rPr lang="en-US" sz="2539" err="1">
                <a:solidFill>
                  <a:schemeClr val="tx2"/>
                </a:solidFill>
              </a:rPr>
              <a:t>aan</a:t>
            </a:r>
            <a:r>
              <a:rPr lang="en-US" sz="2539">
                <a:solidFill>
                  <a:schemeClr val="tx2"/>
                </a:solidFill>
              </a:rPr>
              <a:t> </a:t>
            </a:r>
            <a:r>
              <a:rPr lang="en-US" sz="2539" err="1">
                <a:solidFill>
                  <a:schemeClr val="tx2"/>
                </a:solidFill>
              </a:rPr>
              <a:t>efficientieverbetering</a:t>
            </a:r>
            <a:r>
              <a:rPr lang="en-US" sz="2539">
                <a:solidFill>
                  <a:schemeClr val="tx2"/>
                </a:solidFill>
              </a:rPr>
              <a:t> is de </a:t>
            </a:r>
            <a:r>
              <a:rPr lang="en-US" sz="2539" err="1">
                <a:solidFill>
                  <a:schemeClr val="tx2"/>
                </a:solidFill>
              </a:rPr>
              <a:t>dood</a:t>
            </a:r>
            <a:r>
              <a:rPr lang="en-US" sz="2539">
                <a:solidFill>
                  <a:schemeClr val="tx2"/>
                </a:solidFill>
              </a:rPr>
              <a:t> in de pot; het </a:t>
            </a:r>
            <a:r>
              <a:rPr lang="en-US" sz="2539" err="1">
                <a:solidFill>
                  <a:schemeClr val="tx2"/>
                </a:solidFill>
              </a:rPr>
              <a:t>verhaal</a:t>
            </a:r>
            <a:r>
              <a:rPr lang="en-US" sz="2539">
                <a:solidFill>
                  <a:schemeClr val="tx2"/>
                </a:solidFill>
              </a:rPr>
              <a:t> van de </a:t>
            </a:r>
            <a:r>
              <a:rPr lang="en-US" sz="2539" err="1">
                <a:solidFill>
                  <a:schemeClr val="tx2"/>
                </a:solidFill>
              </a:rPr>
              <a:t>drankenfabriek</a:t>
            </a:r>
            <a:endParaRPr lang="en-US" sz="2539">
              <a:solidFill>
                <a:schemeClr val="tx2"/>
              </a:solidFill>
            </a:endParaRPr>
          </a:p>
          <a:p>
            <a:pPr marL="362822" indent="-362822">
              <a:lnSpc>
                <a:spcPct val="150000"/>
              </a:lnSpc>
              <a:spcAft>
                <a:spcPts val="635"/>
              </a:spcAft>
              <a:buFont typeface="Arial" panose="020B0604020202020204" pitchFamily="34" charset="0"/>
              <a:buChar char="•"/>
            </a:pPr>
            <a:endParaRPr lang="en-US" sz="2539">
              <a:solidFill>
                <a:schemeClr val="tx2"/>
              </a:solidFill>
            </a:endParaRPr>
          </a:p>
          <a:p>
            <a:pPr marL="362822" indent="-362822">
              <a:lnSpc>
                <a:spcPct val="150000"/>
              </a:lnSpc>
              <a:spcAft>
                <a:spcPts val="635"/>
              </a:spcAft>
              <a:buFont typeface="Arial" panose="020B0604020202020204" pitchFamily="34" charset="0"/>
              <a:buChar char="•"/>
            </a:pPr>
            <a:r>
              <a:rPr lang="en-US" sz="2539" err="1">
                <a:solidFill>
                  <a:schemeClr val="tx2"/>
                </a:solidFill>
              </a:rPr>
              <a:t>Teveel</a:t>
            </a:r>
            <a:r>
              <a:rPr lang="en-US" sz="2539">
                <a:solidFill>
                  <a:schemeClr val="tx2"/>
                </a:solidFill>
              </a:rPr>
              <a:t> </a:t>
            </a:r>
            <a:r>
              <a:rPr lang="en-US" sz="2539" err="1">
                <a:solidFill>
                  <a:schemeClr val="tx2"/>
                </a:solidFill>
              </a:rPr>
              <a:t>aandacht</a:t>
            </a:r>
            <a:r>
              <a:rPr lang="en-US" sz="2539">
                <a:solidFill>
                  <a:schemeClr val="tx2"/>
                </a:solidFill>
              </a:rPr>
              <a:t> </a:t>
            </a:r>
            <a:r>
              <a:rPr lang="en-US" sz="2539" err="1">
                <a:solidFill>
                  <a:schemeClr val="tx2"/>
                </a:solidFill>
              </a:rPr>
              <a:t>daarvoor</a:t>
            </a:r>
            <a:r>
              <a:rPr lang="en-US" sz="2539">
                <a:solidFill>
                  <a:schemeClr val="tx2"/>
                </a:solidFill>
              </a:rPr>
              <a:t> </a:t>
            </a:r>
            <a:r>
              <a:rPr lang="en-US" sz="2539" err="1">
                <a:solidFill>
                  <a:schemeClr val="tx2"/>
                </a:solidFill>
              </a:rPr>
              <a:t>pakt</a:t>
            </a:r>
            <a:r>
              <a:rPr lang="en-US" sz="2539">
                <a:solidFill>
                  <a:schemeClr val="tx2"/>
                </a:solidFill>
              </a:rPr>
              <a:t> </a:t>
            </a:r>
            <a:r>
              <a:rPr lang="en-US" sz="2539" err="1">
                <a:solidFill>
                  <a:schemeClr val="tx2"/>
                </a:solidFill>
              </a:rPr>
              <a:t>slecht</a:t>
            </a:r>
            <a:r>
              <a:rPr lang="en-US" sz="2539">
                <a:solidFill>
                  <a:schemeClr val="tx2"/>
                </a:solidFill>
              </a:rPr>
              <a:t> </a:t>
            </a:r>
            <a:r>
              <a:rPr lang="en-US" sz="2539" err="1">
                <a:solidFill>
                  <a:schemeClr val="tx2"/>
                </a:solidFill>
              </a:rPr>
              <a:t>uit</a:t>
            </a:r>
            <a:r>
              <a:rPr lang="en-US" sz="2539">
                <a:solidFill>
                  <a:schemeClr val="tx2"/>
                </a:solidFill>
              </a:rPr>
              <a:t> </a:t>
            </a:r>
            <a:r>
              <a:rPr lang="en-US" sz="2539" err="1">
                <a:solidFill>
                  <a:schemeClr val="tx2"/>
                </a:solidFill>
              </a:rPr>
              <a:t>voor</a:t>
            </a:r>
            <a:r>
              <a:rPr lang="en-US" sz="2539">
                <a:solidFill>
                  <a:schemeClr val="tx2"/>
                </a:solidFill>
              </a:rPr>
              <a:t> </a:t>
            </a:r>
            <a:r>
              <a:rPr lang="en-US" sz="2539" err="1">
                <a:solidFill>
                  <a:schemeClr val="tx2"/>
                </a:solidFill>
              </a:rPr>
              <a:t>kwaliteit</a:t>
            </a:r>
            <a:r>
              <a:rPr lang="en-US" sz="2539">
                <a:solidFill>
                  <a:schemeClr val="tx2"/>
                </a:solidFill>
              </a:rPr>
              <a:t>, </a:t>
            </a:r>
            <a:r>
              <a:rPr lang="en-US" sz="2539" err="1">
                <a:solidFill>
                  <a:schemeClr val="tx2"/>
                </a:solidFill>
              </a:rPr>
              <a:t>veiligheid</a:t>
            </a:r>
            <a:r>
              <a:rPr lang="en-US" sz="2539">
                <a:solidFill>
                  <a:schemeClr val="tx2"/>
                </a:solidFill>
              </a:rPr>
              <a:t> </a:t>
            </a:r>
            <a:r>
              <a:rPr lang="en-US" sz="2539" err="1">
                <a:solidFill>
                  <a:schemeClr val="tx2"/>
                </a:solidFill>
              </a:rPr>
              <a:t>en</a:t>
            </a:r>
            <a:r>
              <a:rPr lang="en-US" sz="2539">
                <a:solidFill>
                  <a:schemeClr val="tx2"/>
                </a:solidFill>
              </a:rPr>
              <a:t> </a:t>
            </a:r>
            <a:r>
              <a:rPr lang="en-US" sz="2539" err="1">
                <a:solidFill>
                  <a:schemeClr val="tx2"/>
                </a:solidFill>
              </a:rPr>
              <a:t>creativiteit</a:t>
            </a:r>
            <a:endParaRPr lang="en-US" sz="2539">
              <a:solidFill>
                <a:schemeClr val="tx2"/>
              </a:solidFill>
            </a:endParaRPr>
          </a:p>
        </p:txBody>
      </p:sp>
      <p:pic>
        <p:nvPicPr>
          <p:cNvPr id="1026" name="Picture 2" descr="Grafiek vector omhoog en omlaag grafiek | Premium Vector">
            <a:extLst>
              <a:ext uri="{FF2B5EF4-FFF2-40B4-BE49-F238E27FC236}">
                <a16:creationId xmlns:a16="http://schemas.microsoft.com/office/drawing/2014/main" id="{CA8A3406-90F6-1994-F684-6FFCED5B35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3228" y="1226814"/>
            <a:ext cx="4908352" cy="4908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7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FBAA02-A901-AD13-80D9-08F2B5F1AF45}"/>
              </a:ext>
            </a:extLst>
          </p:cNvPr>
          <p:cNvSpPr>
            <a:spLocks noGrp="1"/>
          </p:cNvSpPr>
          <p:nvPr>
            <p:ph type="title"/>
          </p:nvPr>
        </p:nvSpPr>
        <p:spPr>
          <a:xfrm>
            <a:off x="609601" y="693116"/>
            <a:ext cx="10478955" cy="777979"/>
          </a:xfrm>
        </p:spPr>
        <p:txBody>
          <a:bodyPr anchor="t">
            <a:normAutofit/>
          </a:bodyPr>
          <a:lstStyle/>
          <a:p>
            <a:r>
              <a:rPr lang="en-GB"/>
              <a:t>Ambidexterity: het </a:t>
            </a:r>
            <a:r>
              <a:rPr lang="en-GB" err="1"/>
              <a:t>nieuwe</a:t>
            </a:r>
            <a:r>
              <a:rPr lang="en-GB"/>
              <a:t> </a:t>
            </a:r>
            <a:r>
              <a:rPr lang="en-GB" err="1"/>
              <a:t>toverwoord</a:t>
            </a:r>
            <a:endParaRPr lang="en-GB"/>
          </a:p>
        </p:txBody>
      </p:sp>
      <p:pic>
        <p:nvPicPr>
          <p:cNvPr id="2050" name="Picture 2" descr="Organizational ambidexterity: What is it and why should we care? - Journal  of Marketing Management">
            <a:extLst>
              <a:ext uri="{FF2B5EF4-FFF2-40B4-BE49-F238E27FC236}">
                <a16:creationId xmlns:a16="http://schemas.microsoft.com/office/drawing/2014/main" id="{846826BA-9DA4-0425-5100-7BF3DA2E2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5431" r="-1" b="12403"/>
          <a:stretch/>
        </p:blipFill>
        <p:spPr bwMode="auto">
          <a:xfrm>
            <a:off x="623393" y="1413086"/>
            <a:ext cx="10465163" cy="4535809"/>
          </a:xfrm>
          <a:prstGeom prst="rect">
            <a:avLst/>
          </a:prstGeom>
          <a:solidFill>
            <a:srgbClr val="FFFFFF"/>
          </a:solidFill>
        </p:spPr>
      </p:pic>
    </p:spTree>
    <p:extLst>
      <p:ext uri="{BB962C8B-B14F-4D97-AF65-F5344CB8AC3E}">
        <p14:creationId xmlns:p14="http://schemas.microsoft.com/office/powerpoint/2010/main" val="245482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B5750099-7963-0A89-A54C-CA0BC3DB13A9}"/>
              </a:ext>
            </a:extLst>
          </p:cNvPr>
          <p:cNvPicPr>
            <a:picLocks noChangeAspect="1"/>
          </p:cNvPicPr>
          <p:nvPr/>
        </p:nvPicPr>
        <p:blipFill>
          <a:blip r:embed="rId2"/>
          <a:stretch>
            <a:fillRect/>
          </a:stretch>
        </p:blipFill>
        <p:spPr>
          <a:xfrm>
            <a:off x="1905289" y="525"/>
            <a:ext cx="8305227" cy="6856950"/>
          </a:xfrm>
          <a:prstGeom prst="rect">
            <a:avLst/>
          </a:prstGeom>
        </p:spPr>
      </p:pic>
    </p:spTree>
    <p:extLst>
      <p:ext uri="{BB962C8B-B14F-4D97-AF65-F5344CB8AC3E}">
        <p14:creationId xmlns:p14="http://schemas.microsoft.com/office/powerpoint/2010/main" val="3002626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B17FE-782B-4375-A94E-368576AF3F00}"/>
              </a:ext>
            </a:extLst>
          </p:cNvPr>
          <p:cNvSpPr>
            <a:spLocks noGrp="1"/>
          </p:cNvSpPr>
          <p:nvPr>
            <p:ph type="title"/>
          </p:nvPr>
        </p:nvSpPr>
        <p:spPr/>
        <p:txBody>
          <a:bodyPr/>
          <a:lstStyle/>
          <a:p>
            <a:r>
              <a:rPr lang="nl-NL"/>
              <a:t>Waar gaat het eigenlijk om?</a:t>
            </a:r>
          </a:p>
        </p:txBody>
      </p:sp>
      <p:sp>
        <p:nvSpPr>
          <p:cNvPr id="3" name="Content Placeholder 2">
            <a:extLst>
              <a:ext uri="{FF2B5EF4-FFF2-40B4-BE49-F238E27FC236}">
                <a16:creationId xmlns:a16="http://schemas.microsoft.com/office/drawing/2014/main" id="{0B28E887-D1CE-4C2E-8A8A-5D8DA8A29B98}"/>
              </a:ext>
            </a:extLst>
          </p:cNvPr>
          <p:cNvSpPr>
            <a:spLocks noGrp="1"/>
          </p:cNvSpPr>
          <p:nvPr>
            <p:ph idx="1"/>
          </p:nvPr>
        </p:nvSpPr>
        <p:spPr/>
        <p:txBody>
          <a:bodyPr>
            <a:normAutofit fontScale="70000" lnSpcReduction="20000"/>
          </a:bodyPr>
          <a:lstStyle/>
          <a:p>
            <a:pPr marL="362822" indent="-362822">
              <a:lnSpc>
                <a:spcPct val="150000"/>
              </a:lnSpc>
            </a:pPr>
            <a:r>
              <a:rPr lang="nl-NL">
                <a:solidFill>
                  <a:schemeClr val="tx2"/>
                </a:solidFill>
              </a:rPr>
              <a:t>Belangen en belangenafweging (scheiding arbeid en kapitaal)</a:t>
            </a:r>
          </a:p>
          <a:p>
            <a:pPr marL="362822" indent="-362822">
              <a:lnSpc>
                <a:spcPct val="150000"/>
              </a:lnSpc>
            </a:pPr>
            <a:r>
              <a:rPr lang="nl-NL">
                <a:solidFill>
                  <a:schemeClr val="tx2"/>
                </a:solidFill>
              </a:rPr>
              <a:t>Macht en invloed (wie heeft het voor het zeggen?)</a:t>
            </a:r>
          </a:p>
          <a:p>
            <a:pPr marL="362822" indent="-362822">
              <a:lnSpc>
                <a:spcPct val="150000"/>
              </a:lnSpc>
            </a:pPr>
            <a:r>
              <a:rPr lang="nl-NL">
                <a:solidFill>
                  <a:schemeClr val="tx2"/>
                </a:solidFill>
              </a:rPr>
              <a:t>Verdelingsvraagstuk (wie krijgt welk deel van de koek?)</a:t>
            </a:r>
          </a:p>
          <a:p>
            <a:pPr marL="362822" indent="-362822">
              <a:lnSpc>
                <a:spcPct val="150000"/>
              </a:lnSpc>
            </a:pPr>
            <a:r>
              <a:rPr lang="nl-NL">
                <a:solidFill>
                  <a:schemeClr val="tx2"/>
                </a:solidFill>
              </a:rPr>
              <a:t>Welke doelen (strategie) worden nagestreefd? (doel bepaalt het gedrag)</a:t>
            </a:r>
          </a:p>
          <a:p>
            <a:pPr marL="362822" indent="-362822">
              <a:lnSpc>
                <a:spcPct val="150000"/>
              </a:lnSpc>
            </a:pPr>
            <a:r>
              <a:rPr lang="nl-NL">
                <a:solidFill>
                  <a:schemeClr val="tx2"/>
                </a:solidFill>
              </a:rPr>
              <a:t>Besluitvorming (waar wordt wat door wie besloten?)</a:t>
            </a:r>
          </a:p>
          <a:p>
            <a:pPr marL="362822" indent="-362822">
              <a:lnSpc>
                <a:spcPct val="150000"/>
              </a:lnSpc>
            </a:pPr>
            <a:r>
              <a:rPr lang="nl-NL">
                <a:solidFill>
                  <a:schemeClr val="tx2"/>
                </a:solidFill>
              </a:rPr>
              <a:t>Monitoring/toezicht van de uitvoering van de strategie</a:t>
            </a:r>
          </a:p>
          <a:p>
            <a:pPr marL="362822" indent="-362822">
              <a:lnSpc>
                <a:spcPct val="150000"/>
              </a:lnSpc>
            </a:pPr>
            <a:r>
              <a:rPr lang="nl-NL">
                <a:solidFill>
                  <a:schemeClr val="tx2"/>
                </a:solidFill>
              </a:rPr>
              <a:t>Verantwoording daarover afleggen (jaarverslag)</a:t>
            </a:r>
          </a:p>
          <a:p>
            <a:pPr marL="362822" indent="-362822">
              <a:lnSpc>
                <a:spcPct val="150000"/>
              </a:lnSpc>
            </a:pPr>
            <a:r>
              <a:rPr lang="nl-NL" b="1" i="1">
                <a:solidFill>
                  <a:schemeClr val="tx2"/>
                </a:solidFill>
              </a:rPr>
              <a:t>Plat geslagen: Goed/professioneel bestuur en het toezicht daarop</a:t>
            </a:r>
          </a:p>
          <a:p>
            <a:pPr marL="362822" indent="-362822">
              <a:lnSpc>
                <a:spcPct val="150000"/>
              </a:lnSpc>
            </a:pPr>
            <a:endParaRPr lang="nl-NL">
              <a:solidFill>
                <a:schemeClr val="tx2"/>
              </a:solidFill>
            </a:endParaRPr>
          </a:p>
          <a:p>
            <a:pPr marL="362822" indent="-362822">
              <a:lnSpc>
                <a:spcPct val="150000"/>
              </a:lnSpc>
            </a:pPr>
            <a:endParaRPr lang="nl-NL">
              <a:solidFill>
                <a:schemeClr val="tx2"/>
              </a:solidFill>
            </a:endParaRPr>
          </a:p>
          <a:p>
            <a:pPr marL="362822" indent="-362822">
              <a:lnSpc>
                <a:spcPct val="150000"/>
              </a:lnSpc>
            </a:pPr>
            <a:endParaRPr lang="nl-NL">
              <a:solidFill>
                <a:schemeClr val="tx2"/>
              </a:solidFill>
            </a:endParaRPr>
          </a:p>
          <a:p>
            <a:pPr marL="362822" indent="-362822">
              <a:lnSpc>
                <a:spcPct val="150000"/>
              </a:lnSpc>
            </a:pPr>
            <a:endParaRPr lang="nl-NL">
              <a:solidFill>
                <a:schemeClr val="tx2"/>
              </a:solidFill>
            </a:endParaRPr>
          </a:p>
        </p:txBody>
      </p:sp>
      <p:sp>
        <p:nvSpPr>
          <p:cNvPr id="4" name="Slide Number Placeholder 3">
            <a:extLst>
              <a:ext uri="{FF2B5EF4-FFF2-40B4-BE49-F238E27FC236}">
                <a16:creationId xmlns:a16="http://schemas.microsoft.com/office/drawing/2014/main" id="{74E09706-9FEF-458B-9950-A1DA1EF4EA50}"/>
              </a:ext>
            </a:extLst>
          </p:cNvPr>
          <p:cNvSpPr>
            <a:spLocks noGrp="1"/>
          </p:cNvSpPr>
          <p:nvPr>
            <p:ph type="sldNum" sz="quarter" idx="12"/>
          </p:nvPr>
        </p:nvSpPr>
        <p:spPr/>
        <p:txBody>
          <a:bodyPr/>
          <a:lstStyle/>
          <a:p>
            <a:pPr algn="ctr" defTabSz="967527">
              <a:defRPr/>
            </a:pPr>
            <a:fld id="{34A0F559-C120-4789-B420-3451E346105D}" type="slidenum">
              <a:rPr lang="en-US" sz="1058">
                <a:solidFill>
                  <a:srgbClr val="1F497D"/>
                </a:solidFill>
                <a:latin typeface="Arial"/>
              </a:rPr>
              <a:pPr algn="ctr" defTabSz="967527">
                <a:defRPr/>
              </a:pPr>
              <a:t>17</a:t>
            </a:fld>
            <a:endParaRPr lang="en-US" sz="1058">
              <a:solidFill>
                <a:srgbClr val="1F497D"/>
              </a:solidFill>
              <a:latin typeface="Arial"/>
            </a:endParaRPr>
          </a:p>
        </p:txBody>
      </p:sp>
    </p:spTree>
    <p:extLst>
      <p:ext uri="{BB962C8B-B14F-4D97-AF65-F5344CB8AC3E}">
        <p14:creationId xmlns:p14="http://schemas.microsoft.com/office/powerpoint/2010/main" val="342588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06593-4B75-42C7-98E2-61773CED06D9}"/>
              </a:ext>
            </a:extLst>
          </p:cNvPr>
          <p:cNvSpPr>
            <a:spLocks noGrp="1"/>
          </p:cNvSpPr>
          <p:nvPr>
            <p:ph type="title"/>
          </p:nvPr>
        </p:nvSpPr>
        <p:spPr>
          <a:xfrm>
            <a:off x="609601" y="457406"/>
            <a:ext cx="10478955" cy="777979"/>
          </a:xfrm>
        </p:spPr>
        <p:txBody>
          <a:bodyPr/>
          <a:lstStyle/>
          <a:p>
            <a:r>
              <a:rPr lang="nl-NL"/>
              <a:t>Enkele basisprincipes (in Nederland)</a:t>
            </a:r>
          </a:p>
        </p:txBody>
      </p:sp>
      <p:sp>
        <p:nvSpPr>
          <p:cNvPr id="3" name="Content Placeholder 2">
            <a:extLst>
              <a:ext uri="{FF2B5EF4-FFF2-40B4-BE49-F238E27FC236}">
                <a16:creationId xmlns:a16="http://schemas.microsoft.com/office/drawing/2014/main" id="{E91072E3-8498-416B-89F7-93E96D5BE2E2}"/>
              </a:ext>
            </a:extLst>
          </p:cNvPr>
          <p:cNvSpPr>
            <a:spLocks noGrp="1"/>
          </p:cNvSpPr>
          <p:nvPr>
            <p:ph idx="1"/>
          </p:nvPr>
        </p:nvSpPr>
        <p:spPr>
          <a:xfrm>
            <a:off x="623393" y="1143158"/>
            <a:ext cx="10465163" cy="4535809"/>
          </a:xfrm>
        </p:spPr>
        <p:txBody>
          <a:bodyPr>
            <a:normAutofit fontScale="62500" lnSpcReduction="20000"/>
          </a:bodyPr>
          <a:lstStyle/>
          <a:p>
            <a:pPr marL="362822" indent="-362822">
              <a:lnSpc>
                <a:spcPct val="150000"/>
              </a:lnSpc>
            </a:pPr>
            <a:r>
              <a:rPr lang="nl-NL">
                <a:solidFill>
                  <a:schemeClr val="tx2"/>
                </a:solidFill>
              </a:rPr>
              <a:t>Het bestuur bestuurt  (goed huisvader) en bepaalt de strategie</a:t>
            </a:r>
          </a:p>
          <a:p>
            <a:pPr marL="362822" indent="-362822">
              <a:lnSpc>
                <a:spcPct val="150000"/>
              </a:lnSpc>
            </a:pPr>
            <a:r>
              <a:rPr lang="nl-NL">
                <a:solidFill>
                  <a:schemeClr val="tx2"/>
                </a:solidFill>
              </a:rPr>
              <a:t>Continuïteit is uitgangspunt in de wet (lange termijn </a:t>
            </a:r>
            <a:r>
              <a:rPr lang="nl-NL" err="1">
                <a:solidFill>
                  <a:schemeClr val="tx2"/>
                </a:solidFill>
              </a:rPr>
              <a:t>waardecreatie</a:t>
            </a:r>
            <a:r>
              <a:rPr lang="nl-NL">
                <a:solidFill>
                  <a:schemeClr val="tx2"/>
                </a:solidFill>
              </a:rPr>
              <a:t>)</a:t>
            </a:r>
          </a:p>
          <a:p>
            <a:pPr marL="362822" indent="-362822">
              <a:lnSpc>
                <a:spcPct val="150000"/>
              </a:lnSpc>
            </a:pPr>
            <a:r>
              <a:rPr lang="nl-NL">
                <a:solidFill>
                  <a:schemeClr val="tx2"/>
                </a:solidFill>
              </a:rPr>
              <a:t>In het belang van de vennootschap…</a:t>
            </a:r>
          </a:p>
          <a:p>
            <a:pPr marL="362822" indent="-362822">
              <a:lnSpc>
                <a:spcPct val="150000"/>
              </a:lnSpc>
            </a:pPr>
            <a:r>
              <a:rPr lang="nl-NL">
                <a:solidFill>
                  <a:schemeClr val="tx2"/>
                </a:solidFill>
              </a:rPr>
              <a:t>De RvC ziet daarop toe (toezicht, advies, werkgever)</a:t>
            </a:r>
          </a:p>
          <a:p>
            <a:pPr marL="362822" indent="-362822">
              <a:lnSpc>
                <a:spcPct val="150000"/>
              </a:lnSpc>
            </a:pPr>
            <a:r>
              <a:rPr lang="nl-NL">
                <a:solidFill>
                  <a:schemeClr val="tx2"/>
                </a:solidFill>
              </a:rPr>
              <a:t>De aandeelhouder is niet de eigenaar van de onderneming….</a:t>
            </a:r>
          </a:p>
          <a:p>
            <a:pPr marL="362822" indent="-362822">
              <a:lnSpc>
                <a:spcPct val="150000"/>
              </a:lnSpc>
            </a:pPr>
            <a:r>
              <a:rPr lang="nl-NL">
                <a:solidFill>
                  <a:schemeClr val="tx2"/>
                </a:solidFill>
              </a:rPr>
              <a:t>Betrokkenheid (engagement) van aandeelhouder helpt (is dat zo?)</a:t>
            </a:r>
          </a:p>
          <a:p>
            <a:pPr marL="362822" indent="-362822">
              <a:lnSpc>
                <a:spcPct val="150000"/>
              </a:lnSpc>
            </a:pPr>
            <a:r>
              <a:rPr lang="nl-NL">
                <a:solidFill>
                  <a:schemeClr val="tx2"/>
                </a:solidFill>
              </a:rPr>
              <a:t>De onderneming is een ding in zichzelf (kan contracten afsluiten)</a:t>
            </a:r>
          </a:p>
          <a:p>
            <a:pPr marL="362822" indent="-362822">
              <a:lnSpc>
                <a:spcPct val="150000"/>
              </a:lnSpc>
            </a:pPr>
            <a:r>
              <a:rPr lang="nl-NL">
                <a:solidFill>
                  <a:schemeClr val="tx2"/>
                </a:solidFill>
              </a:rPr>
              <a:t>Aansprakelijkheid: naar redelijkheid en billijkheid </a:t>
            </a:r>
          </a:p>
          <a:p>
            <a:pPr marL="362822" indent="-362822">
              <a:lnSpc>
                <a:spcPct val="150000"/>
              </a:lnSpc>
            </a:pPr>
            <a:r>
              <a:rPr lang="nl-NL">
                <a:solidFill>
                  <a:schemeClr val="tx2"/>
                </a:solidFill>
              </a:rPr>
              <a:t>Evenwichtige belangenafweging (stakeholderperspectief)</a:t>
            </a:r>
          </a:p>
          <a:p>
            <a:pPr marL="362822" indent="-362822">
              <a:lnSpc>
                <a:spcPct val="150000"/>
              </a:lnSpc>
            </a:pPr>
            <a:endParaRPr lang="nl-NL">
              <a:solidFill>
                <a:schemeClr val="tx2"/>
              </a:solidFill>
            </a:endParaRPr>
          </a:p>
          <a:p>
            <a:pPr marL="362822" indent="-362822">
              <a:lnSpc>
                <a:spcPct val="150000"/>
              </a:lnSpc>
            </a:pPr>
            <a:endParaRPr lang="nl-NL">
              <a:solidFill>
                <a:schemeClr val="tx2"/>
              </a:solidFill>
            </a:endParaRPr>
          </a:p>
        </p:txBody>
      </p:sp>
      <p:sp>
        <p:nvSpPr>
          <p:cNvPr id="4" name="Slide Number Placeholder 3">
            <a:extLst>
              <a:ext uri="{FF2B5EF4-FFF2-40B4-BE49-F238E27FC236}">
                <a16:creationId xmlns:a16="http://schemas.microsoft.com/office/drawing/2014/main" id="{7945AD05-45A7-45EE-A0E5-125EC1731D4E}"/>
              </a:ext>
            </a:extLst>
          </p:cNvPr>
          <p:cNvSpPr>
            <a:spLocks noGrp="1"/>
          </p:cNvSpPr>
          <p:nvPr>
            <p:ph type="sldNum" sz="quarter" idx="12"/>
          </p:nvPr>
        </p:nvSpPr>
        <p:spPr/>
        <p:txBody>
          <a:bodyPr/>
          <a:lstStyle/>
          <a:p>
            <a:pPr algn="ctr" defTabSz="967527">
              <a:defRPr/>
            </a:pPr>
            <a:fld id="{34A0F559-C120-4789-B420-3451E346105D}" type="slidenum">
              <a:rPr lang="en-US" sz="1058">
                <a:solidFill>
                  <a:srgbClr val="1F497D"/>
                </a:solidFill>
                <a:latin typeface="Arial"/>
              </a:rPr>
              <a:pPr algn="ctr" defTabSz="967527">
                <a:defRPr/>
              </a:pPr>
              <a:t>18</a:t>
            </a:fld>
            <a:endParaRPr lang="en-US" sz="1058">
              <a:solidFill>
                <a:srgbClr val="1F497D"/>
              </a:solidFill>
              <a:latin typeface="Arial"/>
            </a:endParaRPr>
          </a:p>
        </p:txBody>
      </p:sp>
    </p:spTree>
    <p:extLst>
      <p:ext uri="{BB962C8B-B14F-4D97-AF65-F5344CB8AC3E}">
        <p14:creationId xmlns:p14="http://schemas.microsoft.com/office/powerpoint/2010/main" val="226083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6BDAF-9280-890E-415A-5473410AE832}"/>
              </a:ext>
            </a:extLst>
          </p:cNvPr>
          <p:cNvSpPr>
            <a:spLocks noGrp="1"/>
          </p:cNvSpPr>
          <p:nvPr>
            <p:ph type="title"/>
          </p:nvPr>
        </p:nvSpPr>
        <p:spPr/>
        <p:txBody>
          <a:bodyPr/>
          <a:lstStyle/>
          <a:p>
            <a:r>
              <a:rPr lang="nl-NL"/>
              <a:t>Twee basismodellen</a:t>
            </a:r>
          </a:p>
        </p:txBody>
      </p:sp>
      <p:sp>
        <p:nvSpPr>
          <p:cNvPr id="3" name="Tijdelijke aanduiding voor inhoud 2">
            <a:extLst>
              <a:ext uri="{FF2B5EF4-FFF2-40B4-BE49-F238E27FC236}">
                <a16:creationId xmlns:a16="http://schemas.microsoft.com/office/drawing/2014/main" id="{3F260A86-CFD4-234C-51A7-C0C55AB6FCC4}"/>
              </a:ext>
            </a:extLst>
          </p:cNvPr>
          <p:cNvSpPr>
            <a:spLocks noGrp="1"/>
          </p:cNvSpPr>
          <p:nvPr>
            <p:ph idx="1"/>
          </p:nvPr>
        </p:nvSpPr>
        <p:spPr/>
        <p:txBody>
          <a:bodyPr>
            <a:normAutofit fontScale="85000" lnSpcReduction="10000"/>
          </a:bodyPr>
          <a:lstStyle/>
          <a:p>
            <a:pPr marL="362822" indent="-362822">
              <a:lnSpc>
                <a:spcPct val="200000"/>
              </a:lnSpc>
            </a:pPr>
            <a:r>
              <a:rPr lang="nl-NL" err="1">
                <a:solidFill>
                  <a:schemeClr val="tx2"/>
                </a:solidFill>
              </a:rPr>
              <a:t>One</a:t>
            </a:r>
            <a:r>
              <a:rPr lang="nl-NL">
                <a:solidFill>
                  <a:schemeClr val="tx2"/>
                </a:solidFill>
              </a:rPr>
              <a:t> tier model (inmiddels mijn voorkeursmodel)</a:t>
            </a:r>
          </a:p>
          <a:p>
            <a:pPr marL="1330349" lvl="1" indent="-362822">
              <a:lnSpc>
                <a:spcPct val="200000"/>
              </a:lnSpc>
            </a:pPr>
            <a:r>
              <a:rPr lang="nl-NL">
                <a:solidFill>
                  <a:schemeClr val="tx2"/>
                </a:solidFill>
              </a:rPr>
              <a:t>Bestuur en toezicht zitten gezamenlijk rond de tafel</a:t>
            </a:r>
          </a:p>
          <a:p>
            <a:pPr marL="362822" indent="-362822">
              <a:lnSpc>
                <a:spcPct val="200000"/>
              </a:lnSpc>
            </a:pPr>
            <a:r>
              <a:rPr lang="nl-NL" err="1">
                <a:solidFill>
                  <a:schemeClr val="tx2"/>
                </a:solidFill>
              </a:rPr>
              <a:t>Two</a:t>
            </a:r>
            <a:r>
              <a:rPr lang="nl-NL">
                <a:solidFill>
                  <a:schemeClr val="tx2"/>
                </a:solidFill>
              </a:rPr>
              <a:t> tier model (dominante model in Nederland)</a:t>
            </a:r>
          </a:p>
          <a:p>
            <a:pPr marL="1330349" lvl="1" indent="-362822">
              <a:lnSpc>
                <a:spcPct val="200000"/>
              </a:lnSpc>
            </a:pPr>
            <a:r>
              <a:rPr lang="nl-NL">
                <a:solidFill>
                  <a:schemeClr val="tx2"/>
                </a:solidFill>
              </a:rPr>
              <a:t>Bestuur en toezicht zijn gescheiden</a:t>
            </a:r>
          </a:p>
          <a:p>
            <a:pPr marL="362822" indent="-362822">
              <a:lnSpc>
                <a:spcPct val="200000"/>
              </a:lnSpc>
            </a:pPr>
            <a:r>
              <a:rPr lang="nl-NL" i="1" err="1">
                <a:solidFill>
                  <a:schemeClr val="tx2"/>
                </a:solidFill>
              </a:rPr>
              <a:t>One</a:t>
            </a:r>
            <a:r>
              <a:rPr lang="nl-NL" i="1">
                <a:solidFill>
                  <a:schemeClr val="tx2"/>
                </a:solidFill>
              </a:rPr>
              <a:t> </a:t>
            </a:r>
            <a:r>
              <a:rPr lang="nl-NL" i="1" err="1">
                <a:solidFill>
                  <a:schemeClr val="tx2"/>
                </a:solidFill>
              </a:rPr>
              <a:t>and</a:t>
            </a:r>
            <a:r>
              <a:rPr lang="nl-NL" i="1">
                <a:solidFill>
                  <a:schemeClr val="tx2"/>
                </a:solidFill>
              </a:rPr>
              <a:t> a half tier…. (steeds vaker de praktijk)</a:t>
            </a:r>
          </a:p>
          <a:p>
            <a:pPr marL="1330349" lvl="1" indent="-362822">
              <a:lnSpc>
                <a:spcPct val="200000"/>
              </a:lnSpc>
            </a:pPr>
            <a:r>
              <a:rPr lang="nl-NL" i="1">
                <a:solidFill>
                  <a:schemeClr val="tx2"/>
                </a:solidFill>
              </a:rPr>
              <a:t>Bestuur en toezicht gescheiden maar……</a:t>
            </a:r>
          </a:p>
        </p:txBody>
      </p:sp>
      <p:sp>
        <p:nvSpPr>
          <p:cNvPr id="4" name="AutoShape 2" descr="150 lege stoelen in het centrum van Tilburg, een voor elke verkeersdode uit  2018 - Omroep Brabant">
            <a:extLst>
              <a:ext uri="{FF2B5EF4-FFF2-40B4-BE49-F238E27FC236}">
                <a16:creationId xmlns:a16="http://schemas.microsoft.com/office/drawing/2014/main" id="{D62E5953-D865-A41F-EFF7-1DCCF6888A98}"/>
              </a:ext>
            </a:extLst>
          </p:cNvPr>
          <p:cNvSpPr>
            <a:spLocks noChangeAspect="1" noChangeArrowheads="1"/>
          </p:cNvSpPr>
          <p:nvPr/>
        </p:nvSpPr>
        <p:spPr bwMode="auto">
          <a:xfrm>
            <a:off x="5934740" y="3267740"/>
            <a:ext cx="322522" cy="3225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6757" tIns="48378" rIns="96757" bIns="48378" numCol="1" anchor="t" anchorCtr="0" compatLnSpc="1">
            <a:prstTxWarp prst="textNoShape">
              <a:avLst/>
            </a:prstTxWarp>
          </a:bodyPr>
          <a:lstStyle/>
          <a:p>
            <a:endParaRPr lang="nl-NL" sz="1905"/>
          </a:p>
        </p:txBody>
      </p:sp>
      <p:sp>
        <p:nvSpPr>
          <p:cNvPr id="6" name="AutoShape 4" descr="150 lege stoelen in het centrum van Tilburg, een voor elke verkeersdode uit  2018 - Omroep Brabant">
            <a:extLst>
              <a:ext uri="{FF2B5EF4-FFF2-40B4-BE49-F238E27FC236}">
                <a16:creationId xmlns:a16="http://schemas.microsoft.com/office/drawing/2014/main" id="{99F9428A-2B51-8125-15E3-8C10D4484DCD}"/>
              </a:ext>
            </a:extLst>
          </p:cNvPr>
          <p:cNvSpPr>
            <a:spLocks noChangeAspect="1" noChangeArrowheads="1"/>
          </p:cNvSpPr>
          <p:nvPr/>
        </p:nvSpPr>
        <p:spPr bwMode="auto">
          <a:xfrm>
            <a:off x="6096001" y="3429001"/>
            <a:ext cx="322522" cy="3225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6757" tIns="48378" rIns="96757" bIns="48378" numCol="1" anchor="t" anchorCtr="0" compatLnSpc="1">
            <a:prstTxWarp prst="textNoShape">
              <a:avLst/>
            </a:prstTxWarp>
          </a:bodyPr>
          <a:lstStyle/>
          <a:p>
            <a:endParaRPr lang="nl-NL" sz="1905"/>
          </a:p>
        </p:txBody>
      </p:sp>
      <p:pic>
        <p:nvPicPr>
          <p:cNvPr id="8" name="Afbeelding 7">
            <a:extLst>
              <a:ext uri="{FF2B5EF4-FFF2-40B4-BE49-F238E27FC236}">
                <a16:creationId xmlns:a16="http://schemas.microsoft.com/office/drawing/2014/main" id="{4707CA4E-2C41-8234-42C4-81D749E4ADC0}"/>
              </a:ext>
            </a:extLst>
          </p:cNvPr>
          <p:cNvPicPr>
            <a:picLocks noChangeAspect="1"/>
          </p:cNvPicPr>
          <p:nvPr/>
        </p:nvPicPr>
        <p:blipFill>
          <a:blip r:embed="rId2"/>
          <a:stretch>
            <a:fillRect/>
          </a:stretch>
        </p:blipFill>
        <p:spPr>
          <a:xfrm>
            <a:off x="7882344" y="3886169"/>
            <a:ext cx="3849705" cy="2165459"/>
          </a:xfrm>
          <a:prstGeom prst="rect">
            <a:avLst/>
          </a:prstGeom>
        </p:spPr>
      </p:pic>
    </p:spTree>
    <p:extLst>
      <p:ext uri="{BB962C8B-B14F-4D97-AF65-F5344CB8AC3E}">
        <p14:creationId xmlns:p14="http://schemas.microsoft.com/office/powerpoint/2010/main" val="106300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Tijdelijke aanduiding voor inhoud 5" descr="Afbeelding met kleding, Menselijk gezicht, person, persoon&#10;&#10;Automatisch gegenereerde beschrijving">
            <a:extLst>
              <a:ext uri="{FF2B5EF4-FFF2-40B4-BE49-F238E27FC236}">
                <a16:creationId xmlns:a16="http://schemas.microsoft.com/office/drawing/2014/main" id="{A3854892-5A2D-8EDC-71D5-6F23257F5F31}"/>
              </a:ext>
            </a:extLst>
          </p:cNvPr>
          <p:cNvPicPr>
            <a:picLocks noChangeAspect="1"/>
          </p:cNvPicPr>
          <p:nvPr/>
        </p:nvPicPr>
        <p:blipFill rotWithShape="1">
          <a:blip r:embed="rId2">
            <a:extLst>
              <a:ext uri="{28A0092B-C50C-407E-A947-70E740481C1C}">
                <a14:useLocalDpi xmlns:a14="http://schemas.microsoft.com/office/drawing/2010/main" val="0"/>
              </a:ext>
            </a:extLst>
          </a:blip>
          <a:srcRect l="496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14" name="Titel 1">
            <a:extLst>
              <a:ext uri="{FF2B5EF4-FFF2-40B4-BE49-F238E27FC236}">
                <a16:creationId xmlns:a16="http://schemas.microsoft.com/office/drawing/2014/main" id="{4CADA1CF-0EB9-3646-08B8-4E2443539CD6}"/>
              </a:ext>
            </a:extLst>
          </p:cNvPr>
          <p:cNvSpPr>
            <a:spLocks noGrp="1"/>
          </p:cNvSpPr>
          <p:nvPr>
            <p:ph type="title"/>
          </p:nvPr>
        </p:nvSpPr>
        <p:spPr>
          <a:xfrm>
            <a:off x="664786" y="325369"/>
            <a:ext cx="4820146" cy="1956841"/>
          </a:xfrm>
        </p:spPr>
        <p:txBody>
          <a:bodyPr anchor="b">
            <a:normAutofit/>
          </a:bodyPr>
          <a:lstStyle/>
          <a:p>
            <a:r>
              <a:rPr lang="nl-NL" sz="4600" b="1">
                <a:latin typeface="Arial" panose="020B0604020202020204" pitchFamily="34" charset="0"/>
                <a:cs typeface="Arial" panose="020B0604020202020204" pitchFamily="34" charset="0"/>
              </a:rPr>
              <a:t>WELKOM</a:t>
            </a:r>
          </a:p>
        </p:txBody>
      </p:sp>
    </p:spTree>
    <p:extLst>
      <p:ext uri="{BB962C8B-B14F-4D97-AF65-F5344CB8AC3E}">
        <p14:creationId xmlns:p14="http://schemas.microsoft.com/office/powerpoint/2010/main" val="1520690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EE0769-E8B3-3A41-F839-B33BBD820599}"/>
              </a:ext>
            </a:extLst>
          </p:cNvPr>
          <p:cNvSpPr>
            <a:spLocks noGrp="1"/>
          </p:cNvSpPr>
          <p:nvPr>
            <p:ph type="title"/>
          </p:nvPr>
        </p:nvSpPr>
        <p:spPr/>
        <p:txBody>
          <a:bodyPr/>
          <a:lstStyle/>
          <a:p>
            <a:r>
              <a:rPr lang="nl-NL"/>
              <a:t>Rechtsvormen met rechtspersoonlijkheid</a:t>
            </a:r>
          </a:p>
        </p:txBody>
      </p:sp>
      <p:sp>
        <p:nvSpPr>
          <p:cNvPr id="3" name="Tijdelijke aanduiding voor inhoud 2">
            <a:extLst>
              <a:ext uri="{FF2B5EF4-FFF2-40B4-BE49-F238E27FC236}">
                <a16:creationId xmlns:a16="http://schemas.microsoft.com/office/drawing/2014/main" id="{68750426-A578-07DF-1EEB-C54F4125C663}"/>
              </a:ext>
            </a:extLst>
          </p:cNvPr>
          <p:cNvSpPr>
            <a:spLocks noGrp="1"/>
          </p:cNvSpPr>
          <p:nvPr>
            <p:ph idx="1"/>
          </p:nvPr>
        </p:nvSpPr>
        <p:spPr/>
        <p:txBody>
          <a:bodyPr>
            <a:normAutofit fontScale="70000" lnSpcReduction="20000"/>
          </a:bodyPr>
          <a:lstStyle/>
          <a:p>
            <a:pPr marL="362822" indent="-362822">
              <a:lnSpc>
                <a:spcPct val="150000"/>
              </a:lnSpc>
            </a:pPr>
            <a:r>
              <a:rPr lang="nl-NL">
                <a:solidFill>
                  <a:schemeClr val="tx2"/>
                </a:solidFill>
              </a:rPr>
              <a:t>NV</a:t>
            </a:r>
          </a:p>
          <a:p>
            <a:pPr marL="362822" indent="-362822">
              <a:lnSpc>
                <a:spcPct val="150000"/>
              </a:lnSpc>
            </a:pPr>
            <a:r>
              <a:rPr lang="nl-NL">
                <a:solidFill>
                  <a:schemeClr val="tx2"/>
                </a:solidFill>
              </a:rPr>
              <a:t>BV</a:t>
            </a:r>
          </a:p>
          <a:p>
            <a:pPr marL="362822" indent="-362822">
              <a:lnSpc>
                <a:spcPct val="150000"/>
              </a:lnSpc>
            </a:pPr>
            <a:r>
              <a:rPr lang="nl-NL">
                <a:solidFill>
                  <a:schemeClr val="tx2"/>
                </a:solidFill>
              </a:rPr>
              <a:t>Stichting</a:t>
            </a:r>
          </a:p>
          <a:p>
            <a:pPr marL="362822" indent="-362822">
              <a:lnSpc>
                <a:spcPct val="150000"/>
              </a:lnSpc>
            </a:pPr>
            <a:r>
              <a:rPr lang="nl-NL">
                <a:solidFill>
                  <a:schemeClr val="tx2"/>
                </a:solidFill>
              </a:rPr>
              <a:t>Vereniging</a:t>
            </a:r>
          </a:p>
          <a:p>
            <a:pPr marL="362822" indent="-362822">
              <a:lnSpc>
                <a:spcPct val="150000"/>
              </a:lnSpc>
            </a:pPr>
            <a:r>
              <a:rPr lang="nl-NL">
                <a:solidFill>
                  <a:schemeClr val="tx2"/>
                </a:solidFill>
              </a:rPr>
              <a:t>Coöperatie/onderlinge waarborgmaatschappij</a:t>
            </a:r>
          </a:p>
          <a:p>
            <a:pPr marL="362822" indent="-362822">
              <a:lnSpc>
                <a:spcPct val="150000"/>
              </a:lnSpc>
            </a:pPr>
            <a:r>
              <a:rPr lang="nl-NL">
                <a:solidFill>
                  <a:schemeClr val="tx2"/>
                </a:solidFill>
              </a:rPr>
              <a:t>Kerkgenootschap</a:t>
            </a:r>
          </a:p>
          <a:p>
            <a:pPr marL="362822" indent="-362822">
              <a:lnSpc>
                <a:spcPct val="150000"/>
              </a:lnSpc>
            </a:pPr>
            <a:endParaRPr lang="nl-NL">
              <a:solidFill>
                <a:schemeClr val="tx2"/>
              </a:solidFill>
            </a:endParaRPr>
          </a:p>
          <a:p>
            <a:pPr marL="362822" indent="-362822">
              <a:lnSpc>
                <a:spcPct val="150000"/>
              </a:lnSpc>
            </a:pPr>
            <a:r>
              <a:rPr lang="nl-NL" b="1">
                <a:solidFill>
                  <a:schemeClr val="tx2"/>
                </a:solidFill>
              </a:rPr>
              <a:t>Allemaal gelijk volgens de Wet Bestuur en Toezicht Rechtspersonen</a:t>
            </a:r>
          </a:p>
          <a:p>
            <a:pPr marL="362822" indent="-362822">
              <a:lnSpc>
                <a:spcPct val="150000"/>
              </a:lnSpc>
            </a:pPr>
            <a:endParaRPr lang="nl-NL">
              <a:solidFill>
                <a:schemeClr val="tx2"/>
              </a:solidFill>
            </a:endParaRPr>
          </a:p>
        </p:txBody>
      </p:sp>
      <p:pic>
        <p:nvPicPr>
          <p:cNvPr id="4" name="Afbeelding 3">
            <a:extLst>
              <a:ext uri="{FF2B5EF4-FFF2-40B4-BE49-F238E27FC236}">
                <a16:creationId xmlns:a16="http://schemas.microsoft.com/office/drawing/2014/main" id="{DDBDE6C3-10E3-98B5-6A54-77D1193C0495}"/>
              </a:ext>
            </a:extLst>
          </p:cNvPr>
          <p:cNvPicPr>
            <a:picLocks noChangeAspect="1"/>
          </p:cNvPicPr>
          <p:nvPr/>
        </p:nvPicPr>
        <p:blipFill>
          <a:blip r:embed="rId2"/>
          <a:stretch>
            <a:fillRect/>
          </a:stretch>
        </p:blipFill>
        <p:spPr>
          <a:xfrm>
            <a:off x="8015128" y="2077167"/>
            <a:ext cx="4176872" cy="2703667"/>
          </a:xfrm>
          <a:prstGeom prst="rect">
            <a:avLst/>
          </a:prstGeom>
        </p:spPr>
      </p:pic>
    </p:spTree>
    <p:extLst>
      <p:ext uri="{BB962C8B-B14F-4D97-AF65-F5344CB8AC3E}">
        <p14:creationId xmlns:p14="http://schemas.microsoft.com/office/powerpoint/2010/main" val="213268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686174" y="487343"/>
            <a:ext cx="10496551" cy="777979"/>
          </a:xfrm>
        </p:spPr>
        <p:txBody>
          <a:bodyPr/>
          <a:lstStyle/>
          <a:p>
            <a:pPr eaLnBrk="1" hangingPunct="1">
              <a:defRPr/>
            </a:pPr>
            <a:r>
              <a:rPr lang="nl-NL">
                <a:ea typeface="ＭＳ Ｐゴシック" charset="0"/>
                <a:cs typeface="+mj-cs"/>
              </a:rPr>
              <a:t>Gewone vennootschap:</a:t>
            </a:r>
            <a:endParaRPr lang="en-US">
              <a:ea typeface="ＭＳ Ｐゴシック" charset="0"/>
              <a:cs typeface="+mj-cs"/>
            </a:endParaRPr>
          </a:p>
        </p:txBody>
      </p:sp>
      <p:sp>
        <p:nvSpPr>
          <p:cNvPr id="5123" name="Rectangle 3"/>
          <p:cNvSpPr>
            <a:spLocks noGrp="1" noChangeArrowheads="1"/>
          </p:cNvSpPr>
          <p:nvPr>
            <p:ph type="body" idx="1"/>
          </p:nvPr>
        </p:nvSpPr>
        <p:spPr>
          <a:xfrm>
            <a:off x="653459" y="1447937"/>
            <a:ext cx="11915668" cy="3581153"/>
          </a:xfrm>
        </p:spPr>
        <p:txBody>
          <a:bodyPr>
            <a:normAutofit fontScale="85000" lnSpcReduction="20000"/>
          </a:bodyPr>
          <a:lstStyle/>
          <a:p>
            <a:pPr marL="362822" indent="-362822">
              <a:lnSpc>
                <a:spcPct val="150000"/>
              </a:lnSpc>
              <a:defRPr/>
            </a:pPr>
            <a:r>
              <a:rPr lang="nl-NL" sz="2116">
                <a:solidFill>
                  <a:schemeClr val="tx2"/>
                </a:solidFill>
                <a:ea typeface="ＭＳ Ｐゴシック" charset="0"/>
              </a:rPr>
              <a:t>Een RvC is bij een N.V. verplicht maar niet bij een B.V., tenzij statutair bepaald</a:t>
            </a:r>
          </a:p>
          <a:p>
            <a:pPr marL="362822" indent="-362822">
              <a:lnSpc>
                <a:spcPct val="150000"/>
              </a:lnSpc>
              <a:defRPr/>
            </a:pPr>
            <a:r>
              <a:rPr lang="nl-NL" sz="2116" err="1">
                <a:solidFill>
                  <a:schemeClr val="tx2"/>
                </a:solidFill>
                <a:ea typeface="ＭＳ Ｐゴシック" charset="0"/>
              </a:rPr>
              <a:t>AvA</a:t>
            </a:r>
            <a:r>
              <a:rPr lang="nl-NL" sz="2116">
                <a:solidFill>
                  <a:schemeClr val="tx2"/>
                </a:solidFill>
                <a:ea typeface="ＭＳ Ｐゴシック" charset="0"/>
              </a:rPr>
              <a:t> benoemt/ontslaat RvC</a:t>
            </a:r>
          </a:p>
          <a:p>
            <a:pPr marL="362822" indent="-362822">
              <a:lnSpc>
                <a:spcPct val="150000"/>
              </a:lnSpc>
              <a:defRPr/>
            </a:pPr>
            <a:r>
              <a:rPr lang="nl-NL" sz="2116">
                <a:solidFill>
                  <a:schemeClr val="tx2"/>
                </a:solidFill>
                <a:ea typeface="ＭＳ Ｐゴシック" charset="0"/>
              </a:rPr>
              <a:t>Bevoegdheden RvC</a:t>
            </a:r>
          </a:p>
          <a:p>
            <a:pPr eaLnBrk="1" hangingPunct="1">
              <a:lnSpc>
                <a:spcPct val="150000"/>
              </a:lnSpc>
              <a:defRPr/>
            </a:pPr>
            <a:r>
              <a:rPr lang="nl-NL" sz="2116">
                <a:solidFill>
                  <a:schemeClr val="tx2"/>
                </a:solidFill>
                <a:ea typeface="ＭＳ Ｐゴシック" charset="0"/>
              </a:rPr>
              <a:t> 	- </a:t>
            </a:r>
            <a:r>
              <a:rPr lang="nl-NL" sz="1693">
                <a:solidFill>
                  <a:schemeClr val="tx2"/>
                </a:solidFill>
                <a:ea typeface="ＭＳ Ｐゴシック" charset="0"/>
              </a:rPr>
              <a:t>Zie statuten (bijvoorbeeld specifieke besluiten)</a:t>
            </a:r>
          </a:p>
          <a:p>
            <a:pPr eaLnBrk="1" hangingPunct="1">
              <a:lnSpc>
                <a:spcPct val="150000"/>
              </a:lnSpc>
              <a:defRPr/>
            </a:pPr>
            <a:r>
              <a:rPr lang="nl-NL" sz="1693">
                <a:solidFill>
                  <a:schemeClr val="tx2"/>
                </a:solidFill>
                <a:ea typeface="ＭＳ Ｐゴシック" charset="0"/>
              </a:rPr>
              <a:t> 	- Waarneming directie</a:t>
            </a:r>
          </a:p>
          <a:p>
            <a:pPr eaLnBrk="1" hangingPunct="1">
              <a:lnSpc>
                <a:spcPct val="150000"/>
              </a:lnSpc>
              <a:defRPr/>
            </a:pPr>
            <a:r>
              <a:rPr lang="nl-NL" sz="1693">
                <a:solidFill>
                  <a:schemeClr val="tx2"/>
                </a:solidFill>
                <a:ea typeface="ＭＳ Ｐゴシック" charset="0"/>
              </a:rPr>
              <a:t> 	- Schorsen directie tenzij in statuten de  </a:t>
            </a:r>
            <a:r>
              <a:rPr lang="nl-NL" sz="1693" err="1">
                <a:solidFill>
                  <a:schemeClr val="tx2"/>
                </a:solidFill>
                <a:ea typeface="ＭＳ Ｐゴシック" charset="0"/>
              </a:rPr>
              <a:t>AvA</a:t>
            </a:r>
            <a:r>
              <a:rPr lang="nl-NL" sz="1693">
                <a:solidFill>
                  <a:schemeClr val="tx2"/>
                </a:solidFill>
                <a:ea typeface="ＭＳ Ｐゴシック" charset="0"/>
              </a:rPr>
              <a:t> is aangewezen</a:t>
            </a:r>
          </a:p>
          <a:p>
            <a:pPr eaLnBrk="1" hangingPunct="1">
              <a:lnSpc>
                <a:spcPct val="150000"/>
              </a:lnSpc>
              <a:defRPr/>
            </a:pPr>
            <a:r>
              <a:rPr lang="nl-NL" sz="1693">
                <a:solidFill>
                  <a:schemeClr val="tx2"/>
                </a:solidFill>
                <a:ea typeface="ＭＳ Ｐゴシック" charset="0"/>
              </a:rPr>
              <a:t>	- Vertegenwoordigen bij tegenstrijdige belangen</a:t>
            </a:r>
          </a:p>
          <a:p>
            <a:pPr marL="362822" indent="-362822">
              <a:lnSpc>
                <a:spcPct val="150000"/>
              </a:lnSpc>
              <a:defRPr/>
            </a:pPr>
            <a:r>
              <a:rPr lang="nl-NL" sz="2116">
                <a:solidFill>
                  <a:schemeClr val="tx2"/>
                </a:solidFill>
                <a:ea typeface="ＭＳ Ｐゴシック" charset="0"/>
              </a:rPr>
              <a:t>Vele </a:t>
            </a:r>
            <a:r>
              <a:rPr lang="nl-NL" sz="2116" err="1">
                <a:solidFill>
                  <a:schemeClr val="tx2"/>
                </a:solidFill>
                <a:ea typeface="ＭＳ Ｐゴシック" charset="0"/>
              </a:rPr>
              <a:t>RvT’s</a:t>
            </a:r>
            <a:r>
              <a:rPr lang="nl-NL" sz="2116">
                <a:solidFill>
                  <a:schemeClr val="tx2"/>
                </a:solidFill>
                <a:ea typeface="ＭＳ Ｐゴシック" charset="0"/>
              </a:rPr>
              <a:t> of </a:t>
            </a:r>
            <a:r>
              <a:rPr lang="nl-NL" sz="2116" err="1">
                <a:solidFill>
                  <a:schemeClr val="tx2"/>
                </a:solidFill>
                <a:ea typeface="ＭＳ Ｐゴシック" charset="0"/>
              </a:rPr>
              <a:t>RvA’s</a:t>
            </a:r>
            <a:r>
              <a:rPr lang="nl-NL" sz="2116">
                <a:solidFill>
                  <a:schemeClr val="tx2"/>
                </a:solidFill>
                <a:ea typeface="ＭＳ Ｐゴシック" charset="0"/>
              </a:rPr>
              <a:t> functioneren (deels) als RvC (zie statuten)</a:t>
            </a:r>
            <a:endParaRPr lang="en-US" sz="2116">
              <a:solidFill>
                <a:schemeClr val="tx2"/>
              </a:solidFill>
              <a:ea typeface="ＭＳ Ｐゴシック" charset="0"/>
            </a:endParaRPr>
          </a:p>
        </p:txBody>
      </p:sp>
      <p:sp>
        <p:nvSpPr>
          <p:cNvPr id="2" name="Tijdelijke aanduiding voor dianummer 1"/>
          <p:cNvSpPr>
            <a:spLocks noGrp="1"/>
          </p:cNvSpPr>
          <p:nvPr>
            <p:ph type="sldNum" sz="quarter" idx="12"/>
          </p:nvPr>
        </p:nvSpPr>
        <p:spPr/>
        <p:txBody>
          <a:bodyPr/>
          <a:lstStyle/>
          <a:p>
            <a:pPr algn="ctr" defTabSz="967527">
              <a:defRPr/>
            </a:pPr>
            <a:fld id="{34A0F559-C120-4789-B420-3451E346105D}" type="slidenum">
              <a:rPr lang="en-US" sz="1058">
                <a:solidFill>
                  <a:srgbClr val="1F497D"/>
                </a:solidFill>
                <a:latin typeface="Arial"/>
              </a:rPr>
              <a:pPr algn="ctr" defTabSz="967527">
                <a:defRPr/>
              </a:pPr>
              <a:t>21</a:t>
            </a:fld>
            <a:endParaRPr lang="en-US" sz="1058">
              <a:solidFill>
                <a:srgbClr val="1F497D"/>
              </a:solidFill>
              <a:latin typeface="Arial"/>
            </a:endParaRPr>
          </a:p>
        </p:txBody>
      </p:sp>
    </p:spTree>
    <p:extLst>
      <p:ext uri="{BB962C8B-B14F-4D97-AF65-F5344CB8AC3E}">
        <p14:creationId xmlns:p14="http://schemas.microsoft.com/office/powerpoint/2010/main" val="303444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52810" y="76432"/>
            <a:ext cx="8228340" cy="1066636"/>
          </a:xfrm>
        </p:spPr>
        <p:txBody>
          <a:bodyPr/>
          <a:lstStyle/>
          <a:p>
            <a:pPr eaLnBrk="1" hangingPunct="1">
              <a:defRPr/>
            </a:pPr>
            <a:r>
              <a:rPr lang="nl-NL">
                <a:ea typeface="ＭＳ Ｐゴシック" charset="0"/>
                <a:cs typeface="+mj-cs"/>
              </a:rPr>
              <a:t>Vergelijking vennootschappen:</a:t>
            </a:r>
            <a:endParaRPr lang="en-US">
              <a:ea typeface="ＭＳ Ｐゴシック" charset="0"/>
              <a:cs typeface="+mj-cs"/>
            </a:endParaRPr>
          </a:p>
        </p:txBody>
      </p:sp>
      <p:sp>
        <p:nvSpPr>
          <p:cNvPr id="6147" name="Rectangle 24"/>
          <p:cNvSpPr>
            <a:spLocks noChangeArrowheads="1"/>
          </p:cNvSpPr>
          <p:nvPr/>
        </p:nvSpPr>
        <p:spPr bwMode="auto">
          <a:xfrm>
            <a:off x="2318329" y="889390"/>
            <a:ext cx="184731"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wrap="none">
            <a:spAutoFit/>
          </a:bodyPr>
          <a:lstStyle/>
          <a:p>
            <a:pPr defTabSz="967527">
              <a:defRPr/>
            </a:pPr>
            <a:endParaRPr lang="nl-NL">
              <a:solidFill>
                <a:srgbClr val="000000"/>
              </a:solidFill>
              <a:latin typeface="Garamond" charset="0"/>
              <a:ea typeface="ＭＳ Ｐゴシック" charset="0"/>
            </a:endParaRPr>
          </a:p>
        </p:txBody>
      </p:sp>
      <p:sp>
        <p:nvSpPr>
          <p:cNvPr id="7171" name="AutoShape 4"/>
          <p:cNvSpPr>
            <a:spLocks/>
          </p:cNvSpPr>
          <p:nvPr/>
        </p:nvSpPr>
        <p:spPr bwMode="auto">
          <a:xfrm rot="-5400000">
            <a:off x="7477202" y="2705269"/>
            <a:ext cx="638077" cy="3457045"/>
          </a:xfrm>
          <a:prstGeom prst="leftBrace">
            <a:avLst>
              <a:gd name="adj1" fmla="val 45149"/>
              <a:gd name="adj2" fmla="val 50000"/>
            </a:avLst>
          </a:prstGeom>
          <a:noFill/>
          <a:ln w="9525">
            <a:solidFill>
              <a:srgbClr val="000000"/>
            </a:solidFill>
            <a:round/>
            <a:headEnd/>
            <a:tailEnd/>
          </a:ln>
          <a:extLst>
            <a:ext uri="{909E8E84-426E-40dd-AFC4-6F175D3DCCD1}">
              <a14:hiddenFill xmlns="" xmlns:a14="http://schemas.microsoft.com/office/drawing/2010/main">
                <a:solidFill>
                  <a:srgbClr val="FFFFFF"/>
                </a:solidFill>
              </a14:hiddenFill>
            </a:ext>
          </a:extLst>
        </p:spPr>
        <p:txBody>
          <a:bodyPr/>
          <a:lstStyle>
            <a:lvl1pPr eaLnBrk="0" hangingPunct="0">
              <a:defRPr sz="2400">
                <a:solidFill>
                  <a:schemeClr val="tx1"/>
                </a:solidFill>
                <a:latin typeface="Garamond" pitchFamily="18" charset="0"/>
                <a:ea typeface="MS PGothic" pitchFamily="34" charset="-128"/>
              </a:defRPr>
            </a:lvl1pPr>
            <a:lvl2pPr marL="742950" indent="-285750" eaLnBrk="0" hangingPunct="0">
              <a:defRPr sz="2400">
                <a:solidFill>
                  <a:schemeClr val="tx1"/>
                </a:solidFill>
                <a:latin typeface="Garamond" pitchFamily="18" charset="0"/>
                <a:ea typeface="MS PGothic" pitchFamily="34" charset="-128"/>
              </a:defRPr>
            </a:lvl2pPr>
            <a:lvl3pPr marL="1143000" indent="-228600" eaLnBrk="0" hangingPunct="0">
              <a:defRPr sz="2400">
                <a:solidFill>
                  <a:schemeClr val="tx1"/>
                </a:solidFill>
                <a:latin typeface="Garamond" pitchFamily="18" charset="0"/>
                <a:ea typeface="MS PGothic" pitchFamily="34" charset="-128"/>
              </a:defRPr>
            </a:lvl3pPr>
            <a:lvl4pPr marL="1600200" indent="-228600" eaLnBrk="0" hangingPunct="0">
              <a:defRPr sz="2400">
                <a:solidFill>
                  <a:schemeClr val="tx1"/>
                </a:solidFill>
                <a:latin typeface="Garamond" pitchFamily="18" charset="0"/>
                <a:ea typeface="MS PGothic" pitchFamily="34" charset="-128"/>
              </a:defRPr>
            </a:lvl4pPr>
            <a:lvl5pPr marL="2057400" indent="-228600" eaLnBrk="0" hangingPunct="0">
              <a:defRPr sz="2400">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Garamond" pitchFamily="18" charset="0"/>
                <a:ea typeface="MS PGothic" pitchFamily="34" charset="-128"/>
              </a:defRPr>
            </a:lvl9pPr>
          </a:lstStyle>
          <a:p>
            <a:pPr defTabSz="967527" eaLnBrk="1" hangingPunct="1">
              <a:defRPr/>
            </a:pPr>
            <a:endParaRPr lang="nl-NL" altLang="en-US" sz="1800">
              <a:solidFill>
                <a:srgbClr val="000000"/>
              </a:solidFill>
            </a:endParaRPr>
          </a:p>
        </p:txBody>
      </p:sp>
      <p:graphicFrame>
        <p:nvGraphicFramePr>
          <p:cNvPr id="42057" name="Group 73"/>
          <p:cNvGraphicFramePr>
            <a:graphicFrameLocks noGrp="1"/>
          </p:cNvGraphicFramePr>
          <p:nvPr/>
        </p:nvGraphicFramePr>
        <p:xfrm>
          <a:off x="381394" y="517941"/>
          <a:ext cx="10591069" cy="5273096"/>
        </p:xfrm>
        <a:graphic>
          <a:graphicData uri="http://schemas.openxmlformats.org/drawingml/2006/table">
            <a:tbl>
              <a:tblPr/>
              <a:tblGrid>
                <a:gridCol w="2314323">
                  <a:extLst>
                    <a:ext uri="{9D8B030D-6E8A-4147-A177-3AD203B41FA5}">
                      <a16:colId xmlns:a16="http://schemas.microsoft.com/office/drawing/2014/main" val="20000"/>
                    </a:ext>
                  </a:extLst>
                </a:gridCol>
                <a:gridCol w="2314323">
                  <a:extLst>
                    <a:ext uri="{9D8B030D-6E8A-4147-A177-3AD203B41FA5}">
                      <a16:colId xmlns:a16="http://schemas.microsoft.com/office/drawing/2014/main" val="20001"/>
                    </a:ext>
                  </a:extLst>
                </a:gridCol>
                <a:gridCol w="2584326">
                  <a:extLst>
                    <a:ext uri="{9D8B030D-6E8A-4147-A177-3AD203B41FA5}">
                      <a16:colId xmlns:a16="http://schemas.microsoft.com/office/drawing/2014/main" val="20002"/>
                    </a:ext>
                  </a:extLst>
                </a:gridCol>
                <a:gridCol w="3378096">
                  <a:extLst>
                    <a:ext uri="{9D8B030D-6E8A-4147-A177-3AD203B41FA5}">
                      <a16:colId xmlns:a16="http://schemas.microsoft.com/office/drawing/2014/main" val="20003"/>
                    </a:ext>
                  </a:extLst>
                </a:gridCol>
              </a:tblGrid>
              <a:tr h="797987">
                <a:tc rowSpan="2">
                  <a:txBody>
                    <a:bodyPr/>
                    <a:lstStyle/>
                    <a:p>
                      <a:pPr marL="0" marR="0" lvl="0" indent="0" algn="l" defTabSz="914400" rtl="0" eaLnBrk="1" fontAlgn="base" latinLnBrk="0" hangingPunct="1">
                        <a:lnSpc>
                          <a:spcPct val="100000"/>
                        </a:lnSpc>
                        <a:spcBef>
                          <a:spcPct val="0"/>
                        </a:spcBef>
                        <a:spcAft>
                          <a:spcPct val="0"/>
                        </a:spcAft>
                        <a:buClr>
                          <a:srgbClr val="000099"/>
                        </a:buClr>
                        <a:buSzPct val="80000"/>
                        <a:buFont typeface="Garamond" pitchFamily="18" charset="0"/>
                        <a:buNone/>
                        <a:tabLst/>
                      </a:pPr>
                      <a:endParaRPr kumimoji="0" lang="nl-NL" sz="1800" b="0" i="0" u="none" strike="noStrike" cap="none" normalizeH="0" baseline="0">
                        <a:ln>
                          <a:noFill/>
                        </a:ln>
                        <a:solidFill>
                          <a:schemeClr val="tx2"/>
                        </a:solidFill>
                        <a:effectLst/>
                        <a:latin typeface="+mn-lt"/>
                      </a:endParaRPr>
                    </a:p>
                  </a:txBody>
                  <a:tcPr marL="91426" marR="91426" marT="45716" marB="45716"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rgbClr val="000099"/>
                        </a:buClr>
                        <a:buSzPct val="80000"/>
                        <a:buFont typeface="Garamond" pitchFamily="18" charset="0"/>
                        <a:buNone/>
                        <a:tabLst/>
                      </a:pPr>
                      <a:endParaRPr kumimoji="0" lang="nl-NL" sz="1800" b="0" i="0" u="none" strike="noStrike" cap="none" normalizeH="0" baseline="0">
                        <a:ln>
                          <a:noFill/>
                        </a:ln>
                        <a:solidFill>
                          <a:schemeClr val="tx2"/>
                        </a:solidFill>
                        <a:effectLst/>
                        <a:latin typeface="+mn-lt"/>
                      </a:endParaRPr>
                    </a:p>
                  </a:txBody>
                  <a:tcPr marL="91426" marR="91426" marT="45716" marB="45716" horzOverflow="overflow">
                    <a:lnL>
                      <a:noFill/>
                    </a:lnL>
                    <a:lnR>
                      <a:noFill/>
                    </a:lnR>
                    <a:lnT cap="flat">
                      <a:noFill/>
                    </a:lnT>
                    <a:lnB>
                      <a:noFill/>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800" b="1" i="0" u="none" strike="noStrike" cap="none" normalizeH="0" baseline="0">
                          <a:ln>
                            <a:noFill/>
                          </a:ln>
                          <a:solidFill>
                            <a:schemeClr val="tx2"/>
                          </a:solidFill>
                          <a:effectLst/>
                          <a:latin typeface="+mn-lt"/>
                          <a:ea typeface="Calibri" pitchFamily="34" charset="0"/>
                          <a:cs typeface="Times New Roman" pitchFamily="18" charset="0"/>
                        </a:rPr>
                        <a:t>Sedert  1 oktober 2004</a:t>
                      </a:r>
                      <a:endParaRPr kumimoji="0" lang="nl-NL" sz="18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cap="flat">
                      <a:noFill/>
                    </a:lnR>
                    <a:lnT cap="flat">
                      <a:noFill/>
                    </a:lnT>
                    <a:lnB>
                      <a:noFill/>
                    </a:lnB>
                    <a:lnTlToBr>
                      <a:noFill/>
                    </a:lnTlToBr>
                    <a:lnBlToTr>
                      <a:noFill/>
                    </a:lnBlToTr>
                    <a:solidFill>
                      <a:schemeClr val="bg1"/>
                    </a:solidFill>
                  </a:tcPr>
                </a:tc>
                <a:tc hMerge="1">
                  <a:txBody>
                    <a:bodyPr/>
                    <a:lstStyle/>
                    <a:p>
                      <a:endParaRPr lang="nl-NL"/>
                    </a:p>
                  </a:txBody>
                  <a:tcPr/>
                </a:tc>
                <a:extLst>
                  <a:ext uri="{0D108BD9-81ED-4DB2-BD59-A6C34878D82A}">
                    <a16:rowId xmlns:a16="http://schemas.microsoft.com/office/drawing/2014/main" val="10000"/>
                  </a:ext>
                </a:extLst>
              </a:tr>
              <a:tr h="677365">
                <a:tc vMerge="1">
                  <a:txBody>
                    <a:bodyPr/>
                    <a:lstStyle/>
                    <a:p>
                      <a:endParaRPr lang="nl-NL"/>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800" b="1" i="1" u="none" strike="noStrike" cap="none" normalizeH="0" baseline="0">
                          <a:ln>
                            <a:noFill/>
                          </a:ln>
                          <a:solidFill>
                            <a:schemeClr val="tx2"/>
                          </a:solidFill>
                          <a:effectLst/>
                          <a:latin typeface="+mn-lt"/>
                          <a:ea typeface="Calibri" pitchFamily="34" charset="0"/>
                          <a:cs typeface="Times New Roman" pitchFamily="18" charset="0"/>
                        </a:rPr>
                        <a:t>Gewone BV/NV</a:t>
                      </a:r>
                    </a:p>
                  </a:txBody>
                  <a:tcPr marL="91426" marR="91426" marT="45716" marB="45716"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800" b="1" i="1" u="none" strike="noStrike" cap="none" normalizeH="0" baseline="0">
                          <a:ln>
                            <a:noFill/>
                          </a:ln>
                          <a:solidFill>
                            <a:schemeClr val="tx2"/>
                          </a:solidFill>
                          <a:effectLst/>
                          <a:latin typeface="+mn-lt"/>
                          <a:ea typeface="Calibri" pitchFamily="34" charset="0"/>
                          <a:cs typeface="Times New Roman" pitchFamily="18" charset="0"/>
                        </a:rPr>
                        <a:t>Structuur vennootschap</a:t>
                      </a:r>
                    </a:p>
                  </a:txBody>
                  <a:tcPr marL="91426" marR="91426" marT="45716" marB="45716" horzOverflow="overflow">
                    <a:lnL>
                      <a:noFill/>
                    </a:lnL>
                    <a:lnR>
                      <a:noFill/>
                    </a:lnR>
                    <a:lnT>
                      <a:noFill/>
                    </a:lnT>
                    <a:lnB>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800" b="1" i="1" u="none" strike="noStrike" cap="none" normalizeH="0" baseline="0">
                          <a:ln>
                            <a:noFill/>
                          </a:ln>
                          <a:solidFill>
                            <a:schemeClr val="tx2"/>
                          </a:solidFill>
                          <a:effectLst/>
                          <a:latin typeface="+mn-lt"/>
                          <a:ea typeface="Calibri" pitchFamily="34" charset="0"/>
                          <a:cs typeface="Times New Roman" pitchFamily="18" charset="0"/>
                        </a:rPr>
                        <a:t>Gemitigeerde structuur vennootschap</a:t>
                      </a:r>
                    </a:p>
                  </a:txBody>
                  <a:tcPr marL="91426" marR="91426" marT="45716" marB="45716"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67736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1" i="0" u="none" strike="noStrike" cap="none" normalizeH="0" baseline="0">
                          <a:ln>
                            <a:noFill/>
                          </a:ln>
                          <a:solidFill>
                            <a:schemeClr val="tx2"/>
                          </a:solidFill>
                          <a:effectLst/>
                          <a:latin typeface="+mn-lt"/>
                          <a:ea typeface="Calibri" pitchFamily="34" charset="0"/>
                          <a:cs typeface="Times New Roman" pitchFamily="18" charset="0"/>
                        </a:rPr>
                        <a:t>Benoeming/ ontslag directie</a:t>
                      </a:r>
                    </a:p>
                  </a:txBody>
                  <a:tcPr marL="91426" marR="91426" marT="45716" marB="45716"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endParaRPr kumimoji="0" lang="nl-NL" sz="19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RvC</a:t>
                      </a: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AvA</a:t>
                      </a:r>
                    </a:p>
                  </a:txBody>
                  <a:tcPr marL="91426" marR="91426" marT="45716" marB="45716"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67736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1" i="0" u="none" strike="noStrike" cap="none" normalizeH="0" baseline="0">
                          <a:ln>
                            <a:noFill/>
                          </a:ln>
                          <a:solidFill>
                            <a:schemeClr val="tx2"/>
                          </a:solidFill>
                          <a:effectLst/>
                          <a:latin typeface="+mn-lt"/>
                          <a:ea typeface="Calibri" pitchFamily="34" charset="0"/>
                          <a:cs typeface="Times New Roman" pitchFamily="18" charset="0"/>
                        </a:rPr>
                        <a:t>Benoeming (lid) RvC</a:t>
                      </a:r>
                    </a:p>
                  </a:txBody>
                  <a:tcPr marL="91426" marR="91426" marT="45716" marB="45716"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AvA</a:t>
                      </a: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 op voordracht RvC</a:t>
                      </a: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 op voordracht RvC</a:t>
                      </a:r>
                    </a:p>
                  </a:txBody>
                  <a:tcPr marL="91426" marR="91426" marT="45716" marB="45716"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67736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1" i="0" u="none" strike="noStrike" cap="none" normalizeH="0" baseline="0">
                          <a:ln>
                            <a:noFill/>
                          </a:ln>
                          <a:solidFill>
                            <a:schemeClr val="tx2"/>
                          </a:solidFill>
                          <a:effectLst/>
                          <a:latin typeface="+mn-lt"/>
                          <a:ea typeface="Calibri" pitchFamily="34" charset="0"/>
                          <a:cs typeface="Times New Roman" pitchFamily="18" charset="0"/>
                        </a:rPr>
                        <a:t>Vaststellen jaarrekening</a:t>
                      </a:r>
                    </a:p>
                  </a:txBody>
                  <a:tcPr marL="91426" marR="91426" marT="45716" marB="45716"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endParaRPr kumimoji="0" lang="nl-NL" sz="19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endParaRPr kumimoji="0" lang="nl-NL" sz="19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endParaRPr kumimoji="0" lang="nl-NL" sz="19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9676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1" i="0" u="none" strike="noStrike" cap="none" normalizeH="0" baseline="0">
                          <a:ln>
                            <a:noFill/>
                          </a:ln>
                          <a:solidFill>
                            <a:schemeClr val="tx2"/>
                          </a:solidFill>
                          <a:effectLst/>
                          <a:latin typeface="+mn-lt"/>
                          <a:ea typeface="Calibri" pitchFamily="34" charset="0"/>
                          <a:cs typeface="Times New Roman" pitchFamily="18" charset="0"/>
                        </a:rPr>
                        <a:t>Goedgekeurde belangrijke besluiten</a:t>
                      </a:r>
                    </a:p>
                  </a:txBody>
                  <a:tcPr marL="91426" marR="91426" marT="45716" marB="45716"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err="1">
                          <a:ln>
                            <a:noFill/>
                          </a:ln>
                          <a:solidFill>
                            <a:schemeClr val="tx2"/>
                          </a:solidFill>
                          <a:effectLst/>
                          <a:latin typeface="+mn-lt"/>
                          <a:ea typeface="Calibri" pitchFamily="34" charset="0"/>
                          <a:cs typeface="Times New Roman" pitchFamily="18" charset="0"/>
                        </a:rPr>
                        <a:t>AvA</a:t>
                      </a:r>
                      <a:endParaRPr kumimoji="0" lang="nl-NL" sz="1900" b="0" i="0" u="none" strike="noStrike" cap="none" normalizeH="0" baseline="0">
                        <a:ln>
                          <a:noFill/>
                        </a:ln>
                        <a:solidFill>
                          <a:schemeClr val="tx2"/>
                        </a:solidFill>
                        <a:effectLst/>
                        <a:latin typeface="+mn-lt"/>
                        <a:ea typeface="Calibri" pitchFamily="34" charset="0"/>
                        <a:cs typeface="Times New Roman" pitchFamily="18" charset="0"/>
                      </a:endParaRP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RvC</a:t>
                      </a:r>
                    </a:p>
                  </a:txBody>
                  <a:tcPr marL="91426" marR="91426" marT="45716" marB="45716"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nl-NL" sz="1900" b="0" i="0" u="none" strike="noStrike" cap="none" normalizeH="0" baseline="0">
                          <a:ln>
                            <a:noFill/>
                          </a:ln>
                          <a:solidFill>
                            <a:schemeClr val="tx2"/>
                          </a:solidFill>
                          <a:effectLst/>
                          <a:latin typeface="+mn-lt"/>
                          <a:ea typeface="Calibri" pitchFamily="34" charset="0"/>
                          <a:cs typeface="Times New Roman" pitchFamily="18" charset="0"/>
                        </a:rPr>
                        <a:t>RvC</a:t>
                      </a:r>
                    </a:p>
                  </a:txBody>
                  <a:tcPr marL="91426" marR="91426" marT="45716" marB="45716"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797987">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800" b="0" i="0" u="none" strike="noStrike" cap="none" normalizeH="0" baseline="0">
                          <a:ln>
                            <a:noFill/>
                          </a:ln>
                          <a:solidFill>
                            <a:schemeClr val="tx2"/>
                          </a:solidFill>
                          <a:effectLst/>
                          <a:latin typeface="+mn-lt"/>
                          <a:ea typeface="Calibri" pitchFamily="34" charset="0"/>
                          <a:cs typeface="Times New Roman" pitchFamily="18" charset="0"/>
                        </a:rPr>
                        <a:t>                                      </a:t>
                      </a:r>
                    </a:p>
                  </a:txBody>
                  <a:tcPr marL="91426" marR="91426" marT="45716" marB="45716" horzOverflow="overflow">
                    <a:lnL cap="flat">
                      <a:noFill/>
                    </a:lnL>
                    <a:lnR>
                      <a:noFill/>
                    </a:lnR>
                    <a:lnT>
                      <a:noFill/>
                    </a:lnT>
                    <a:lnB cap="flat">
                      <a:noFill/>
                    </a:lnB>
                    <a:lnTlToBr>
                      <a:noFill/>
                    </a:lnTlToBr>
                    <a:lnBlToTr>
                      <a:noFill/>
                    </a:lnBlToTr>
                    <a:noFill/>
                  </a:tcPr>
                </a:tc>
                <a:tc hMerge="1">
                  <a:txBody>
                    <a:bodyPr/>
                    <a:lstStyle/>
                    <a:p>
                      <a:endParaRPr lang="nl-NL"/>
                    </a:p>
                  </a:txBody>
                  <a:tcPr/>
                </a:tc>
                <a:tc gridSpan="2">
                  <a:txBody>
                    <a:bodyPr/>
                    <a:lstStyle/>
                    <a:p>
                      <a:pPr marL="0" marR="0" lvl="0" indent="0" algn="l" defTabSz="914400" rtl="0" eaLnBrk="1" fontAlgn="base" latinLnBrk="0" hangingPunct="1">
                        <a:lnSpc>
                          <a:spcPct val="100000"/>
                        </a:lnSpc>
                        <a:spcBef>
                          <a:spcPct val="0"/>
                        </a:spcBef>
                        <a:spcAft>
                          <a:spcPct val="0"/>
                        </a:spcAft>
                        <a:buClr>
                          <a:srgbClr val="000099"/>
                        </a:buClr>
                        <a:buSzPct val="80000"/>
                        <a:buFont typeface="Garamond" pitchFamily="18" charset="0"/>
                        <a:buNone/>
                        <a:tabLst/>
                      </a:pPr>
                      <a:endParaRPr kumimoji="0" lang="nl-NL" sz="1800" b="0" i="0" u="none" strike="noStrike" cap="none" normalizeH="0" baseline="0">
                        <a:ln>
                          <a:noFill/>
                        </a:ln>
                        <a:solidFill>
                          <a:schemeClr val="tx2"/>
                        </a:solidFill>
                        <a:effectLst/>
                        <a:latin typeface="+mn-lt"/>
                      </a:endParaRPr>
                    </a:p>
                  </a:txBody>
                  <a:tcPr marL="91426" marR="91426" marT="45716" marB="45716" horzOverflow="overflow">
                    <a:lnL>
                      <a:noFill/>
                    </a:lnL>
                    <a:lnR cap="flat">
                      <a:noFill/>
                    </a:lnR>
                    <a:lnT>
                      <a:noFill/>
                    </a:lnT>
                    <a:lnB cap="flat">
                      <a:noFill/>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6"/>
                  </a:ext>
                </a:extLst>
              </a:tr>
            </a:tbl>
          </a:graphicData>
        </a:graphic>
      </p:graphicFrame>
      <p:sp>
        <p:nvSpPr>
          <p:cNvPr id="6174" name="Rectangle 66"/>
          <p:cNvSpPr>
            <a:spLocks noChangeArrowheads="1"/>
          </p:cNvSpPr>
          <p:nvPr/>
        </p:nvSpPr>
        <p:spPr bwMode="auto">
          <a:xfrm>
            <a:off x="5953934" y="4650975"/>
            <a:ext cx="4156074" cy="17203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wrap="none" anchor="ctr">
            <a:spAutoFit/>
          </a:bodyPr>
          <a:lstStyle>
            <a:lvl1pPr eaLnBrk="0" hangingPunct="0">
              <a:defRPr sz="2400">
                <a:solidFill>
                  <a:schemeClr val="tx1"/>
                </a:solidFill>
                <a:latin typeface="Garamond" pitchFamily="18" charset="0"/>
                <a:ea typeface="MS PGothic" pitchFamily="34" charset="-128"/>
              </a:defRPr>
            </a:lvl1pPr>
            <a:lvl2pPr marL="742950" indent="-285750" eaLnBrk="0" hangingPunct="0">
              <a:defRPr sz="2400">
                <a:solidFill>
                  <a:schemeClr val="tx1"/>
                </a:solidFill>
                <a:latin typeface="Garamond" pitchFamily="18" charset="0"/>
                <a:ea typeface="MS PGothic" pitchFamily="34" charset="-128"/>
              </a:defRPr>
            </a:lvl2pPr>
            <a:lvl3pPr marL="1143000" indent="-228600" eaLnBrk="0" hangingPunct="0">
              <a:defRPr sz="2400">
                <a:solidFill>
                  <a:schemeClr val="tx1"/>
                </a:solidFill>
                <a:latin typeface="Garamond" pitchFamily="18" charset="0"/>
                <a:ea typeface="MS PGothic" pitchFamily="34" charset="-128"/>
              </a:defRPr>
            </a:lvl3pPr>
            <a:lvl4pPr marL="1600200" indent="-228600" eaLnBrk="0" hangingPunct="0">
              <a:defRPr sz="2400">
                <a:solidFill>
                  <a:schemeClr val="tx1"/>
                </a:solidFill>
                <a:latin typeface="Garamond" pitchFamily="18" charset="0"/>
                <a:ea typeface="MS PGothic" pitchFamily="34" charset="-128"/>
              </a:defRPr>
            </a:lvl4pPr>
            <a:lvl5pPr marL="2057400" indent="-228600" eaLnBrk="0" hangingPunct="0">
              <a:defRPr sz="2400">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Garamond" pitchFamily="18" charset="0"/>
                <a:ea typeface="MS PGothic" pitchFamily="34" charset="-128"/>
              </a:defRPr>
            </a:lvl9pPr>
          </a:lstStyle>
          <a:p>
            <a:pPr marL="302352" indent="-302352" defTabSz="967527" eaLnBrk="1" hangingPunct="1">
              <a:buFont typeface="Arial" panose="020B0604020202020204" pitchFamily="34" charset="0"/>
              <a:buChar char="•"/>
              <a:defRPr/>
            </a:pPr>
            <a:r>
              <a:rPr lang="nl-NL" altLang="en-US" sz="2116" b="1" i="1">
                <a:solidFill>
                  <a:schemeClr val="tx2"/>
                </a:solidFill>
              </a:rPr>
              <a:t>Eigen vermogen &gt; € 16 </a:t>
            </a:r>
            <a:r>
              <a:rPr lang="nl-NL" altLang="en-US" sz="2116" b="1" i="1" err="1">
                <a:solidFill>
                  <a:schemeClr val="tx2"/>
                </a:solidFill>
              </a:rPr>
              <a:t>mio</a:t>
            </a:r>
            <a:endParaRPr lang="en-US" altLang="en-US" sz="2116" b="1" i="1">
              <a:solidFill>
                <a:schemeClr val="tx2"/>
              </a:solidFill>
            </a:endParaRPr>
          </a:p>
          <a:p>
            <a:pPr marL="302352" indent="-302352" defTabSz="967527">
              <a:buFont typeface="Arial" panose="020B0604020202020204" pitchFamily="34" charset="0"/>
              <a:buChar char="•"/>
              <a:defRPr/>
            </a:pPr>
            <a:r>
              <a:rPr lang="nl-NL" altLang="en-US" sz="2116" b="1" i="1">
                <a:solidFill>
                  <a:schemeClr val="tx2"/>
                </a:solidFill>
              </a:rPr>
              <a:t>&gt; 100 werknemers in Nederland</a:t>
            </a:r>
            <a:endParaRPr lang="en-US" altLang="en-US" sz="2116" b="1" i="1">
              <a:solidFill>
                <a:schemeClr val="tx2"/>
              </a:solidFill>
            </a:endParaRPr>
          </a:p>
          <a:p>
            <a:pPr marL="302352" indent="-302352" defTabSz="967527">
              <a:buFont typeface="Arial" panose="020B0604020202020204" pitchFamily="34" charset="0"/>
              <a:buChar char="•"/>
              <a:defRPr/>
            </a:pPr>
            <a:r>
              <a:rPr lang="nl-NL" altLang="en-US" sz="2116" b="1" i="1">
                <a:solidFill>
                  <a:schemeClr val="tx2"/>
                </a:solidFill>
              </a:rPr>
              <a:t>Wettelijke plicht tot een OR</a:t>
            </a:r>
          </a:p>
          <a:p>
            <a:pPr marL="302352" indent="-302352" defTabSz="967527">
              <a:buFont typeface="Arial" panose="020B0604020202020204" pitchFamily="34" charset="0"/>
              <a:buChar char="•"/>
              <a:defRPr/>
            </a:pPr>
            <a:r>
              <a:rPr lang="en-US" altLang="en-US" sz="2116" b="1" i="1">
                <a:solidFill>
                  <a:schemeClr val="tx2"/>
                </a:solidFill>
              </a:rPr>
              <a:t>En </a:t>
            </a:r>
            <a:r>
              <a:rPr lang="en-US" altLang="en-US" sz="2116" b="1" i="1" err="1">
                <a:solidFill>
                  <a:schemeClr val="tx2"/>
                </a:solidFill>
              </a:rPr>
              <a:t>dat</a:t>
            </a:r>
            <a:r>
              <a:rPr lang="en-US" altLang="en-US" sz="2116" b="1" i="1">
                <a:solidFill>
                  <a:schemeClr val="tx2"/>
                </a:solidFill>
              </a:rPr>
              <a:t> </a:t>
            </a:r>
            <a:r>
              <a:rPr lang="en-US" altLang="en-US" sz="2116" b="1" i="1" err="1">
                <a:solidFill>
                  <a:schemeClr val="tx2"/>
                </a:solidFill>
              </a:rPr>
              <a:t>gedurende</a:t>
            </a:r>
            <a:r>
              <a:rPr lang="en-US" altLang="en-US" sz="2116" b="1" i="1">
                <a:solidFill>
                  <a:schemeClr val="tx2"/>
                </a:solidFill>
              </a:rPr>
              <a:t> 3 </a:t>
            </a:r>
            <a:r>
              <a:rPr lang="en-US" altLang="en-US" sz="2116" b="1" i="1" err="1">
                <a:solidFill>
                  <a:schemeClr val="tx2"/>
                </a:solidFill>
              </a:rPr>
              <a:t>jaar</a:t>
            </a:r>
            <a:br>
              <a:rPr lang="en-US" altLang="en-US" sz="2116">
                <a:solidFill>
                  <a:schemeClr val="tx2"/>
                </a:solidFill>
              </a:rPr>
            </a:br>
            <a:endParaRPr lang="en-US" altLang="en-US" sz="2116">
              <a:solidFill>
                <a:schemeClr val="tx2"/>
              </a:solidFill>
            </a:endParaRPr>
          </a:p>
        </p:txBody>
      </p:sp>
      <p:sp>
        <p:nvSpPr>
          <p:cNvPr id="2" name="Tijdelijke aanduiding voor dianummer 1"/>
          <p:cNvSpPr>
            <a:spLocks noGrp="1"/>
          </p:cNvSpPr>
          <p:nvPr>
            <p:ph type="sldNum" sz="quarter" idx="12"/>
          </p:nvPr>
        </p:nvSpPr>
        <p:spPr/>
        <p:txBody>
          <a:bodyPr/>
          <a:lstStyle/>
          <a:p>
            <a:pPr algn="ctr" defTabSz="967527">
              <a:defRPr/>
            </a:pPr>
            <a:fld id="{34A0F559-C120-4789-B420-3451E346105D}" type="slidenum">
              <a:rPr lang="en-US" sz="1058">
                <a:solidFill>
                  <a:srgbClr val="1F497D"/>
                </a:solidFill>
                <a:latin typeface="Arial"/>
              </a:rPr>
              <a:pPr algn="ctr" defTabSz="967527">
                <a:defRPr/>
              </a:pPr>
              <a:t>22</a:t>
            </a:fld>
            <a:endParaRPr lang="en-US" sz="1058">
              <a:solidFill>
                <a:srgbClr val="1F497D"/>
              </a:solidFill>
              <a:latin typeface="Arial"/>
            </a:endParaRPr>
          </a:p>
        </p:txBody>
      </p:sp>
    </p:spTree>
    <p:extLst>
      <p:ext uri="{BB962C8B-B14F-4D97-AF65-F5344CB8AC3E}">
        <p14:creationId xmlns:p14="http://schemas.microsoft.com/office/powerpoint/2010/main" val="376759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B9F6E-93B8-7A50-DFC8-AE9782ED6CCD}"/>
              </a:ext>
            </a:extLst>
          </p:cNvPr>
          <p:cNvSpPr>
            <a:spLocks noGrp="1"/>
          </p:cNvSpPr>
          <p:nvPr>
            <p:ph type="title"/>
          </p:nvPr>
        </p:nvSpPr>
        <p:spPr>
          <a:xfrm>
            <a:off x="596496" y="520117"/>
            <a:ext cx="10478955" cy="777979"/>
          </a:xfrm>
        </p:spPr>
        <p:txBody>
          <a:bodyPr/>
          <a:lstStyle/>
          <a:p>
            <a:r>
              <a:rPr lang="nl-NL"/>
              <a:t>Recente ontwikkelingen</a:t>
            </a:r>
          </a:p>
        </p:txBody>
      </p:sp>
      <p:sp>
        <p:nvSpPr>
          <p:cNvPr id="3" name="Tijdelijke aanduiding voor inhoud 2">
            <a:extLst>
              <a:ext uri="{FF2B5EF4-FFF2-40B4-BE49-F238E27FC236}">
                <a16:creationId xmlns:a16="http://schemas.microsoft.com/office/drawing/2014/main" id="{F9E92EEA-E2B3-0653-669C-B6C3B32EEE46}"/>
              </a:ext>
            </a:extLst>
          </p:cNvPr>
          <p:cNvSpPr>
            <a:spLocks noGrp="1"/>
          </p:cNvSpPr>
          <p:nvPr>
            <p:ph idx="1"/>
          </p:nvPr>
        </p:nvSpPr>
        <p:spPr>
          <a:xfrm>
            <a:off x="614456" y="1066963"/>
            <a:ext cx="10465163" cy="4535809"/>
          </a:xfrm>
        </p:spPr>
        <p:txBody>
          <a:bodyPr>
            <a:normAutofit fontScale="62500" lnSpcReduction="20000"/>
          </a:bodyPr>
          <a:lstStyle/>
          <a:p>
            <a:pPr marL="362822" indent="-362822">
              <a:lnSpc>
                <a:spcPct val="200000"/>
              </a:lnSpc>
            </a:pPr>
            <a:r>
              <a:rPr lang="nl-NL">
                <a:solidFill>
                  <a:schemeClr val="tx2"/>
                </a:solidFill>
              </a:rPr>
              <a:t>Maatschappelijke verantwoordelijkheid van ondernemingen</a:t>
            </a:r>
          </a:p>
          <a:p>
            <a:pPr marL="362822" indent="-362822">
              <a:lnSpc>
                <a:spcPct val="200000"/>
              </a:lnSpc>
            </a:pPr>
            <a:r>
              <a:rPr lang="nl-NL">
                <a:solidFill>
                  <a:schemeClr val="tx2"/>
                </a:solidFill>
              </a:rPr>
              <a:t>Aandeelhouders versus stakeholders</a:t>
            </a:r>
          </a:p>
          <a:p>
            <a:pPr marL="362822" indent="-362822">
              <a:lnSpc>
                <a:spcPct val="200000"/>
              </a:lnSpc>
            </a:pPr>
            <a:r>
              <a:rPr lang="nl-NL">
                <a:solidFill>
                  <a:schemeClr val="tx2"/>
                </a:solidFill>
              </a:rPr>
              <a:t>CSRD en CSDDD (Omnibus); duurzaamheid en ketenaansprakelijkheid</a:t>
            </a:r>
          </a:p>
          <a:p>
            <a:pPr marL="362822" indent="-362822">
              <a:lnSpc>
                <a:spcPct val="200000"/>
              </a:lnSpc>
            </a:pPr>
            <a:r>
              <a:rPr lang="nl-NL">
                <a:solidFill>
                  <a:schemeClr val="tx2"/>
                </a:solidFill>
              </a:rPr>
              <a:t>Rechtszaken en ‘</a:t>
            </a:r>
            <a:r>
              <a:rPr lang="nl-NL" err="1">
                <a:solidFill>
                  <a:schemeClr val="tx2"/>
                </a:solidFill>
              </a:rPr>
              <a:t>license</a:t>
            </a:r>
            <a:r>
              <a:rPr lang="nl-NL">
                <a:solidFill>
                  <a:schemeClr val="tx2"/>
                </a:solidFill>
              </a:rPr>
              <a:t> </a:t>
            </a:r>
            <a:r>
              <a:rPr lang="nl-NL" err="1">
                <a:solidFill>
                  <a:schemeClr val="tx2"/>
                </a:solidFill>
              </a:rPr>
              <a:t>to</a:t>
            </a:r>
            <a:r>
              <a:rPr lang="nl-NL">
                <a:solidFill>
                  <a:schemeClr val="tx2"/>
                </a:solidFill>
              </a:rPr>
              <a:t> </a:t>
            </a:r>
            <a:r>
              <a:rPr lang="nl-NL" err="1">
                <a:solidFill>
                  <a:schemeClr val="tx2"/>
                </a:solidFill>
              </a:rPr>
              <a:t>operate</a:t>
            </a:r>
            <a:r>
              <a:rPr lang="nl-NL">
                <a:solidFill>
                  <a:schemeClr val="tx2"/>
                </a:solidFill>
              </a:rPr>
              <a:t>’</a:t>
            </a:r>
          </a:p>
          <a:p>
            <a:pPr marL="362822" indent="-362822">
              <a:lnSpc>
                <a:spcPct val="200000"/>
              </a:lnSpc>
            </a:pPr>
            <a:r>
              <a:rPr lang="nl-NL">
                <a:solidFill>
                  <a:schemeClr val="tx2"/>
                </a:solidFill>
              </a:rPr>
              <a:t>Toenemende regelgeving </a:t>
            </a:r>
          </a:p>
          <a:p>
            <a:pPr marL="362822" indent="-362822">
              <a:lnSpc>
                <a:spcPct val="200000"/>
              </a:lnSpc>
            </a:pPr>
            <a:r>
              <a:rPr lang="nl-NL">
                <a:solidFill>
                  <a:schemeClr val="tx2"/>
                </a:solidFill>
              </a:rPr>
              <a:t>Afnemend vertrouwen in instituties (dus ook in ondernemingen en hun leiders)</a:t>
            </a:r>
          </a:p>
          <a:p>
            <a:pPr marL="362822" indent="-362822">
              <a:lnSpc>
                <a:spcPct val="200000"/>
              </a:lnSpc>
            </a:pPr>
            <a:r>
              <a:rPr lang="nl-NL">
                <a:solidFill>
                  <a:schemeClr val="tx2"/>
                </a:solidFill>
              </a:rPr>
              <a:t>Tegelijkertijd de verwachting dat zij het voortouw nemen bij transformaties</a:t>
            </a:r>
          </a:p>
        </p:txBody>
      </p:sp>
    </p:spTree>
    <p:extLst>
      <p:ext uri="{BB962C8B-B14F-4D97-AF65-F5344CB8AC3E}">
        <p14:creationId xmlns:p14="http://schemas.microsoft.com/office/powerpoint/2010/main" val="241663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CA82C-67EB-476A-90FD-64E1610AC5C1}"/>
              </a:ext>
            </a:extLst>
          </p:cNvPr>
          <p:cNvSpPr>
            <a:spLocks noGrp="1"/>
          </p:cNvSpPr>
          <p:nvPr>
            <p:ph type="title"/>
          </p:nvPr>
        </p:nvSpPr>
        <p:spPr>
          <a:xfrm>
            <a:off x="623392" y="909107"/>
            <a:ext cx="10478955" cy="777979"/>
          </a:xfrm>
        </p:spPr>
        <p:txBody>
          <a:bodyPr/>
          <a:lstStyle/>
          <a:p>
            <a:r>
              <a:rPr lang="nl-NL"/>
              <a:t>Kenmerken van een goed team</a:t>
            </a:r>
          </a:p>
        </p:txBody>
      </p:sp>
      <p:sp>
        <p:nvSpPr>
          <p:cNvPr id="3" name="Content Placeholder 2">
            <a:extLst>
              <a:ext uri="{FF2B5EF4-FFF2-40B4-BE49-F238E27FC236}">
                <a16:creationId xmlns:a16="http://schemas.microsoft.com/office/drawing/2014/main" id="{38AF6EE0-34FB-4943-BF04-65D06D4B13C1}"/>
              </a:ext>
            </a:extLst>
          </p:cNvPr>
          <p:cNvSpPr>
            <a:spLocks noGrp="1"/>
          </p:cNvSpPr>
          <p:nvPr>
            <p:ph idx="1"/>
          </p:nvPr>
        </p:nvSpPr>
        <p:spPr>
          <a:xfrm>
            <a:off x="623393" y="1905105"/>
            <a:ext cx="4570203" cy="3205648"/>
          </a:xfrm>
        </p:spPr>
        <p:txBody>
          <a:bodyPr>
            <a:normAutofit fontScale="85000" lnSpcReduction="20000"/>
          </a:bodyPr>
          <a:lstStyle/>
          <a:p>
            <a:pPr marL="362822" indent="-362822"/>
            <a:r>
              <a:rPr lang="nl-NL" sz="2116">
                <a:solidFill>
                  <a:schemeClr val="tx2"/>
                </a:solidFill>
              </a:rPr>
              <a:t>Gemeenschappelijk doel</a:t>
            </a:r>
          </a:p>
          <a:p>
            <a:pPr marL="362822" indent="-362822"/>
            <a:r>
              <a:rPr lang="nl-NL" sz="2116">
                <a:solidFill>
                  <a:schemeClr val="tx2"/>
                </a:solidFill>
              </a:rPr>
              <a:t>Veiligheid</a:t>
            </a:r>
          </a:p>
          <a:p>
            <a:pPr marL="362822" indent="-362822"/>
            <a:r>
              <a:rPr lang="nl-NL" sz="2116">
                <a:solidFill>
                  <a:schemeClr val="tx2"/>
                </a:solidFill>
              </a:rPr>
              <a:t>Vertrouwen</a:t>
            </a:r>
          </a:p>
          <a:p>
            <a:pPr marL="362822" indent="-362822"/>
            <a:r>
              <a:rPr lang="nl-NL" sz="2116">
                <a:solidFill>
                  <a:schemeClr val="tx2"/>
                </a:solidFill>
              </a:rPr>
              <a:t>Verbinding</a:t>
            </a:r>
          </a:p>
          <a:p>
            <a:pPr marL="362822" indent="-362822"/>
            <a:r>
              <a:rPr lang="nl-NL" sz="2116">
                <a:solidFill>
                  <a:schemeClr val="tx2"/>
                </a:solidFill>
              </a:rPr>
              <a:t>Verantwoordelijkheid nemen</a:t>
            </a:r>
          </a:p>
          <a:p>
            <a:pPr marL="362822" indent="-362822"/>
            <a:r>
              <a:rPr lang="nl-NL" sz="2116">
                <a:solidFill>
                  <a:schemeClr val="tx2"/>
                </a:solidFill>
              </a:rPr>
              <a:t>Open communicatie</a:t>
            </a:r>
          </a:p>
          <a:p>
            <a:pPr marL="362822" indent="-362822"/>
            <a:r>
              <a:rPr lang="nl-NL" sz="2116">
                <a:solidFill>
                  <a:schemeClr val="tx2"/>
                </a:solidFill>
              </a:rPr>
              <a:t>Samenwerking</a:t>
            </a:r>
          </a:p>
          <a:p>
            <a:pPr marL="362822" indent="-362822"/>
            <a:r>
              <a:rPr lang="nl-NL" sz="2116">
                <a:solidFill>
                  <a:schemeClr val="tx2"/>
                </a:solidFill>
              </a:rPr>
              <a:t>Luisteren/open mind</a:t>
            </a:r>
          </a:p>
          <a:p>
            <a:pPr marL="362822" indent="-362822"/>
            <a:r>
              <a:rPr lang="nl-NL" sz="2116">
                <a:solidFill>
                  <a:schemeClr val="tx2"/>
                </a:solidFill>
              </a:rPr>
              <a:t>Diversiteit</a:t>
            </a:r>
          </a:p>
          <a:p>
            <a:pPr marL="362822" indent="-362822"/>
            <a:r>
              <a:rPr lang="nl-NL" sz="2116">
                <a:solidFill>
                  <a:schemeClr val="tx2"/>
                </a:solidFill>
              </a:rPr>
              <a:t>Complementair</a:t>
            </a:r>
          </a:p>
          <a:p>
            <a:pPr marL="362822" indent="-362822"/>
            <a:endParaRPr lang="nl-NL" sz="2116">
              <a:solidFill>
                <a:schemeClr val="tx2"/>
              </a:solidFill>
            </a:endParaRPr>
          </a:p>
        </p:txBody>
      </p:sp>
      <p:pic>
        <p:nvPicPr>
          <p:cNvPr id="6" name="Picture 5">
            <a:extLst>
              <a:ext uri="{FF2B5EF4-FFF2-40B4-BE49-F238E27FC236}">
                <a16:creationId xmlns:a16="http://schemas.microsoft.com/office/drawing/2014/main" id="{F1F176FD-1875-49AA-A10C-B72E994EB03C}"/>
              </a:ext>
            </a:extLst>
          </p:cNvPr>
          <p:cNvPicPr>
            <a:picLocks noChangeAspect="1"/>
          </p:cNvPicPr>
          <p:nvPr/>
        </p:nvPicPr>
        <p:blipFill>
          <a:blip r:embed="rId2"/>
          <a:stretch>
            <a:fillRect/>
          </a:stretch>
        </p:blipFill>
        <p:spPr>
          <a:xfrm>
            <a:off x="7972127" y="3886169"/>
            <a:ext cx="4219874" cy="2285842"/>
          </a:xfrm>
          <a:prstGeom prst="rect">
            <a:avLst/>
          </a:prstGeom>
        </p:spPr>
      </p:pic>
      <p:sp>
        <p:nvSpPr>
          <p:cNvPr id="7" name="Content Placeholder 2">
            <a:extLst>
              <a:ext uri="{FF2B5EF4-FFF2-40B4-BE49-F238E27FC236}">
                <a16:creationId xmlns:a16="http://schemas.microsoft.com/office/drawing/2014/main" id="{666DE482-E2CB-4A15-BD5F-2DD47850EAB3}"/>
              </a:ext>
            </a:extLst>
          </p:cNvPr>
          <p:cNvSpPr txBox="1">
            <a:spLocks/>
          </p:cNvSpPr>
          <p:nvPr/>
        </p:nvSpPr>
        <p:spPr>
          <a:xfrm>
            <a:off x="5411729" y="1918403"/>
            <a:ext cx="4570203" cy="3205648"/>
          </a:xfrm>
          <a:prstGeom prst="rect">
            <a:avLst/>
          </a:prstGeom>
        </p:spPr>
        <p:txBody>
          <a:bodyPr vert="horz" lIns="96757" tIns="48378" rIns="96757" bIns="48378" rtlCol="0">
            <a:noAutofit/>
          </a:bodyPr>
          <a:lstStyle>
            <a:lvl1pPr marL="0" indent="0" algn="l" defTabSz="914400" rtl="0" eaLnBrk="1" latinLnBrk="0" hangingPunct="1">
              <a:lnSpc>
                <a:spcPts val="2400"/>
              </a:lnSpc>
              <a:spcBef>
                <a:spcPts val="0"/>
              </a:spcBef>
              <a:buFontTx/>
              <a:buNone/>
              <a:defRPr sz="2200" kern="1200">
                <a:solidFill>
                  <a:schemeClr val="tx1"/>
                </a:solidFill>
                <a:latin typeface="+mn-lt"/>
                <a:ea typeface="+mn-ea"/>
                <a:cs typeface="+mn-cs"/>
              </a:defRPr>
            </a:lvl1pPr>
            <a:lvl2pPr marL="914400" indent="-457200" algn="l" defTabSz="914400" rtl="0" eaLnBrk="1" latinLnBrk="0" hangingPunct="1">
              <a:lnSpc>
                <a:spcPts val="2100"/>
              </a:lnSpc>
              <a:spcBef>
                <a:spcPts val="500"/>
              </a:spcBef>
              <a:buFont typeface="+mj-lt"/>
              <a:buAutoNum type="arabicPeriod"/>
              <a:defRPr sz="1800" kern="1200">
                <a:solidFill>
                  <a:schemeClr val="tx1"/>
                </a:solidFill>
                <a:latin typeface="+mn-lt"/>
                <a:ea typeface="+mn-ea"/>
                <a:cs typeface="+mn-cs"/>
              </a:defRPr>
            </a:lvl2pPr>
            <a:lvl3pPr marL="1371600" indent="-457200" algn="l" defTabSz="914400" rtl="0" eaLnBrk="1" latinLnBrk="0" hangingPunct="1">
              <a:lnSpc>
                <a:spcPts val="2100"/>
              </a:lnSpc>
              <a:spcBef>
                <a:spcPts val="500"/>
              </a:spcBef>
              <a:buFont typeface="+mj-lt"/>
              <a:buAutoNum type="arabicPeriod"/>
              <a:defRPr sz="1600" kern="1200">
                <a:solidFill>
                  <a:schemeClr val="tx1"/>
                </a:solidFill>
                <a:latin typeface="+mn-lt"/>
                <a:ea typeface="+mn-ea"/>
                <a:cs typeface="+mn-cs"/>
              </a:defRPr>
            </a:lvl3pPr>
            <a:lvl4pPr marL="1828800" indent="-457200" algn="l" defTabSz="914400" rtl="0" eaLnBrk="1" latinLnBrk="0" hangingPunct="1">
              <a:lnSpc>
                <a:spcPts val="2100"/>
              </a:lnSpc>
              <a:spcBef>
                <a:spcPts val="500"/>
              </a:spcBef>
              <a:buFont typeface="+mj-lt"/>
              <a:buAutoNum type="arabicPeriod"/>
              <a:defRPr sz="1400" kern="1200">
                <a:solidFill>
                  <a:schemeClr val="tx1"/>
                </a:solidFill>
                <a:latin typeface="+mn-lt"/>
                <a:ea typeface="+mn-ea"/>
                <a:cs typeface="+mn-cs"/>
              </a:defRPr>
            </a:lvl4pPr>
            <a:lvl5pPr marL="2286000" indent="-457200" algn="l" defTabSz="914400" rtl="0" eaLnBrk="1" latinLnBrk="0" hangingPunct="1">
              <a:lnSpc>
                <a:spcPts val="2100"/>
              </a:lnSpc>
              <a:spcBef>
                <a:spcPts val="500"/>
              </a:spcBef>
              <a:buFont typeface="+mj-lt"/>
              <a:buAutoNum type="arabicPeriod"/>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2822" indent="-362822">
              <a:buFont typeface="Arial" panose="020B0604020202020204" pitchFamily="34" charset="0"/>
              <a:buChar char="•"/>
            </a:pPr>
            <a:r>
              <a:rPr lang="nl-NL" sz="2116">
                <a:solidFill>
                  <a:schemeClr val="tx2"/>
                </a:solidFill>
              </a:rPr>
              <a:t>Competent</a:t>
            </a:r>
          </a:p>
          <a:p>
            <a:pPr marL="362822" indent="-362822">
              <a:buFont typeface="Arial" panose="020B0604020202020204" pitchFamily="34" charset="0"/>
              <a:buChar char="•"/>
            </a:pPr>
            <a:r>
              <a:rPr lang="nl-NL" sz="2116">
                <a:solidFill>
                  <a:schemeClr val="tx2"/>
                </a:solidFill>
              </a:rPr>
              <a:t>Conflictbestendig</a:t>
            </a:r>
          </a:p>
          <a:p>
            <a:pPr marL="362822" indent="-362822">
              <a:buFont typeface="Arial" panose="020B0604020202020204" pitchFamily="34" charset="0"/>
              <a:buChar char="•"/>
            </a:pPr>
            <a:r>
              <a:rPr lang="nl-NL" sz="2116">
                <a:solidFill>
                  <a:schemeClr val="tx2"/>
                </a:solidFill>
              </a:rPr>
              <a:t>Goede voorzitter</a:t>
            </a:r>
          </a:p>
          <a:p>
            <a:pPr marL="362822" indent="-362822">
              <a:buFont typeface="Arial" panose="020B0604020202020204" pitchFamily="34" charset="0"/>
              <a:buChar char="•"/>
            </a:pPr>
            <a:r>
              <a:rPr lang="nl-NL" sz="2116">
                <a:solidFill>
                  <a:schemeClr val="tx2"/>
                </a:solidFill>
              </a:rPr>
              <a:t>Respect voor elkaar</a:t>
            </a:r>
          </a:p>
          <a:p>
            <a:pPr marL="362822" indent="-362822">
              <a:buFont typeface="Arial" panose="020B0604020202020204" pitchFamily="34" charset="0"/>
              <a:buChar char="•"/>
            </a:pPr>
            <a:r>
              <a:rPr lang="nl-NL" sz="2116">
                <a:solidFill>
                  <a:schemeClr val="tx2"/>
                </a:solidFill>
              </a:rPr>
              <a:t>Kwetsbaar</a:t>
            </a:r>
          </a:p>
          <a:p>
            <a:pPr marL="362822" indent="-362822">
              <a:buFont typeface="Arial" panose="020B0604020202020204" pitchFamily="34" charset="0"/>
              <a:buChar char="•"/>
            </a:pPr>
            <a:r>
              <a:rPr lang="nl-NL" sz="2116">
                <a:solidFill>
                  <a:schemeClr val="tx2"/>
                </a:solidFill>
              </a:rPr>
              <a:t>Rolvast</a:t>
            </a:r>
          </a:p>
          <a:p>
            <a:pPr marL="362822" indent="-362822">
              <a:buFont typeface="Arial" panose="020B0604020202020204" pitchFamily="34" charset="0"/>
              <a:buChar char="•"/>
            </a:pPr>
            <a:r>
              <a:rPr lang="nl-NL" sz="2116">
                <a:solidFill>
                  <a:schemeClr val="tx2"/>
                </a:solidFill>
              </a:rPr>
              <a:t>Eendracht </a:t>
            </a:r>
          </a:p>
          <a:p>
            <a:pPr marL="362822" indent="-362822">
              <a:buFont typeface="Arial" panose="020B0604020202020204" pitchFamily="34" charset="0"/>
              <a:buChar char="•"/>
            </a:pPr>
            <a:r>
              <a:rPr lang="nl-NL" sz="2116">
                <a:solidFill>
                  <a:schemeClr val="tx2"/>
                </a:solidFill>
              </a:rPr>
              <a:t>Daadkracht</a:t>
            </a:r>
          </a:p>
          <a:p>
            <a:pPr marL="362822" indent="-362822">
              <a:buFont typeface="Arial" panose="020B0604020202020204" pitchFamily="34" charset="0"/>
              <a:buChar char="•"/>
            </a:pPr>
            <a:r>
              <a:rPr lang="nl-NL" sz="2116">
                <a:solidFill>
                  <a:schemeClr val="tx2"/>
                </a:solidFill>
              </a:rPr>
              <a:t>???</a:t>
            </a:r>
          </a:p>
          <a:p>
            <a:pPr marL="362822" indent="-362822">
              <a:buFont typeface="Arial" panose="020B0604020202020204" pitchFamily="34" charset="0"/>
              <a:buChar char="•"/>
            </a:pPr>
            <a:endParaRPr lang="nl-NL" sz="2116">
              <a:solidFill>
                <a:schemeClr val="tx2"/>
              </a:solidFill>
            </a:endParaRPr>
          </a:p>
        </p:txBody>
      </p:sp>
    </p:spTree>
    <p:extLst>
      <p:ext uri="{BB962C8B-B14F-4D97-AF65-F5344CB8AC3E}">
        <p14:creationId xmlns:p14="http://schemas.microsoft.com/office/powerpoint/2010/main" val="149558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85975-167A-4E31-928A-5444EA124F33}"/>
              </a:ext>
            </a:extLst>
          </p:cNvPr>
          <p:cNvSpPr>
            <a:spLocks noGrp="1"/>
          </p:cNvSpPr>
          <p:nvPr>
            <p:ph type="title"/>
          </p:nvPr>
        </p:nvSpPr>
        <p:spPr/>
        <p:txBody>
          <a:bodyPr>
            <a:normAutofit/>
          </a:bodyPr>
          <a:lstStyle/>
          <a:p>
            <a:r>
              <a:rPr lang="nl-NL">
                <a:solidFill>
                  <a:schemeClr val="tx2"/>
                </a:solidFill>
              </a:rPr>
              <a:t>De 5 V’s van Leiderschap</a:t>
            </a:r>
          </a:p>
        </p:txBody>
      </p:sp>
      <p:sp>
        <p:nvSpPr>
          <p:cNvPr id="4" name="Slide Number Placeholder 3">
            <a:extLst>
              <a:ext uri="{FF2B5EF4-FFF2-40B4-BE49-F238E27FC236}">
                <a16:creationId xmlns:a16="http://schemas.microsoft.com/office/drawing/2014/main" id="{3314588A-F894-45A7-8631-9C0164A5E052}"/>
              </a:ext>
            </a:extLst>
          </p:cNvPr>
          <p:cNvSpPr>
            <a:spLocks noGrp="1"/>
          </p:cNvSpPr>
          <p:nvPr>
            <p:ph type="sldNum" sz="quarter" idx="12"/>
          </p:nvPr>
        </p:nvSpPr>
        <p:spPr/>
        <p:txBody>
          <a:bodyPr/>
          <a:lstStyle/>
          <a:p>
            <a:pPr algn="ctr" defTabSz="967527">
              <a:defRPr/>
            </a:pPr>
            <a:fld id="{34A0F559-C120-4789-B420-3451E346105D}" type="slidenum">
              <a:rPr lang="en-US" sz="1058">
                <a:solidFill>
                  <a:srgbClr val="1F497D"/>
                </a:solidFill>
                <a:latin typeface="Calibri" panose="020F0502020204030204"/>
              </a:rPr>
              <a:pPr algn="ctr" defTabSz="967527">
                <a:defRPr/>
              </a:pPr>
              <a:t>25</a:t>
            </a:fld>
            <a:endParaRPr lang="en-US" sz="1058">
              <a:solidFill>
                <a:srgbClr val="1F497D"/>
              </a:solidFill>
              <a:latin typeface="Calibri" panose="020F0502020204030204"/>
            </a:endParaRPr>
          </a:p>
        </p:txBody>
      </p:sp>
      <p:grpSp>
        <p:nvGrpSpPr>
          <p:cNvPr id="25" name="Groep 24">
            <a:extLst>
              <a:ext uri="{FF2B5EF4-FFF2-40B4-BE49-F238E27FC236}">
                <a16:creationId xmlns:a16="http://schemas.microsoft.com/office/drawing/2014/main" id="{DDA68CB3-E9D4-813B-CC0C-6B36237127C5}"/>
              </a:ext>
            </a:extLst>
          </p:cNvPr>
          <p:cNvGrpSpPr/>
          <p:nvPr/>
        </p:nvGrpSpPr>
        <p:grpSpPr>
          <a:xfrm>
            <a:off x="2595059" y="1600327"/>
            <a:ext cx="7158289" cy="4470267"/>
            <a:chOff x="2426374" y="1751854"/>
            <a:chExt cx="6617144" cy="3984676"/>
          </a:xfrm>
        </p:grpSpPr>
        <p:sp>
          <p:nvSpPr>
            <p:cNvPr id="8" name="Ovaal 7">
              <a:extLst>
                <a:ext uri="{FF2B5EF4-FFF2-40B4-BE49-F238E27FC236}">
                  <a16:creationId xmlns:a16="http://schemas.microsoft.com/office/drawing/2014/main" id="{E26478D5-D4D4-B375-0304-E2A785A3069D}"/>
                </a:ext>
              </a:extLst>
            </p:cNvPr>
            <p:cNvSpPr/>
            <p:nvPr/>
          </p:nvSpPr>
          <p:spPr>
            <a:xfrm>
              <a:off x="2426374" y="1751854"/>
              <a:ext cx="2088705" cy="20887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r>
                <a:rPr lang="nl-NL" sz="2116" b="1">
                  <a:solidFill>
                    <a:srgbClr val="FFFFFF"/>
                  </a:solidFill>
                  <a:latin typeface="Calibri" panose="020F0502020204030204"/>
                </a:rPr>
                <a:t>Visie</a:t>
              </a:r>
            </a:p>
          </p:txBody>
        </p:sp>
        <p:sp>
          <p:nvSpPr>
            <p:cNvPr id="9" name="Ovaal 8">
              <a:extLst>
                <a:ext uri="{FF2B5EF4-FFF2-40B4-BE49-F238E27FC236}">
                  <a16:creationId xmlns:a16="http://schemas.microsoft.com/office/drawing/2014/main" id="{F4F9FC79-C061-47FF-6F33-8B46BC0CA8DB}"/>
                </a:ext>
              </a:extLst>
            </p:cNvPr>
            <p:cNvSpPr/>
            <p:nvPr/>
          </p:nvSpPr>
          <p:spPr>
            <a:xfrm>
              <a:off x="4690593" y="1751854"/>
              <a:ext cx="2088705" cy="20887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r>
                <a:rPr lang="nl-NL" sz="2116" b="1">
                  <a:solidFill>
                    <a:srgbClr val="FFFFFF"/>
                  </a:solidFill>
                  <a:latin typeface="Calibri" panose="020F0502020204030204"/>
                </a:rPr>
                <a:t>Veiligheid</a:t>
              </a:r>
            </a:p>
          </p:txBody>
        </p:sp>
        <p:sp>
          <p:nvSpPr>
            <p:cNvPr id="10" name="Ovaal 9">
              <a:extLst>
                <a:ext uri="{FF2B5EF4-FFF2-40B4-BE49-F238E27FC236}">
                  <a16:creationId xmlns:a16="http://schemas.microsoft.com/office/drawing/2014/main" id="{E00496CF-FA6C-3B75-30F3-F7EA082CC718}"/>
                </a:ext>
              </a:extLst>
            </p:cNvPr>
            <p:cNvSpPr/>
            <p:nvPr/>
          </p:nvSpPr>
          <p:spPr>
            <a:xfrm>
              <a:off x="6954813" y="1751854"/>
              <a:ext cx="2088705" cy="20887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67527">
                <a:defRPr/>
              </a:pPr>
              <a:r>
                <a:rPr lang="nl-NL" sz="2116" b="1">
                  <a:solidFill>
                    <a:srgbClr val="FFFFFF"/>
                  </a:solidFill>
                  <a:latin typeface="Calibri" panose="020F0502020204030204"/>
                </a:rPr>
                <a:t>Vertrouwen</a:t>
              </a:r>
            </a:p>
          </p:txBody>
        </p:sp>
        <p:sp>
          <p:nvSpPr>
            <p:cNvPr id="11" name="Ovaal 10">
              <a:extLst>
                <a:ext uri="{FF2B5EF4-FFF2-40B4-BE49-F238E27FC236}">
                  <a16:creationId xmlns:a16="http://schemas.microsoft.com/office/drawing/2014/main" id="{977FFCB7-A9B9-7535-92EB-88F3785E4F5F}"/>
                </a:ext>
              </a:extLst>
            </p:cNvPr>
            <p:cNvSpPr/>
            <p:nvPr/>
          </p:nvSpPr>
          <p:spPr>
            <a:xfrm>
              <a:off x="3496817" y="3647825"/>
              <a:ext cx="2088705" cy="20887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67527">
                <a:defRPr/>
              </a:pPr>
              <a:r>
                <a:rPr lang="nl-NL" sz="2116" b="1">
                  <a:solidFill>
                    <a:srgbClr val="FFFFFF"/>
                  </a:solidFill>
                  <a:latin typeface="Calibri" panose="020F0502020204030204"/>
                </a:rPr>
                <a:t>Verbinding</a:t>
              </a:r>
              <a:endParaRPr lang="nl-NL" sz="2116">
                <a:solidFill>
                  <a:srgbClr val="FFFFFF"/>
                </a:solidFill>
                <a:latin typeface="Calibri" panose="020F0502020204030204"/>
              </a:endParaRPr>
            </a:p>
          </p:txBody>
        </p:sp>
        <p:sp>
          <p:nvSpPr>
            <p:cNvPr id="12" name="Ovaal 11">
              <a:extLst>
                <a:ext uri="{FF2B5EF4-FFF2-40B4-BE49-F238E27FC236}">
                  <a16:creationId xmlns:a16="http://schemas.microsoft.com/office/drawing/2014/main" id="{32B0C22B-46E5-4AD9-A378-B8B1B03A1B66}"/>
                </a:ext>
              </a:extLst>
            </p:cNvPr>
            <p:cNvSpPr/>
            <p:nvPr/>
          </p:nvSpPr>
          <p:spPr>
            <a:xfrm>
              <a:off x="5761037" y="3647825"/>
              <a:ext cx="2088705" cy="20887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67527">
                <a:defRPr/>
              </a:pPr>
              <a:r>
                <a:rPr lang="nl-NL" sz="2116" b="1">
                  <a:solidFill>
                    <a:srgbClr val="FFFFFF"/>
                  </a:solidFill>
                  <a:latin typeface="Calibri" panose="020F0502020204030204"/>
                </a:rPr>
                <a:t>Verantwoordelijk-</a:t>
              </a:r>
            </a:p>
            <a:p>
              <a:pPr algn="ctr" defTabSz="967527">
                <a:defRPr/>
              </a:pPr>
              <a:r>
                <a:rPr lang="nl-NL" sz="2116" b="1" err="1">
                  <a:solidFill>
                    <a:srgbClr val="FFFFFF"/>
                  </a:solidFill>
                  <a:latin typeface="Calibri" panose="020F0502020204030204"/>
                </a:rPr>
                <a:t>heid</a:t>
              </a:r>
              <a:endParaRPr lang="nl-NL" sz="2116" b="1">
                <a:solidFill>
                  <a:srgbClr val="FFFFFF"/>
                </a:solidFill>
                <a:latin typeface="Calibri" panose="020F0502020204030204"/>
              </a:endParaRPr>
            </a:p>
          </p:txBody>
        </p:sp>
        <p:sp>
          <p:nvSpPr>
            <p:cNvPr id="16" name="Tekstvak 15">
              <a:extLst>
                <a:ext uri="{FF2B5EF4-FFF2-40B4-BE49-F238E27FC236}">
                  <a16:creationId xmlns:a16="http://schemas.microsoft.com/office/drawing/2014/main" id="{7F839323-A8C4-D742-8EBA-31DFB3459597}"/>
                </a:ext>
              </a:extLst>
            </p:cNvPr>
            <p:cNvSpPr txBox="1"/>
            <p:nvPr/>
          </p:nvSpPr>
          <p:spPr>
            <a:xfrm>
              <a:off x="3295754" y="2129560"/>
              <a:ext cx="349943" cy="314525"/>
            </a:xfrm>
            <a:prstGeom prst="rect">
              <a:avLst/>
            </a:prstGeom>
            <a:noFill/>
          </p:spPr>
          <p:txBody>
            <a:bodyPr wrap="square" rtlCol="0">
              <a:spAutoFit/>
            </a:bodyPr>
            <a:lstStyle/>
            <a:p>
              <a:pPr algn="ctr" defTabSz="967527">
                <a:defRPr/>
              </a:pPr>
              <a:r>
                <a:rPr lang="nl-NL" sz="1693" b="1">
                  <a:solidFill>
                    <a:srgbClr val="FFFFFF"/>
                  </a:solidFill>
                  <a:latin typeface="Calibri" panose="020F0502020204030204"/>
                </a:rPr>
                <a:t>1</a:t>
              </a:r>
            </a:p>
          </p:txBody>
        </p:sp>
        <p:sp>
          <p:nvSpPr>
            <p:cNvPr id="17" name="Tekstvak 16">
              <a:extLst>
                <a:ext uri="{FF2B5EF4-FFF2-40B4-BE49-F238E27FC236}">
                  <a16:creationId xmlns:a16="http://schemas.microsoft.com/office/drawing/2014/main" id="{698E85CC-809A-9F61-AD61-CE6F051B50A1}"/>
                </a:ext>
              </a:extLst>
            </p:cNvPr>
            <p:cNvSpPr txBox="1"/>
            <p:nvPr/>
          </p:nvSpPr>
          <p:spPr>
            <a:xfrm>
              <a:off x="5592041" y="2129560"/>
              <a:ext cx="349943" cy="314525"/>
            </a:xfrm>
            <a:prstGeom prst="rect">
              <a:avLst/>
            </a:prstGeom>
            <a:noFill/>
          </p:spPr>
          <p:txBody>
            <a:bodyPr wrap="square" rtlCol="0">
              <a:spAutoFit/>
            </a:bodyPr>
            <a:lstStyle/>
            <a:p>
              <a:pPr algn="ctr" defTabSz="967527">
                <a:defRPr/>
              </a:pPr>
              <a:r>
                <a:rPr lang="nl-NL" sz="1693" b="1">
                  <a:solidFill>
                    <a:srgbClr val="FFFFFF"/>
                  </a:solidFill>
                  <a:latin typeface="Calibri" panose="020F0502020204030204"/>
                </a:rPr>
                <a:t>2</a:t>
              </a:r>
            </a:p>
          </p:txBody>
        </p:sp>
        <p:sp>
          <p:nvSpPr>
            <p:cNvPr id="18" name="Tekstvak 17">
              <a:extLst>
                <a:ext uri="{FF2B5EF4-FFF2-40B4-BE49-F238E27FC236}">
                  <a16:creationId xmlns:a16="http://schemas.microsoft.com/office/drawing/2014/main" id="{11D81C2D-E7A9-FB29-488F-76AA1EA5EBAC}"/>
                </a:ext>
              </a:extLst>
            </p:cNvPr>
            <p:cNvSpPr txBox="1"/>
            <p:nvPr/>
          </p:nvSpPr>
          <p:spPr>
            <a:xfrm>
              <a:off x="7811784" y="2129560"/>
              <a:ext cx="349943" cy="314525"/>
            </a:xfrm>
            <a:prstGeom prst="rect">
              <a:avLst/>
            </a:prstGeom>
            <a:noFill/>
          </p:spPr>
          <p:txBody>
            <a:bodyPr wrap="square" rtlCol="0">
              <a:spAutoFit/>
            </a:bodyPr>
            <a:lstStyle/>
            <a:p>
              <a:pPr algn="ctr" defTabSz="967527">
                <a:defRPr/>
              </a:pPr>
              <a:r>
                <a:rPr lang="nl-NL" sz="1693" b="1">
                  <a:solidFill>
                    <a:srgbClr val="FFFFFF"/>
                  </a:solidFill>
                  <a:latin typeface="Calibri" panose="020F0502020204030204"/>
                </a:rPr>
                <a:t>3</a:t>
              </a:r>
            </a:p>
          </p:txBody>
        </p:sp>
        <p:sp>
          <p:nvSpPr>
            <p:cNvPr id="19" name="Tekstvak 18">
              <a:extLst>
                <a:ext uri="{FF2B5EF4-FFF2-40B4-BE49-F238E27FC236}">
                  <a16:creationId xmlns:a16="http://schemas.microsoft.com/office/drawing/2014/main" id="{6CB5F314-FB99-9CED-C70B-2F9965265A76}"/>
                </a:ext>
              </a:extLst>
            </p:cNvPr>
            <p:cNvSpPr txBox="1"/>
            <p:nvPr/>
          </p:nvSpPr>
          <p:spPr>
            <a:xfrm>
              <a:off x="4363986" y="4025531"/>
              <a:ext cx="349943" cy="314525"/>
            </a:xfrm>
            <a:prstGeom prst="rect">
              <a:avLst/>
            </a:prstGeom>
            <a:noFill/>
          </p:spPr>
          <p:txBody>
            <a:bodyPr wrap="square" rtlCol="0">
              <a:spAutoFit/>
            </a:bodyPr>
            <a:lstStyle/>
            <a:p>
              <a:pPr algn="ctr" defTabSz="967527">
                <a:defRPr/>
              </a:pPr>
              <a:r>
                <a:rPr lang="nl-NL" sz="1693" b="1">
                  <a:solidFill>
                    <a:srgbClr val="FFFFFF"/>
                  </a:solidFill>
                  <a:latin typeface="Calibri" panose="020F0502020204030204"/>
                </a:rPr>
                <a:t>4</a:t>
              </a:r>
            </a:p>
          </p:txBody>
        </p:sp>
        <p:sp>
          <p:nvSpPr>
            <p:cNvPr id="20" name="Tekstvak 19">
              <a:extLst>
                <a:ext uri="{FF2B5EF4-FFF2-40B4-BE49-F238E27FC236}">
                  <a16:creationId xmlns:a16="http://schemas.microsoft.com/office/drawing/2014/main" id="{0FA023EE-5E72-05FF-0283-64DB7874577E}"/>
                </a:ext>
              </a:extLst>
            </p:cNvPr>
            <p:cNvSpPr txBox="1"/>
            <p:nvPr/>
          </p:nvSpPr>
          <p:spPr>
            <a:xfrm>
              <a:off x="6638402" y="4025531"/>
              <a:ext cx="349943" cy="314525"/>
            </a:xfrm>
            <a:prstGeom prst="rect">
              <a:avLst/>
            </a:prstGeom>
            <a:noFill/>
          </p:spPr>
          <p:txBody>
            <a:bodyPr wrap="square" rtlCol="0">
              <a:spAutoFit/>
            </a:bodyPr>
            <a:lstStyle/>
            <a:p>
              <a:pPr algn="ctr" defTabSz="967527">
                <a:defRPr/>
              </a:pPr>
              <a:r>
                <a:rPr lang="nl-NL" sz="1693" b="1">
                  <a:solidFill>
                    <a:srgbClr val="FFFFFF"/>
                  </a:solidFill>
                  <a:latin typeface="Calibri" panose="020F0502020204030204"/>
                </a:rPr>
                <a:t>5</a:t>
              </a:r>
            </a:p>
          </p:txBody>
        </p:sp>
      </p:grpSp>
    </p:spTree>
    <p:extLst>
      <p:ext uri="{BB962C8B-B14F-4D97-AF65-F5344CB8AC3E}">
        <p14:creationId xmlns:p14="http://schemas.microsoft.com/office/powerpoint/2010/main" val="79324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A90720-E4CC-5899-0956-8F31252A3EB5}"/>
              </a:ext>
            </a:extLst>
          </p:cNvPr>
          <p:cNvSpPr>
            <a:spLocks noGrp="1"/>
          </p:cNvSpPr>
          <p:nvPr>
            <p:ph type="title"/>
          </p:nvPr>
        </p:nvSpPr>
        <p:spPr>
          <a:xfrm>
            <a:off x="609601" y="386526"/>
            <a:ext cx="10478955" cy="777979"/>
          </a:xfrm>
        </p:spPr>
        <p:txBody>
          <a:bodyPr/>
          <a:lstStyle/>
          <a:p>
            <a:r>
              <a:rPr lang="nl-NL"/>
              <a:t>Kenmerken van een goede toezichthouder</a:t>
            </a:r>
          </a:p>
        </p:txBody>
      </p:sp>
      <p:sp>
        <p:nvSpPr>
          <p:cNvPr id="3" name="Tijdelijke aanduiding voor inhoud 2">
            <a:extLst>
              <a:ext uri="{FF2B5EF4-FFF2-40B4-BE49-F238E27FC236}">
                <a16:creationId xmlns:a16="http://schemas.microsoft.com/office/drawing/2014/main" id="{906B013C-4422-2816-818E-5618B9763B48}"/>
              </a:ext>
            </a:extLst>
          </p:cNvPr>
          <p:cNvSpPr>
            <a:spLocks noGrp="1"/>
          </p:cNvSpPr>
          <p:nvPr>
            <p:ph idx="1"/>
          </p:nvPr>
        </p:nvSpPr>
        <p:spPr>
          <a:xfrm>
            <a:off x="623393" y="1066963"/>
            <a:ext cx="10465163" cy="4535809"/>
          </a:xfrm>
        </p:spPr>
        <p:txBody>
          <a:bodyPr>
            <a:normAutofit fontScale="85000" lnSpcReduction="20000"/>
          </a:bodyPr>
          <a:lstStyle/>
          <a:p>
            <a:pPr marL="362822" indent="-362822">
              <a:lnSpc>
                <a:spcPct val="150000"/>
              </a:lnSpc>
            </a:pPr>
            <a:r>
              <a:rPr lang="nl-NL" sz="2116">
                <a:solidFill>
                  <a:schemeClr val="tx2"/>
                </a:solidFill>
              </a:rPr>
              <a:t>Overzicht (helikopterview)</a:t>
            </a:r>
          </a:p>
          <a:p>
            <a:pPr marL="362822" indent="-362822">
              <a:lnSpc>
                <a:spcPct val="150000"/>
              </a:lnSpc>
            </a:pPr>
            <a:r>
              <a:rPr lang="nl-NL" sz="2116">
                <a:solidFill>
                  <a:schemeClr val="tx2"/>
                </a:solidFill>
              </a:rPr>
              <a:t>Kennis van het bedrijf en de branche</a:t>
            </a:r>
          </a:p>
          <a:p>
            <a:pPr marL="362822" indent="-362822">
              <a:lnSpc>
                <a:spcPct val="150000"/>
              </a:lnSpc>
            </a:pPr>
            <a:r>
              <a:rPr lang="nl-NL" sz="2116">
                <a:solidFill>
                  <a:schemeClr val="tx2"/>
                </a:solidFill>
              </a:rPr>
              <a:t>Leiderschapscompetenties </a:t>
            </a:r>
          </a:p>
          <a:p>
            <a:pPr marL="362822" indent="-362822">
              <a:lnSpc>
                <a:spcPct val="150000"/>
              </a:lnSpc>
            </a:pPr>
            <a:r>
              <a:rPr lang="nl-NL" sz="2116">
                <a:solidFill>
                  <a:schemeClr val="tx2"/>
                </a:solidFill>
              </a:rPr>
              <a:t>Vasthoudend</a:t>
            </a:r>
          </a:p>
          <a:p>
            <a:pPr marL="362822" indent="-362822">
              <a:lnSpc>
                <a:spcPct val="150000"/>
              </a:lnSpc>
            </a:pPr>
            <a:r>
              <a:rPr lang="nl-NL" sz="2116">
                <a:solidFill>
                  <a:schemeClr val="tx2"/>
                </a:solidFill>
              </a:rPr>
              <a:t>Nieuwsgierig/leervermogen</a:t>
            </a:r>
          </a:p>
          <a:p>
            <a:pPr marL="362822" indent="-362822">
              <a:lnSpc>
                <a:spcPct val="150000"/>
              </a:lnSpc>
            </a:pPr>
            <a:r>
              <a:rPr lang="nl-NL" sz="2116">
                <a:solidFill>
                  <a:schemeClr val="tx2"/>
                </a:solidFill>
              </a:rPr>
              <a:t>Doortastend (niet te, maar als het nodig is)</a:t>
            </a:r>
          </a:p>
          <a:p>
            <a:pPr marL="362822" indent="-362822">
              <a:lnSpc>
                <a:spcPct val="150000"/>
              </a:lnSpc>
            </a:pPr>
            <a:r>
              <a:rPr lang="nl-NL" sz="2116">
                <a:solidFill>
                  <a:schemeClr val="tx2"/>
                </a:solidFill>
              </a:rPr>
              <a:t>Onafhankelijk</a:t>
            </a:r>
          </a:p>
          <a:p>
            <a:pPr marL="362822" indent="-362822">
              <a:lnSpc>
                <a:spcPct val="150000"/>
              </a:lnSpc>
            </a:pPr>
            <a:r>
              <a:rPr lang="nl-NL" sz="2116">
                <a:solidFill>
                  <a:schemeClr val="tx2"/>
                </a:solidFill>
              </a:rPr>
              <a:t>Kritisch </a:t>
            </a:r>
          </a:p>
          <a:p>
            <a:pPr marL="362822" indent="-362822">
              <a:lnSpc>
                <a:spcPct val="150000"/>
              </a:lnSpc>
            </a:pPr>
            <a:r>
              <a:rPr lang="nl-NL" sz="2116">
                <a:solidFill>
                  <a:schemeClr val="tx2"/>
                </a:solidFill>
              </a:rPr>
              <a:t>Tijd beschikbaar</a:t>
            </a:r>
          </a:p>
          <a:p>
            <a:pPr marL="362822" indent="-362822">
              <a:lnSpc>
                <a:spcPct val="150000"/>
              </a:lnSpc>
            </a:pPr>
            <a:endParaRPr lang="nl-NL" sz="2116">
              <a:solidFill>
                <a:schemeClr val="tx2"/>
              </a:solidFill>
            </a:endParaRPr>
          </a:p>
          <a:p>
            <a:pPr marL="362822" indent="-362822">
              <a:lnSpc>
                <a:spcPct val="150000"/>
              </a:lnSpc>
            </a:pPr>
            <a:endParaRPr lang="nl-NL" sz="2116">
              <a:solidFill>
                <a:schemeClr val="tx2"/>
              </a:solidFill>
            </a:endParaRPr>
          </a:p>
        </p:txBody>
      </p:sp>
    </p:spTree>
    <p:extLst>
      <p:ext uri="{BB962C8B-B14F-4D97-AF65-F5344CB8AC3E}">
        <p14:creationId xmlns:p14="http://schemas.microsoft.com/office/powerpoint/2010/main" val="246189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D7F679-5F90-2179-B562-9DB9BCA2D6D2}"/>
              </a:ext>
            </a:extLst>
          </p:cNvPr>
          <p:cNvSpPr>
            <a:spLocks noGrp="1"/>
          </p:cNvSpPr>
          <p:nvPr>
            <p:ph type="title"/>
          </p:nvPr>
        </p:nvSpPr>
        <p:spPr>
          <a:xfrm>
            <a:off x="616497" y="457406"/>
            <a:ext cx="10478955" cy="777979"/>
          </a:xfrm>
        </p:spPr>
        <p:txBody>
          <a:bodyPr/>
          <a:lstStyle/>
          <a:p>
            <a:r>
              <a:rPr lang="nl-NL"/>
              <a:t>Hoe doe je het?</a:t>
            </a:r>
          </a:p>
        </p:txBody>
      </p:sp>
      <p:sp>
        <p:nvSpPr>
          <p:cNvPr id="3" name="Tijdelijke aanduiding voor inhoud 2">
            <a:extLst>
              <a:ext uri="{FF2B5EF4-FFF2-40B4-BE49-F238E27FC236}">
                <a16:creationId xmlns:a16="http://schemas.microsoft.com/office/drawing/2014/main" id="{024DC071-C1FA-3E3A-7182-8A3149C92571}"/>
              </a:ext>
            </a:extLst>
          </p:cNvPr>
          <p:cNvSpPr>
            <a:spLocks noGrp="1"/>
          </p:cNvSpPr>
          <p:nvPr>
            <p:ph idx="1"/>
          </p:nvPr>
        </p:nvSpPr>
        <p:spPr>
          <a:xfrm>
            <a:off x="582471" y="990768"/>
            <a:ext cx="10465163" cy="4535809"/>
          </a:xfrm>
        </p:spPr>
        <p:txBody>
          <a:bodyPr>
            <a:normAutofit fontScale="77500" lnSpcReduction="20000"/>
          </a:bodyPr>
          <a:lstStyle/>
          <a:p>
            <a:pPr marL="362822" indent="-362822">
              <a:lnSpc>
                <a:spcPct val="150000"/>
              </a:lnSpc>
            </a:pPr>
            <a:r>
              <a:rPr lang="nl-NL" sz="2116">
                <a:solidFill>
                  <a:schemeClr val="tx2"/>
                </a:solidFill>
              </a:rPr>
              <a:t>Toezichtvisie ontwikkelen</a:t>
            </a:r>
          </a:p>
          <a:p>
            <a:pPr marL="362822" indent="-362822">
              <a:lnSpc>
                <a:spcPct val="150000"/>
              </a:lnSpc>
            </a:pPr>
            <a:r>
              <a:rPr lang="nl-NL" sz="2116">
                <a:solidFill>
                  <a:schemeClr val="tx2"/>
                </a:solidFill>
              </a:rPr>
              <a:t>Informatieprotocol opstellen</a:t>
            </a:r>
          </a:p>
          <a:p>
            <a:pPr marL="362822" indent="-362822">
              <a:lnSpc>
                <a:spcPct val="150000"/>
              </a:lnSpc>
            </a:pPr>
            <a:r>
              <a:rPr lang="nl-NL" sz="2116">
                <a:solidFill>
                  <a:schemeClr val="tx2"/>
                </a:solidFill>
              </a:rPr>
              <a:t>Verwachtingenmanagement (</a:t>
            </a:r>
            <a:r>
              <a:rPr lang="nl-NL" sz="2116" err="1">
                <a:solidFill>
                  <a:schemeClr val="tx2"/>
                </a:solidFill>
              </a:rPr>
              <a:t>you</a:t>
            </a:r>
            <a:r>
              <a:rPr lang="nl-NL" sz="2116">
                <a:solidFill>
                  <a:schemeClr val="tx2"/>
                </a:solidFill>
              </a:rPr>
              <a:t> get </a:t>
            </a:r>
            <a:r>
              <a:rPr lang="nl-NL" sz="2116" err="1">
                <a:solidFill>
                  <a:schemeClr val="tx2"/>
                </a:solidFill>
              </a:rPr>
              <a:t>what</a:t>
            </a:r>
            <a:r>
              <a:rPr lang="nl-NL" sz="2116">
                <a:solidFill>
                  <a:schemeClr val="tx2"/>
                </a:solidFill>
              </a:rPr>
              <a:t> </a:t>
            </a:r>
            <a:r>
              <a:rPr lang="nl-NL" sz="2116" err="1">
                <a:solidFill>
                  <a:schemeClr val="tx2"/>
                </a:solidFill>
              </a:rPr>
              <a:t>you</a:t>
            </a:r>
            <a:r>
              <a:rPr lang="nl-NL" sz="2116">
                <a:solidFill>
                  <a:schemeClr val="tx2"/>
                </a:solidFill>
              </a:rPr>
              <a:t> </a:t>
            </a:r>
            <a:r>
              <a:rPr lang="nl-NL" sz="2116" err="1">
                <a:solidFill>
                  <a:schemeClr val="tx2"/>
                </a:solidFill>
              </a:rPr>
              <a:t>inspect</a:t>
            </a:r>
            <a:r>
              <a:rPr lang="nl-NL" sz="2116">
                <a:solidFill>
                  <a:schemeClr val="tx2"/>
                </a:solidFill>
              </a:rPr>
              <a:t> </a:t>
            </a:r>
            <a:r>
              <a:rPr lang="nl-NL" sz="2116" err="1">
                <a:solidFill>
                  <a:schemeClr val="tx2"/>
                </a:solidFill>
              </a:rPr>
              <a:t>not</a:t>
            </a:r>
            <a:r>
              <a:rPr lang="nl-NL" sz="2116">
                <a:solidFill>
                  <a:schemeClr val="tx2"/>
                </a:solidFill>
              </a:rPr>
              <a:t> </a:t>
            </a:r>
            <a:r>
              <a:rPr lang="nl-NL" sz="2116" err="1">
                <a:solidFill>
                  <a:schemeClr val="tx2"/>
                </a:solidFill>
              </a:rPr>
              <a:t>what</a:t>
            </a:r>
            <a:r>
              <a:rPr lang="nl-NL" sz="2116">
                <a:solidFill>
                  <a:schemeClr val="tx2"/>
                </a:solidFill>
              </a:rPr>
              <a:t> </a:t>
            </a:r>
            <a:r>
              <a:rPr lang="nl-NL" sz="2116" err="1">
                <a:solidFill>
                  <a:schemeClr val="tx2"/>
                </a:solidFill>
              </a:rPr>
              <a:t>you</a:t>
            </a:r>
            <a:r>
              <a:rPr lang="nl-NL" sz="2116">
                <a:solidFill>
                  <a:schemeClr val="tx2"/>
                </a:solidFill>
              </a:rPr>
              <a:t> </a:t>
            </a:r>
            <a:r>
              <a:rPr lang="nl-NL" sz="2116" err="1">
                <a:solidFill>
                  <a:schemeClr val="tx2"/>
                </a:solidFill>
              </a:rPr>
              <a:t>expect</a:t>
            </a:r>
            <a:r>
              <a:rPr lang="nl-NL" sz="2116">
                <a:solidFill>
                  <a:schemeClr val="tx2"/>
                </a:solidFill>
              </a:rPr>
              <a:t>!)</a:t>
            </a:r>
          </a:p>
          <a:p>
            <a:pPr marL="362822" indent="-362822">
              <a:lnSpc>
                <a:spcPct val="150000"/>
              </a:lnSpc>
            </a:pPr>
            <a:r>
              <a:rPr lang="nl-NL" sz="2116">
                <a:solidFill>
                  <a:schemeClr val="tx2"/>
                </a:solidFill>
              </a:rPr>
              <a:t>Vergaderorde (secretarisrol)</a:t>
            </a:r>
          </a:p>
          <a:p>
            <a:pPr marL="362822" indent="-362822">
              <a:lnSpc>
                <a:spcPct val="150000"/>
              </a:lnSpc>
            </a:pPr>
            <a:r>
              <a:rPr lang="nl-NL" sz="2116">
                <a:solidFill>
                  <a:schemeClr val="tx2"/>
                </a:solidFill>
              </a:rPr>
              <a:t>The Chairman </a:t>
            </a:r>
            <a:r>
              <a:rPr lang="nl-NL" sz="2116" err="1">
                <a:solidFill>
                  <a:schemeClr val="tx2"/>
                </a:solidFill>
              </a:rPr>
              <a:t>makes</a:t>
            </a:r>
            <a:r>
              <a:rPr lang="nl-NL" sz="2116">
                <a:solidFill>
                  <a:schemeClr val="tx2"/>
                </a:solidFill>
              </a:rPr>
              <a:t> or </a:t>
            </a:r>
            <a:r>
              <a:rPr lang="nl-NL" sz="2116" err="1">
                <a:solidFill>
                  <a:schemeClr val="tx2"/>
                </a:solidFill>
              </a:rPr>
              <a:t>brakes</a:t>
            </a:r>
            <a:r>
              <a:rPr lang="nl-NL" sz="2116">
                <a:solidFill>
                  <a:schemeClr val="tx2"/>
                </a:solidFill>
              </a:rPr>
              <a:t> </a:t>
            </a:r>
            <a:r>
              <a:rPr lang="nl-NL" sz="2116" err="1">
                <a:solidFill>
                  <a:schemeClr val="tx2"/>
                </a:solidFill>
              </a:rPr>
              <a:t>the</a:t>
            </a:r>
            <a:r>
              <a:rPr lang="nl-NL" sz="2116">
                <a:solidFill>
                  <a:schemeClr val="tx2"/>
                </a:solidFill>
              </a:rPr>
              <a:t> Board</a:t>
            </a:r>
          </a:p>
          <a:p>
            <a:pPr marL="362822" indent="-362822">
              <a:lnSpc>
                <a:spcPct val="150000"/>
              </a:lnSpc>
            </a:pPr>
            <a:r>
              <a:rPr lang="nl-NL" sz="2116">
                <a:solidFill>
                  <a:schemeClr val="tx2"/>
                </a:solidFill>
              </a:rPr>
              <a:t>(</a:t>
            </a:r>
            <a:r>
              <a:rPr lang="nl-NL" sz="2116" err="1">
                <a:solidFill>
                  <a:schemeClr val="tx2"/>
                </a:solidFill>
              </a:rPr>
              <a:t>Veeeeel</a:t>
            </a:r>
            <a:r>
              <a:rPr lang="nl-NL" sz="2116">
                <a:solidFill>
                  <a:schemeClr val="tx2"/>
                </a:solidFill>
              </a:rPr>
              <a:t>) lezen</a:t>
            </a:r>
          </a:p>
          <a:p>
            <a:pPr marL="362822" indent="-362822">
              <a:lnSpc>
                <a:spcPct val="150000"/>
              </a:lnSpc>
            </a:pPr>
            <a:r>
              <a:rPr lang="nl-NL" sz="2116">
                <a:solidFill>
                  <a:schemeClr val="tx2"/>
                </a:solidFill>
              </a:rPr>
              <a:t>Vragen stellen</a:t>
            </a:r>
          </a:p>
          <a:p>
            <a:pPr marL="362822" indent="-362822">
              <a:lnSpc>
                <a:spcPct val="150000"/>
              </a:lnSpc>
            </a:pPr>
            <a:r>
              <a:rPr lang="nl-NL" sz="2116">
                <a:solidFill>
                  <a:schemeClr val="tx2"/>
                </a:solidFill>
              </a:rPr>
              <a:t>Goed luisteren</a:t>
            </a:r>
          </a:p>
          <a:p>
            <a:pPr marL="362822" indent="-362822">
              <a:lnSpc>
                <a:spcPct val="150000"/>
              </a:lnSpc>
            </a:pPr>
            <a:r>
              <a:rPr lang="nl-NL" sz="2116">
                <a:solidFill>
                  <a:schemeClr val="tx2"/>
                </a:solidFill>
              </a:rPr>
              <a:t>Rondlopen in het bedrijf</a:t>
            </a:r>
          </a:p>
          <a:p>
            <a:pPr marL="362822" indent="-362822">
              <a:lnSpc>
                <a:spcPct val="150000"/>
              </a:lnSpc>
            </a:pPr>
            <a:r>
              <a:rPr lang="nl-NL" sz="2116">
                <a:solidFill>
                  <a:schemeClr val="tx2"/>
                </a:solidFill>
              </a:rPr>
              <a:t>O ja, denk om aansprakelijkheid en sluit een verzekering af……</a:t>
            </a:r>
          </a:p>
          <a:p>
            <a:pPr marL="362822" indent="-362822">
              <a:lnSpc>
                <a:spcPct val="150000"/>
              </a:lnSpc>
            </a:pPr>
            <a:endParaRPr lang="nl-NL" sz="2116">
              <a:solidFill>
                <a:schemeClr val="tx2"/>
              </a:solidFill>
            </a:endParaRPr>
          </a:p>
        </p:txBody>
      </p:sp>
    </p:spTree>
    <p:extLst>
      <p:ext uri="{BB962C8B-B14F-4D97-AF65-F5344CB8AC3E}">
        <p14:creationId xmlns:p14="http://schemas.microsoft.com/office/powerpoint/2010/main" val="92722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BE65FA-B3C2-46FB-032F-5CDDA170B7E7}"/>
              </a:ext>
            </a:extLst>
          </p:cNvPr>
          <p:cNvSpPr>
            <a:spLocks noGrp="1"/>
          </p:cNvSpPr>
          <p:nvPr>
            <p:ph type="title"/>
          </p:nvPr>
        </p:nvSpPr>
        <p:spPr/>
        <p:txBody>
          <a:bodyPr/>
          <a:lstStyle/>
          <a:p>
            <a:r>
              <a:rPr lang="nl-NL"/>
              <a:t>Taakverdeling Bestuur en Toezicht</a:t>
            </a:r>
          </a:p>
        </p:txBody>
      </p:sp>
      <p:sp>
        <p:nvSpPr>
          <p:cNvPr id="3" name="Tijdelijke aanduiding voor inhoud 2">
            <a:extLst>
              <a:ext uri="{FF2B5EF4-FFF2-40B4-BE49-F238E27FC236}">
                <a16:creationId xmlns:a16="http://schemas.microsoft.com/office/drawing/2014/main" id="{4C7DE6C7-A6FB-2BCA-A8FA-CCC868393345}"/>
              </a:ext>
            </a:extLst>
          </p:cNvPr>
          <p:cNvSpPr>
            <a:spLocks noGrp="1"/>
          </p:cNvSpPr>
          <p:nvPr>
            <p:ph idx="1"/>
          </p:nvPr>
        </p:nvSpPr>
        <p:spPr>
          <a:xfrm>
            <a:off x="623393" y="1413086"/>
            <a:ext cx="8444202" cy="4535809"/>
          </a:xfrm>
        </p:spPr>
        <p:txBody>
          <a:bodyPr/>
          <a:lstStyle/>
          <a:p>
            <a:pPr marL="362822" indent="-362822">
              <a:lnSpc>
                <a:spcPct val="200000"/>
              </a:lnSpc>
            </a:pPr>
            <a:r>
              <a:rPr lang="nl-NL">
                <a:solidFill>
                  <a:schemeClr val="tx2"/>
                </a:solidFill>
              </a:rPr>
              <a:t>Balans is voor de RvC/RvT: wat zijn uw assets en welke reële opties zijn voorhanden? (lange termijn perspectief)</a:t>
            </a:r>
          </a:p>
          <a:p>
            <a:pPr marL="362822" indent="-362822">
              <a:lnSpc>
                <a:spcPct val="200000"/>
              </a:lnSpc>
            </a:pPr>
            <a:r>
              <a:rPr lang="nl-NL">
                <a:solidFill>
                  <a:schemeClr val="tx2"/>
                </a:solidFill>
              </a:rPr>
              <a:t>W&amp;V is voor het bestuur: de executie van de strategie (korte termijn focus)</a:t>
            </a:r>
          </a:p>
        </p:txBody>
      </p:sp>
      <p:pic>
        <p:nvPicPr>
          <p:cNvPr id="5" name="Afbeelding 4">
            <a:extLst>
              <a:ext uri="{FF2B5EF4-FFF2-40B4-BE49-F238E27FC236}">
                <a16:creationId xmlns:a16="http://schemas.microsoft.com/office/drawing/2014/main" id="{B1151D89-D457-B632-F78E-B1912F241C7E}"/>
              </a:ext>
            </a:extLst>
          </p:cNvPr>
          <p:cNvPicPr>
            <a:picLocks noChangeAspect="1"/>
          </p:cNvPicPr>
          <p:nvPr/>
        </p:nvPicPr>
        <p:blipFill>
          <a:blip r:embed="rId2"/>
          <a:stretch>
            <a:fillRect/>
          </a:stretch>
        </p:blipFill>
        <p:spPr>
          <a:xfrm>
            <a:off x="8899958" y="1517297"/>
            <a:ext cx="3292043" cy="4647590"/>
          </a:xfrm>
          <a:prstGeom prst="rect">
            <a:avLst/>
          </a:prstGeom>
        </p:spPr>
      </p:pic>
    </p:spTree>
    <p:extLst>
      <p:ext uri="{BB962C8B-B14F-4D97-AF65-F5344CB8AC3E}">
        <p14:creationId xmlns:p14="http://schemas.microsoft.com/office/powerpoint/2010/main" val="229529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20A5E-D539-4B5A-9278-713F5BC8DE7C}"/>
              </a:ext>
            </a:extLst>
          </p:cNvPr>
          <p:cNvSpPr>
            <a:spLocks noGrp="1"/>
          </p:cNvSpPr>
          <p:nvPr>
            <p:ph type="title"/>
          </p:nvPr>
        </p:nvSpPr>
        <p:spPr>
          <a:xfrm>
            <a:off x="586545" y="305016"/>
            <a:ext cx="10478955" cy="777979"/>
          </a:xfrm>
        </p:spPr>
        <p:txBody>
          <a:bodyPr/>
          <a:lstStyle/>
          <a:p>
            <a:r>
              <a:rPr lang="nl-NL"/>
              <a:t>Generieke bevindingen uit zelfevaluaties</a:t>
            </a:r>
          </a:p>
        </p:txBody>
      </p:sp>
      <p:sp>
        <p:nvSpPr>
          <p:cNvPr id="3" name="Content Placeholder 2">
            <a:extLst>
              <a:ext uri="{FF2B5EF4-FFF2-40B4-BE49-F238E27FC236}">
                <a16:creationId xmlns:a16="http://schemas.microsoft.com/office/drawing/2014/main" id="{377BC236-1E3D-4BF6-8659-ED38DFB9E453}"/>
              </a:ext>
            </a:extLst>
          </p:cNvPr>
          <p:cNvSpPr>
            <a:spLocks noGrp="1"/>
          </p:cNvSpPr>
          <p:nvPr>
            <p:ph idx="1"/>
          </p:nvPr>
        </p:nvSpPr>
        <p:spPr>
          <a:xfrm>
            <a:off x="600337" y="1006800"/>
            <a:ext cx="10465163" cy="4535809"/>
          </a:xfrm>
        </p:spPr>
        <p:txBody>
          <a:bodyPr>
            <a:normAutofit fontScale="77500" lnSpcReduction="20000"/>
          </a:bodyPr>
          <a:lstStyle/>
          <a:p>
            <a:pPr marL="483763" indent="-483763">
              <a:lnSpc>
                <a:spcPct val="150000"/>
              </a:lnSpc>
              <a:buFont typeface="+mj-lt"/>
              <a:buAutoNum type="arabicPeriod"/>
            </a:pPr>
            <a:r>
              <a:rPr lang="nl-NL" sz="2116">
                <a:solidFill>
                  <a:schemeClr val="tx2"/>
                </a:solidFill>
              </a:rPr>
              <a:t>Wederzijdse verwachtingen niet helder of geëxpliciteerd</a:t>
            </a:r>
          </a:p>
          <a:p>
            <a:pPr marL="483763" indent="-483763">
              <a:lnSpc>
                <a:spcPct val="150000"/>
              </a:lnSpc>
              <a:buFont typeface="+mj-lt"/>
              <a:buAutoNum type="arabicPeriod"/>
            </a:pPr>
            <a:r>
              <a:rPr lang="nl-NL" sz="2116">
                <a:solidFill>
                  <a:schemeClr val="tx2"/>
                </a:solidFill>
              </a:rPr>
              <a:t>Rolvastheid is soms een issue (op de stoel gaan zitten van het bestuur)</a:t>
            </a:r>
          </a:p>
          <a:p>
            <a:pPr marL="483763" indent="-483763">
              <a:lnSpc>
                <a:spcPct val="150000"/>
              </a:lnSpc>
              <a:buFont typeface="+mj-lt"/>
              <a:buAutoNum type="arabicPeriod"/>
            </a:pPr>
            <a:r>
              <a:rPr lang="nl-NL" sz="2116">
                <a:solidFill>
                  <a:schemeClr val="tx2"/>
                </a:solidFill>
              </a:rPr>
              <a:t>Toezichtvisie ontbreekt</a:t>
            </a:r>
          </a:p>
          <a:p>
            <a:pPr marL="483763" indent="-483763">
              <a:lnSpc>
                <a:spcPct val="150000"/>
              </a:lnSpc>
              <a:buFont typeface="+mj-lt"/>
              <a:buAutoNum type="arabicPeriod"/>
            </a:pPr>
            <a:r>
              <a:rPr lang="nl-NL" sz="2116">
                <a:solidFill>
                  <a:schemeClr val="tx2"/>
                </a:solidFill>
              </a:rPr>
              <a:t>Men kent elkaar onvoldoende</a:t>
            </a:r>
          </a:p>
          <a:p>
            <a:pPr marL="483763" indent="-483763">
              <a:lnSpc>
                <a:spcPct val="150000"/>
              </a:lnSpc>
              <a:buFont typeface="+mj-lt"/>
              <a:buAutoNum type="arabicPeriod"/>
            </a:pPr>
            <a:r>
              <a:rPr lang="nl-NL" sz="2116">
                <a:solidFill>
                  <a:schemeClr val="tx2"/>
                </a:solidFill>
              </a:rPr>
              <a:t>Verdeling gisteren, vandaag en morgen (innovatie komt er beroerd af)</a:t>
            </a:r>
          </a:p>
          <a:p>
            <a:pPr marL="483763" indent="-483763">
              <a:lnSpc>
                <a:spcPct val="150000"/>
              </a:lnSpc>
              <a:buFont typeface="+mj-lt"/>
              <a:buAutoNum type="arabicPeriod"/>
            </a:pPr>
            <a:r>
              <a:rPr lang="nl-NL" sz="2116">
                <a:solidFill>
                  <a:schemeClr val="tx2"/>
                </a:solidFill>
              </a:rPr>
              <a:t>Soms ook verdeling Werkgever, Toezichthouder en Adviseur</a:t>
            </a:r>
          </a:p>
          <a:p>
            <a:pPr marL="483763" indent="-483763">
              <a:lnSpc>
                <a:spcPct val="150000"/>
              </a:lnSpc>
              <a:buFont typeface="+mj-lt"/>
              <a:buAutoNum type="arabicPeriod"/>
            </a:pPr>
            <a:r>
              <a:rPr lang="nl-NL" sz="2116">
                <a:solidFill>
                  <a:schemeClr val="tx2"/>
                </a:solidFill>
              </a:rPr>
              <a:t>Te weinig tijd samen (zonder bestuur)</a:t>
            </a:r>
          </a:p>
          <a:p>
            <a:pPr marL="483763" indent="-483763">
              <a:lnSpc>
                <a:spcPct val="150000"/>
              </a:lnSpc>
              <a:buFont typeface="+mj-lt"/>
              <a:buAutoNum type="arabicPeriod"/>
            </a:pPr>
            <a:r>
              <a:rPr lang="nl-NL" sz="2116">
                <a:solidFill>
                  <a:schemeClr val="tx2"/>
                </a:solidFill>
              </a:rPr>
              <a:t>Bestuur wordt niet geïnspireerd of krijgt van alles over zich uitgestort</a:t>
            </a:r>
          </a:p>
          <a:p>
            <a:pPr marL="483763" indent="-483763">
              <a:lnSpc>
                <a:spcPct val="150000"/>
              </a:lnSpc>
              <a:buFont typeface="+mj-lt"/>
              <a:buAutoNum type="arabicPeriod"/>
            </a:pPr>
            <a:r>
              <a:rPr lang="nl-NL" sz="2116">
                <a:solidFill>
                  <a:schemeClr val="tx2"/>
                </a:solidFill>
              </a:rPr>
              <a:t>Onvoldoende kritisch (op elkaar, op het functioneren, op het bestuur)</a:t>
            </a:r>
          </a:p>
          <a:p>
            <a:pPr marL="483763" indent="-483763">
              <a:lnSpc>
                <a:spcPct val="150000"/>
              </a:lnSpc>
              <a:buFont typeface="+mj-lt"/>
              <a:buAutoNum type="arabicPeriod"/>
            </a:pPr>
            <a:r>
              <a:rPr lang="nl-NL" sz="2116">
                <a:solidFill>
                  <a:schemeClr val="tx2"/>
                </a:solidFill>
              </a:rPr>
              <a:t>Handelen!</a:t>
            </a:r>
          </a:p>
          <a:p>
            <a:pPr marL="483763" indent="-483763">
              <a:lnSpc>
                <a:spcPct val="150000"/>
              </a:lnSpc>
              <a:buFont typeface="+mj-lt"/>
              <a:buAutoNum type="arabicPeriod"/>
            </a:pPr>
            <a:endParaRPr lang="nl-NL" sz="2116">
              <a:solidFill>
                <a:schemeClr val="tx2"/>
              </a:solidFill>
            </a:endParaRPr>
          </a:p>
          <a:p>
            <a:pPr marL="483763" indent="-483763">
              <a:lnSpc>
                <a:spcPct val="150000"/>
              </a:lnSpc>
              <a:buFont typeface="+mj-lt"/>
              <a:buAutoNum type="arabicPeriod"/>
            </a:pPr>
            <a:endParaRPr lang="nl-NL" sz="2116">
              <a:solidFill>
                <a:schemeClr val="tx2"/>
              </a:solidFill>
            </a:endParaRPr>
          </a:p>
        </p:txBody>
      </p:sp>
    </p:spTree>
    <p:extLst>
      <p:ext uri="{BB962C8B-B14F-4D97-AF65-F5344CB8AC3E}">
        <p14:creationId xmlns:p14="http://schemas.microsoft.com/office/powerpoint/2010/main" val="308607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39572DE-100F-C776-2BD8-BD9C68833EFB}"/>
              </a:ext>
            </a:extLst>
          </p:cNvPr>
          <p:cNvSpPr>
            <a:spLocks noGrp="1"/>
          </p:cNvSpPr>
          <p:nvPr>
            <p:ph type="title"/>
          </p:nvPr>
        </p:nvSpPr>
        <p:spPr>
          <a:xfrm>
            <a:off x="664786" y="325369"/>
            <a:ext cx="4820146" cy="1956841"/>
          </a:xfrm>
        </p:spPr>
        <p:txBody>
          <a:bodyPr anchor="b">
            <a:normAutofit/>
          </a:bodyPr>
          <a:lstStyle/>
          <a:p>
            <a:r>
              <a:rPr lang="nl-NL" sz="4600" b="1">
                <a:latin typeface="Arial" panose="020B0604020202020204" pitchFamily="34" charset="0"/>
                <a:cs typeface="Arial" panose="020B0604020202020204" pitchFamily="34" charset="0"/>
              </a:rPr>
              <a:t>PROGRAMMA</a:t>
            </a:r>
          </a:p>
        </p:txBody>
      </p:sp>
      <p:sp>
        <p:nvSpPr>
          <p:cNvPr id="22"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jdelijke aanduiding voor inhoud 2">
            <a:extLst>
              <a:ext uri="{FF2B5EF4-FFF2-40B4-BE49-F238E27FC236}">
                <a16:creationId xmlns:a16="http://schemas.microsoft.com/office/drawing/2014/main" id="{56D7B030-B788-AD2C-CB48-CDF3194234D4}"/>
              </a:ext>
            </a:extLst>
          </p:cNvPr>
          <p:cNvSpPr>
            <a:spLocks noGrp="1"/>
          </p:cNvSpPr>
          <p:nvPr>
            <p:ph idx="1"/>
          </p:nvPr>
        </p:nvSpPr>
        <p:spPr>
          <a:xfrm>
            <a:off x="664786" y="2872899"/>
            <a:ext cx="5429839" cy="3320668"/>
          </a:xfrm>
        </p:spPr>
        <p:txBody>
          <a:bodyPr>
            <a:normAutofit/>
          </a:bodyPr>
          <a:lstStyle/>
          <a:p>
            <a:pPr marL="0" indent="0">
              <a:buNone/>
            </a:pPr>
            <a:r>
              <a:rPr lang="nl-NL" sz="1600">
                <a:effectLst/>
                <a:latin typeface="Arial" panose="020B0604020202020204" pitchFamily="34" charset="0"/>
                <a:ea typeface="Calibri" panose="020F0502020204030204" pitchFamily="34" charset="0"/>
                <a:cs typeface="Arial" panose="020B0604020202020204" pitchFamily="34" charset="0"/>
              </a:rPr>
              <a:t>1</a:t>
            </a:r>
            <a:r>
              <a:rPr lang="nl-NL" sz="1600">
                <a:latin typeface="Arial" panose="020B0604020202020204" pitchFamily="34" charset="0"/>
                <a:ea typeface="Calibri" panose="020F0502020204030204" pitchFamily="34" charset="0"/>
                <a:cs typeface="Arial" panose="020B0604020202020204" pitchFamily="34" charset="0"/>
              </a:rPr>
              <a:t>5</a:t>
            </a:r>
            <a:r>
              <a:rPr lang="nl-NL" sz="1600">
                <a:effectLst/>
                <a:latin typeface="Arial" panose="020B0604020202020204" pitchFamily="34" charset="0"/>
                <a:ea typeface="Calibri" panose="020F0502020204030204" pitchFamily="34" charset="0"/>
                <a:cs typeface="Arial" panose="020B0604020202020204" pitchFamily="34" charset="0"/>
              </a:rPr>
              <a:t>.</a:t>
            </a:r>
            <a:r>
              <a:rPr lang="nl-NL" sz="1600">
                <a:latin typeface="Arial" panose="020B0604020202020204" pitchFamily="34" charset="0"/>
                <a:ea typeface="Calibri" panose="020F0502020204030204" pitchFamily="34" charset="0"/>
                <a:cs typeface="Arial" panose="020B0604020202020204" pitchFamily="34" charset="0"/>
              </a:rPr>
              <a:t>3</a:t>
            </a:r>
            <a:r>
              <a:rPr lang="nl-NL" sz="1600">
                <a:effectLst/>
                <a:latin typeface="Arial" panose="020B0604020202020204" pitchFamily="34" charset="0"/>
                <a:ea typeface="Calibri" panose="020F0502020204030204" pitchFamily="34" charset="0"/>
                <a:cs typeface="Arial" panose="020B0604020202020204" pitchFamily="34" charset="0"/>
              </a:rPr>
              <a:t>0 uur Ontvangst </a:t>
            </a:r>
          </a:p>
          <a:p>
            <a:pPr marL="0" indent="0">
              <a:buNone/>
            </a:pPr>
            <a:r>
              <a:rPr lang="nl-NL" sz="1600">
                <a:effectLst/>
                <a:latin typeface="Arial" panose="020B0604020202020204" pitchFamily="34" charset="0"/>
                <a:ea typeface="Calibri" panose="020F0502020204030204" pitchFamily="34" charset="0"/>
                <a:cs typeface="Arial" panose="020B0604020202020204" pitchFamily="34" charset="0"/>
              </a:rPr>
              <a:t>16.00 uur </a:t>
            </a:r>
            <a:r>
              <a:rPr lang="nl-NL" sz="1600">
                <a:latin typeface="Arial" panose="020B0604020202020204" pitchFamily="34" charset="0"/>
                <a:ea typeface="Calibri" panose="020F0502020204030204" pitchFamily="34" charset="0"/>
                <a:cs typeface="Arial" panose="020B0604020202020204" pitchFamily="34" charset="0"/>
              </a:rPr>
              <a:t>Opening en welkom Dux Nova</a:t>
            </a:r>
            <a:br>
              <a:rPr lang="nl-NL" sz="1600">
                <a:effectLst/>
                <a:latin typeface="Arial" panose="020B0604020202020204" pitchFamily="34" charset="0"/>
                <a:ea typeface="Calibri" panose="020F0502020204030204" pitchFamily="34" charset="0"/>
                <a:cs typeface="Arial" panose="020B0604020202020204" pitchFamily="34" charset="0"/>
              </a:rPr>
            </a:br>
            <a:r>
              <a:rPr lang="nl-NL" sz="1600">
                <a:effectLst/>
                <a:latin typeface="Arial" panose="020B0604020202020204" pitchFamily="34" charset="0"/>
                <a:ea typeface="Calibri" panose="020F0502020204030204" pitchFamily="34" charset="0"/>
                <a:cs typeface="Arial" panose="020B0604020202020204" pitchFamily="34" charset="0"/>
              </a:rPr>
              <a:t>	</a:t>
            </a:r>
          </a:p>
          <a:p>
            <a:pPr marL="0" indent="0">
              <a:buNone/>
            </a:pPr>
            <a:r>
              <a:rPr lang="nl-NL" sz="1600">
                <a:latin typeface="Arial" panose="020B0604020202020204" pitchFamily="34" charset="0"/>
                <a:ea typeface="Calibri" panose="020F0502020204030204" pitchFamily="34" charset="0"/>
                <a:cs typeface="Arial" panose="020B0604020202020204" pitchFamily="34" charset="0"/>
              </a:rPr>
              <a:t>	</a:t>
            </a:r>
            <a:r>
              <a:rPr lang="nl-NL" sz="1600">
                <a:effectLst/>
                <a:latin typeface="Arial" panose="020B0604020202020204" pitchFamily="34" charset="0"/>
                <a:ea typeface="Calibri" panose="020F0502020204030204" pitchFamily="34" charset="0"/>
                <a:cs typeface="Arial" panose="020B0604020202020204" pitchFamily="34" charset="0"/>
              </a:rPr>
              <a:t>Presentatie van </a:t>
            </a:r>
            <a:r>
              <a:rPr lang="nl-NL" sz="1600" u="sng">
                <a:effectLst/>
                <a:latin typeface="Arial" panose="020B0604020202020204" pitchFamily="34" charset="0"/>
                <a:ea typeface="Calibri" panose="020F0502020204030204" pitchFamily="34" charset="0"/>
                <a:cs typeface="Arial" panose="020B0604020202020204" pitchFamily="34" charset="0"/>
              </a:rPr>
              <a:t>Leen Paape</a:t>
            </a:r>
            <a:br>
              <a:rPr lang="nl-NL" sz="1600">
                <a:effectLst/>
                <a:latin typeface="Arial" panose="020B0604020202020204" pitchFamily="34" charset="0"/>
                <a:ea typeface="Calibri" panose="020F0502020204030204" pitchFamily="34" charset="0"/>
                <a:cs typeface="Arial" panose="020B0604020202020204" pitchFamily="34" charset="0"/>
              </a:rPr>
            </a:br>
            <a:r>
              <a:rPr lang="nl-NL" sz="1600">
                <a:effectLst/>
                <a:latin typeface="Arial" panose="020B0604020202020204" pitchFamily="34" charset="0"/>
                <a:ea typeface="Calibri" panose="020F0502020204030204" pitchFamily="34" charset="0"/>
                <a:cs typeface="Arial" panose="020B0604020202020204" pitchFamily="34" charset="0"/>
              </a:rPr>
              <a:t>	</a:t>
            </a:r>
            <a:br>
              <a:rPr lang="nl-NL" sz="1600">
                <a:effectLst/>
                <a:latin typeface="Arial" panose="020B0604020202020204" pitchFamily="34" charset="0"/>
                <a:ea typeface="Calibri" panose="020F0502020204030204" pitchFamily="34" charset="0"/>
                <a:cs typeface="Arial" panose="020B0604020202020204" pitchFamily="34" charset="0"/>
              </a:rPr>
            </a:br>
            <a:r>
              <a:rPr lang="nl-NL" sz="1600">
                <a:effectLst/>
                <a:latin typeface="Arial" panose="020B0604020202020204" pitchFamily="34" charset="0"/>
                <a:ea typeface="Calibri" panose="020F0502020204030204" pitchFamily="34" charset="0"/>
                <a:cs typeface="Arial" panose="020B0604020202020204" pitchFamily="34" charset="0"/>
              </a:rPr>
              <a:t>	Presentatie </a:t>
            </a:r>
            <a:r>
              <a:rPr lang="nl-NL" sz="1600" u="sng">
                <a:effectLst/>
                <a:latin typeface="Arial" panose="020B0604020202020204" pitchFamily="34" charset="0"/>
                <a:ea typeface="Calibri" panose="020F0502020204030204" pitchFamily="34" charset="0"/>
                <a:cs typeface="Arial" panose="020B0604020202020204" pitchFamily="34" charset="0"/>
              </a:rPr>
              <a:t>Elise Lansu</a:t>
            </a:r>
            <a:br>
              <a:rPr lang="nl-NL" sz="1600">
                <a:effectLst/>
                <a:latin typeface="Arial" panose="020B0604020202020204" pitchFamily="34" charset="0"/>
                <a:ea typeface="Calibri" panose="020F0502020204030204" pitchFamily="34" charset="0"/>
                <a:cs typeface="Arial" panose="020B0604020202020204" pitchFamily="34" charset="0"/>
              </a:rPr>
            </a:br>
            <a:endParaRPr lang="nl-NL" sz="1600">
              <a:effectLst/>
              <a:latin typeface="Arial" panose="020B0604020202020204" pitchFamily="34" charset="0"/>
              <a:ea typeface="Calibri" panose="020F0502020204030204" pitchFamily="34" charset="0"/>
              <a:cs typeface="Arial" panose="020B0604020202020204" pitchFamily="34" charset="0"/>
            </a:endParaRPr>
          </a:p>
          <a:p>
            <a:pPr marL="0" indent="0">
              <a:buNone/>
            </a:pPr>
            <a:r>
              <a:rPr lang="nl-NL" sz="1600">
                <a:effectLst/>
                <a:latin typeface="Arial" panose="020B0604020202020204" pitchFamily="34" charset="0"/>
                <a:ea typeface="Calibri" panose="020F0502020204030204" pitchFamily="34" charset="0"/>
                <a:cs typeface="Arial" panose="020B0604020202020204" pitchFamily="34" charset="0"/>
              </a:rPr>
              <a:t>18.00 uur Netwerkborrel</a:t>
            </a:r>
            <a:r>
              <a:rPr lang="nl-NL" sz="1600">
                <a:latin typeface="Arial" panose="020B0604020202020204" pitchFamily="34" charset="0"/>
                <a:ea typeface="Calibri" panose="020F0502020204030204" pitchFamily="34" charset="0"/>
                <a:cs typeface="Arial" panose="020B0604020202020204" pitchFamily="34" charset="0"/>
              </a:rPr>
              <a:t> met aansluitend dinerbuffet</a:t>
            </a:r>
            <a:br>
              <a:rPr lang="nl-NL" sz="1600">
                <a:effectLst/>
                <a:latin typeface="Arial" panose="020B0604020202020204" pitchFamily="34" charset="0"/>
                <a:ea typeface="Calibri" panose="020F0502020204030204" pitchFamily="34" charset="0"/>
                <a:cs typeface="Arial" panose="020B0604020202020204" pitchFamily="34" charset="0"/>
              </a:rPr>
            </a:br>
            <a:endParaRPr lang="nl-NL" sz="1600">
              <a:effectLst/>
              <a:latin typeface="Arial" panose="020B0604020202020204" pitchFamily="34" charset="0"/>
              <a:ea typeface="Calibri" panose="020F0502020204030204" pitchFamily="34" charset="0"/>
              <a:cs typeface="Arial" panose="020B0604020202020204" pitchFamily="34" charset="0"/>
            </a:endParaRPr>
          </a:p>
          <a:p>
            <a:pPr marL="0" indent="0">
              <a:buNone/>
            </a:pPr>
            <a:r>
              <a:rPr lang="nl-NL" sz="1600">
                <a:effectLst/>
                <a:latin typeface="Arial" panose="020B0604020202020204" pitchFamily="34" charset="0"/>
                <a:ea typeface="Calibri" panose="020F0502020204030204" pitchFamily="34" charset="0"/>
                <a:cs typeface="Arial" panose="020B0604020202020204" pitchFamily="34" charset="0"/>
              </a:rPr>
              <a:t>19.30 uur Einde bijeenkomst </a:t>
            </a:r>
            <a:endParaRPr lang="nl-NL" sz="1600">
              <a:latin typeface="Arial" panose="020B0604020202020204" pitchFamily="34" charset="0"/>
              <a:cs typeface="Arial" panose="020B0604020202020204" pitchFamily="34" charset="0"/>
            </a:endParaRPr>
          </a:p>
        </p:txBody>
      </p:sp>
      <p:pic>
        <p:nvPicPr>
          <p:cNvPr id="6" name="Afbeelding 5">
            <a:extLst>
              <a:ext uri="{FF2B5EF4-FFF2-40B4-BE49-F238E27FC236}">
                <a16:creationId xmlns:a16="http://schemas.microsoft.com/office/drawing/2014/main" id="{9B48CC6C-A5C2-6172-5448-2D3620C0DD4C}"/>
              </a:ext>
            </a:extLst>
          </p:cNvPr>
          <p:cNvPicPr>
            <a:picLocks noChangeAspect="1"/>
          </p:cNvPicPr>
          <p:nvPr/>
        </p:nvPicPr>
        <p:blipFill>
          <a:blip r:embed="rId2">
            <a:extLst>
              <a:ext uri="{28A0092B-C50C-407E-A947-70E740481C1C}">
                <a14:useLocalDpi xmlns:a14="http://schemas.microsoft.com/office/drawing/2010/main" val="0"/>
              </a:ext>
            </a:extLst>
          </a:blip>
          <a:srcRect l="2426" r="2426"/>
          <a:stretch/>
        </p:blipFill>
        <p:spPr>
          <a:xfrm>
            <a:off x="6174145"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5775212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a:t>VRAGEN?</a:t>
            </a:r>
            <a:endParaRPr lang="en-US"/>
          </a:p>
        </p:txBody>
      </p:sp>
      <p:sp>
        <p:nvSpPr>
          <p:cNvPr id="5" name="Tijdelijke aanduiding voor inhoud 4"/>
          <p:cNvSpPr>
            <a:spLocks noGrp="1"/>
          </p:cNvSpPr>
          <p:nvPr>
            <p:ph idx="1"/>
          </p:nvPr>
        </p:nvSpPr>
        <p:spPr/>
        <p:txBody>
          <a:bodyPr>
            <a:noAutofit/>
          </a:bodyPr>
          <a:lstStyle/>
          <a:p>
            <a:pPr>
              <a:lnSpc>
                <a:spcPct val="150000"/>
              </a:lnSpc>
            </a:pPr>
            <a:r>
              <a:rPr lang="nl-NL" sz="2539">
                <a:hlinkClick r:id="rId2"/>
              </a:rPr>
              <a:t>l.paape@nyenrode.nl</a:t>
            </a:r>
            <a:endParaRPr lang="nl-NL" sz="2539"/>
          </a:p>
          <a:p>
            <a:pPr>
              <a:lnSpc>
                <a:spcPct val="150000"/>
              </a:lnSpc>
            </a:pPr>
            <a:r>
              <a:rPr lang="nl-NL" sz="2539"/>
              <a:t>06-53644623</a:t>
            </a:r>
          </a:p>
          <a:p>
            <a:pPr>
              <a:lnSpc>
                <a:spcPct val="150000"/>
              </a:lnSpc>
            </a:pPr>
            <a:r>
              <a:rPr lang="nl-NL" sz="2539" u="sng">
                <a:solidFill>
                  <a:srgbClr val="4034B0"/>
                </a:solidFill>
                <a:latin typeface="-apple-system"/>
                <a:hlinkClick r:id="rId3"/>
              </a:rPr>
              <a:t>linkedin.com/in/</a:t>
            </a:r>
            <a:r>
              <a:rPr lang="nl-NL" sz="2539" u="sng" err="1">
                <a:solidFill>
                  <a:srgbClr val="4034B0"/>
                </a:solidFill>
                <a:latin typeface="-apple-system"/>
                <a:hlinkClick r:id="rId3"/>
              </a:rPr>
              <a:t>leenpaape</a:t>
            </a:r>
            <a:endParaRPr lang="nl-NL" sz="2539" u="sng">
              <a:solidFill>
                <a:srgbClr val="4034B0"/>
              </a:solidFill>
              <a:latin typeface="-apple-system"/>
            </a:endParaRPr>
          </a:p>
          <a:p>
            <a:pPr>
              <a:lnSpc>
                <a:spcPct val="150000"/>
              </a:lnSpc>
            </a:pPr>
            <a:endParaRPr lang="nl-NL" sz="2539"/>
          </a:p>
        </p:txBody>
      </p:sp>
      <p:cxnSp>
        <p:nvCxnSpPr>
          <p:cNvPr id="7" name="Rechte verbindingslijn 6"/>
          <p:cNvCxnSpPr/>
          <p:nvPr/>
        </p:nvCxnSpPr>
        <p:spPr>
          <a:xfrm>
            <a:off x="1" y="311869"/>
            <a:ext cx="576000" cy="0"/>
          </a:xfrm>
          <a:prstGeom prst="line">
            <a:avLst/>
          </a:prstGeom>
          <a:ln>
            <a:solidFill>
              <a:srgbClr val="365172"/>
            </a:solidFill>
          </a:ln>
        </p:spPr>
        <p:style>
          <a:lnRef idx="1">
            <a:schemeClr val="accent1"/>
          </a:lnRef>
          <a:fillRef idx="0">
            <a:schemeClr val="accent1"/>
          </a:fillRef>
          <a:effectRef idx="0">
            <a:schemeClr val="accent1"/>
          </a:effectRef>
          <a:fontRef idx="minor">
            <a:schemeClr val="tx1"/>
          </a:fontRef>
        </p:style>
      </p:cxnSp>
      <p:pic>
        <p:nvPicPr>
          <p:cNvPr id="2" name="Picture 4" descr="Vacature Projectdirecteur complexe utiliteitsbouw | Dux Nova">
            <a:extLst>
              <a:ext uri="{FF2B5EF4-FFF2-40B4-BE49-F238E27FC236}">
                <a16:creationId xmlns:a16="http://schemas.microsoft.com/office/drawing/2014/main" id="{0DD977CD-5DBB-0AD2-17F1-4411F2C6012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965016" y="526"/>
            <a:ext cx="1226984" cy="11426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85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descr="Afbeelding met Lettertype, Graphics, schermopname, tekst&#10;&#10;Automatisch gegenereerde beschrijving">
            <a:extLst>
              <a:ext uri="{FF2B5EF4-FFF2-40B4-BE49-F238E27FC236}">
                <a16:creationId xmlns:a16="http://schemas.microsoft.com/office/drawing/2014/main" id="{6807B5C9-9881-A693-FF23-53661C993074}"/>
              </a:ext>
            </a:extLst>
          </p:cNvPr>
          <p:cNvPicPr>
            <a:picLocks noChangeAspect="1"/>
          </p:cNvPicPr>
          <p:nvPr/>
        </p:nvPicPr>
        <p:blipFill>
          <a:blip r:embed="rId2">
            <a:alphaModFix/>
          </a:blip>
          <a:stretch>
            <a:fillRect/>
          </a:stretch>
        </p:blipFill>
        <p:spPr>
          <a:xfrm>
            <a:off x="910380" y="1875987"/>
            <a:ext cx="10371240" cy="2284955"/>
          </a:xfrm>
          <a:prstGeom prst="rect">
            <a:avLst/>
          </a:prstGeom>
        </p:spPr>
      </p:pic>
    </p:spTree>
    <p:extLst>
      <p:ext uri="{BB962C8B-B14F-4D97-AF65-F5344CB8AC3E}">
        <p14:creationId xmlns:p14="http://schemas.microsoft.com/office/powerpoint/2010/main" val="1290342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5F9870-793F-C4BA-D366-BE62F3490E05}"/>
              </a:ext>
            </a:extLst>
          </p:cNvPr>
          <p:cNvSpPr>
            <a:spLocks noGrp="1"/>
          </p:cNvSpPr>
          <p:nvPr>
            <p:ph type="title"/>
          </p:nvPr>
        </p:nvSpPr>
        <p:spPr/>
        <p:txBody>
          <a:bodyPr/>
          <a:lstStyle/>
          <a:p>
            <a:r>
              <a:rPr lang="nl-NL"/>
              <a:t>Missie</a:t>
            </a:r>
          </a:p>
        </p:txBody>
      </p:sp>
      <p:sp>
        <p:nvSpPr>
          <p:cNvPr id="3" name="Tijdelijke aanduiding voor inhoud 2">
            <a:extLst>
              <a:ext uri="{FF2B5EF4-FFF2-40B4-BE49-F238E27FC236}">
                <a16:creationId xmlns:a16="http://schemas.microsoft.com/office/drawing/2014/main" id="{3AA44335-EBB4-5B01-EFDC-1571AEF36DC0}"/>
              </a:ext>
            </a:extLst>
          </p:cNvPr>
          <p:cNvSpPr>
            <a:spLocks noGrp="1"/>
          </p:cNvSpPr>
          <p:nvPr>
            <p:ph idx="1"/>
          </p:nvPr>
        </p:nvSpPr>
        <p:spPr/>
        <p:txBody>
          <a:bodyPr>
            <a:normAutofit/>
          </a:bodyPr>
          <a:lstStyle/>
          <a:p>
            <a:pPr>
              <a:lnSpc>
                <a:spcPct val="120000"/>
              </a:lnSpc>
            </a:pPr>
            <a:r>
              <a:rPr lang="nl-NL" sz="3600"/>
              <a:t>Delfin maakt organisaties en leiders klaar voor een nieuw vandaag, morgen </a:t>
            </a:r>
            <a:r>
              <a:rPr lang="nl-NL" sz="3600" err="1"/>
              <a:t>én</a:t>
            </a:r>
            <a:r>
              <a:rPr lang="nl-NL" sz="3600"/>
              <a:t> overmorgen. </a:t>
            </a:r>
          </a:p>
          <a:p>
            <a:pPr marL="285750" indent="-285750">
              <a:lnSpc>
                <a:spcPct val="120000"/>
              </a:lnSpc>
              <a:buFont typeface="Arial" panose="020B0604020202020204" pitchFamily="34" charset="0"/>
              <a:buChar char="•"/>
            </a:pPr>
            <a:endParaRPr lang="nl-NL" sz="2000"/>
          </a:p>
          <a:p>
            <a:pPr marL="285750" indent="-285750">
              <a:lnSpc>
                <a:spcPct val="120000"/>
              </a:lnSpc>
              <a:buFont typeface="Arial" panose="020B0604020202020204" pitchFamily="34" charset="0"/>
              <a:buChar char="•"/>
            </a:pPr>
            <a:endParaRPr lang="nl-NL" sz="2000"/>
          </a:p>
        </p:txBody>
      </p:sp>
    </p:spTree>
    <p:extLst>
      <p:ext uri="{BB962C8B-B14F-4D97-AF65-F5344CB8AC3E}">
        <p14:creationId xmlns:p14="http://schemas.microsoft.com/office/powerpoint/2010/main" val="2270829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1EAF068-54CB-5A02-4F9F-0B8B0A553BEC}"/>
              </a:ext>
            </a:extLst>
          </p:cNvPr>
          <p:cNvSpPr>
            <a:spLocks noGrp="1"/>
          </p:cNvSpPr>
          <p:nvPr>
            <p:ph type="title"/>
          </p:nvPr>
        </p:nvSpPr>
        <p:spPr>
          <a:xfrm>
            <a:off x="839788" y="457200"/>
            <a:ext cx="4879975" cy="1600200"/>
          </a:xfrm>
        </p:spPr>
        <p:txBody>
          <a:bodyPr/>
          <a:lstStyle/>
          <a:p>
            <a:r>
              <a:rPr lang="nl-NL"/>
              <a:t>Elise </a:t>
            </a:r>
            <a:r>
              <a:rPr lang="nl-NL" err="1"/>
              <a:t>Lansu</a:t>
            </a:r>
            <a:endParaRPr lang="nl-NL"/>
          </a:p>
        </p:txBody>
      </p:sp>
      <p:pic>
        <p:nvPicPr>
          <p:cNvPr id="9" name="Tijdelijke aanduiding voor afbeelding 8" descr="Afbeelding met persoon, Menselijk gezicht, glimlach, muur&#10;&#10;Automatisch gegenereerde beschrijving">
            <a:extLst>
              <a:ext uri="{FF2B5EF4-FFF2-40B4-BE49-F238E27FC236}">
                <a16:creationId xmlns:a16="http://schemas.microsoft.com/office/drawing/2014/main" id="{5FBB1483-7CAF-6003-51F9-66227413794B}"/>
              </a:ext>
            </a:extLst>
          </p:cNvPr>
          <p:cNvPicPr>
            <a:picLocks noGrp="1" noChangeAspect="1"/>
          </p:cNvPicPr>
          <p:nvPr>
            <p:ph type="pic" idx="1"/>
          </p:nvPr>
        </p:nvPicPr>
        <p:blipFill rotWithShape="1">
          <a:blip r:embed="rId3"/>
          <a:srcRect l="7330" t="20364" r="13555" b="20480"/>
          <a:stretch/>
        </p:blipFill>
        <p:spPr>
          <a:xfrm>
            <a:off x="6472238" y="987425"/>
            <a:ext cx="4883150" cy="4873625"/>
          </a:xfrm>
        </p:spPr>
      </p:pic>
      <p:sp>
        <p:nvSpPr>
          <p:cNvPr id="7" name="Tijdelijke aanduiding voor tekst 6">
            <a:extLst>
              <a:ext uri="{FF2B5EF4-FFF2-40B4-BE49-F238E27FC236}">
                <a16:creationId xmlns:a16="http://schemas.microsoft.com/office/drawing/2014/main" id="{855DB7F7-2045-64EC-4301-63FA9644E965}"/>
              </a:ext>
            </a:extLst>
          </p:cNvPr>
          <p:cNvSpPr>
            <a:spLocks noGrp="1"/>
          </p:cNvSpPr>
          <p:nvPr>
            <p:ph type="body" sz="half" idx="2"/>
          </p:nvPr>
        </p:nvSpPr>
        <p:spPr>
          <a:xfrm>
            <a:off x="839788" y="2209800"/>
            <a:ext cx="4879975" cy="3659187"/>
          </a:xfrm>
        </p:spPr>
        <p:txBody>
          <a:bodyPr/>
          <a:lstStyle/>
          <a:p>
            <a:pPr marL="285750" indent="-285750">
              <a:lnSpc>
                <a:spcPct val="100000"/>
              </a:lnSpc>
              <a:buFont typeface="Arial" panose="020B0604020202020204" pitchFamily="34" charset="0"/>
              <a:buChar char="•"/>
            </a:pPr>
            <a:r>
              <a:rPr lang="nl-NL"/>
              <a:t>Partner Delfin impact executives</a:t>
            </a:r>
          </a:p>
          <a:p>
            <a:pPr marL="285750" indent="-285750">
              <a:lnSpc>
                <a:spcPct val="100000"/>
              </a:lnSpc>
              <a:buFont typeface="Arial" panose="020B0604020202020204" pitchFamily="34" charset="0"/>
              <a:buChar char="•"/>
            </a:pPr>
            <a:r>
              <a:rPr lang="nl-NL"/>
              <a:t>Adviseren van organisaties en bedrijven die klaar zijn voor verandering, groei of verbetering </a:t>
            </a:r>
          </a:p>
          <a:p>
            <a:pPr marL="285750" indent="-285750">
              <a:lnSpc>
                <a:spcPct val="100000"/>
              </a:lnSpc>
              <a:buFont typeface="Arial" panose="020B0604020202020204" pitchFamily="34" charset="0"/>
              <a:buChar char="•"/>
            </a:pPr>
            <a:r>
              <a:rPr lang="nl-NL"/>
              <a:t>W&amp;S en IM management, directie en bestuurders</a:t>
            </a:r>
          </a:p>
          <a:p>
            <a:pPr marL="285750" indent="-285750">
              <a:lnSpc>
                <a:spcPct val="100000"/>
              </a:lnSpc>
              <a:buFont typeface="Arial" panose="020B0604020202020204" pitchFamily="34" charset="0"/>
              <a:buChar char="•"/>
            </a:pPr>
            <a:r>
              <a:rPr lang="nl-NL"/>
              <a:t>Begeleiding zelfevaluatie</a:t>
            </a:r>
          </a:p>
          <a:p>
            <a:pPr marL="285750" indent="-285750">
              <a:lnSpc>
                <a:spcPct val="100000"/>
              </a:lnSpc>
              <a:buFont typeface="Arial" panose="020B0604020202020204" pitchFamily="34" charset="0"/>
              <a:buChar char="•"/>
            </a:pPr>
            <a:r>
              <a:rPr lang="nl-NL" err="1"/>
              <a:t>Vice-voorzitter</a:t>
            </a:r>
            <a:r>
              <a:rPr lang="nl-NL"/>
              <a:t> RvT Toneelgroep Maastricht</a:t>
            </a:r>
          </a:p>
          <a:p>
            <a:pPr marL="285750" indent="-285750">
              <a:lnSpc>
                <a:spcPct val="100000"/>
              </a:lnSpc>
              <a:buFont typeface="Arial" panose="020B0604020202020204" pitchFamily="34" charset="0"/>
              <a:buChar char="•"/>
            </a:pPr>
            <a:r>
              <a:rPr lang="nl-NL"/>
              <a:t>Voorzitter bestuur Sociale Coöperatie Vidi</a:t>
            </a:r>
          </a:p>
          <a:p>
            <a:pPr marL="285750" indent="-285750">
              <a:lnSpc>
                <a:spcPct val="100000"/>
              </a:lnSpc>
              <a:buFont typeface="Arial" panose="020B0604020202020204" pitchFamily="34" charset="0"/>
              <a:buChar char="•"/>
            </a:pPr>
            <a:r>
              <a:rPr lang="nl-NL"/>
              <a:t>Lid bestuur LOF</a:t>
            </a:r>
          </a:p>
          <a:p>
            <a:pPr marL="285750" indent="-285750">
              <a:lnSpc>
                <a:spcPct val="100000"/>
              </a:lnSpc>
              <a:buFont typeface="Arial" panose="020B0604020202020204" pitchFamily="34" charset="0"/>
              <a:buChar char="•"/>
            </a:pPr>
            <a:r>
              <a:rPr lang="nl-NL"/>
              <a:t>Lid Raad van Advies Stadslabs</a:t>
            </a:r>
          </a:p>
          <a:p>
            <a:pPr marL="285750" indent="-285750">
              <a:lnSpc>
                <a:spcPct val="100000"/>
              </a:lnSpc>
              <a:buFont typeface="Arial" panose="020B0604020202020204" pitchFamily="34" charset="0"/>
              <a:buChar char="•"/>
            </a:pPr>
            <a:endParaRPr lang="nl-NL"/>
          </a:p>
        </p:txBody>
      </p:sp>
    </p:spTree>
    <p:extLst>
      <p:ext uri="{BB962C8B-B14F-4D97-AF65-F5344CB8AC3E}">
        <p14:creationId xmlns:p14="http://schemas.microsoft.com/office/powerpoint/2010/main" val="40157335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352C21-20B7-C364-BEA8-69A46B9EB6C6}"/>
              </a:ext>
            </a:extLst>
          </p:cNvPr>
          <p:cNvSpPr>
            <a:spLocks noGrp="1"/>
          </p:cNvSpPr>
          <p:nvPr>
            <p:ph type="title"/>
          </p:nvPr>
        </p:nvSpPr>
        <p:spPr/>
        <p:txBody>
          <a:bodyPr/>
          <a:lstStyle/>
          <a:p>
            <a:r>
              <a:rPr lang="nl-NL"/>
              <a:t>Trends in toezicht</a:t>
            </a:r>
          </a:p>
        </p:txBody>
      </p:sp>
      <p:sp>
        <p:nvSpPr>
          <p:cNvPr id="3" name="Tijdelijke aanduiding voor inhoud 2">
            <a:extLst>
              <a:ext uri="{FF2B5EF4-FFF2-40B4-BE49-F238E27FC236}">
                <a16:creationId xmlns:a16="http://schemas.microsoft.com/office/drawing/2014/main" id="{E6592B2C-D316-7F16-1520-778432A45EC0}"/>
              </a:ext>
            </a:extLst>
          </p:cNvPr>
          <p:cNvSpPr>
            <a:spLocks noGrp="1"/>
          </p:cNvSpPr>
          <p:nvPr>
            <p:ph idx="1"/>
          </p:nvPr>
        </p:nvSpPr>
        <p:spPr/>
        <p:txBody>
          <a:bodyPr vert="horz" lIns="91440" tIns="45720" rIns="91440" bIns="45720" rtlCol="0" anchor="t">
            <a:normAutofit fontScale="92500" lnSpcReduction="10000"/>
          </a:bodyPr>
          <a:lstStyle/>
          <a:p>
            <a:pPr marL="342900" indent="-342900">
              <a:buFont typeface="Arial" panose="020B0604020202020204" pitchFamily="34" charset="0"/>
              <a:buChar char="•"/>
            </a:pPr>
            <a:r>
              <a:rPr lang="nl-NL" sz="2400">
                <a:latin typeface="Wallop"/>
              </a:rPr>
              <a:t>Toepassing diversiteit en inclusie in de volle breedte</a:t>
            </a:r>
          </a:p>
          <a:p>
            <a:pPr marL="342900" indent="-342900">
              <a:buFont typeface="Arial" panose="020B0604020202020204" pitchFamily="34" charset="0"/>
              <a:buChar char="•"/>
            </a:pPr>
            <a:r>
              <a:rPr lang="nl-NL" sz="2400">
                <a:latin typeface="Wallop"/>
              </a:rPr>
              <a:t>Verjonging</a:t>
            </a:r>
          </a:p>
          <a:p>
            <a:pPr marL="342900" indent="-342900">
              <a:buFont typeface="Arial" panose="020B0604020202020204" pitchFamily="34" charset="0"/>
              <a:buChar char="•"/>
            </a:pPr>
            <a:r>
              <a:rPr lang="nl-NL" sz="2400">
                <a:latin typeface="Wallop"/>
              </a:rPr>
              <a:t>Van hard naar soft skills</a:t>
            </a:r>
          </a:p>
          <a:p>
            <a:pPr marL="342900" indent="-342900">
              <a:buFont typeface="Arial" panose="020B0604020202020204" pitchFamily="34" charset="0"/>
              <a:buChar char="•"/>
            </a:pPr>
            <a:r>
              <a:rPr lang="nl-NL" sz="2400">
                <a:latin typeface="Wallop"/>
              </a:rPr>
              <a:t>Professionalisering neemt toe, (permanente) educatie belangrijker</a:t>
            </a:r>
          </a:p>
          <a:p>
            <a:pPr marL="342900" indent="-342900">
              <a:buFont typeface="Arial" panose="020B0604020202020204" pitchFamily="34" charset="0"/>
              <a:buChar char="•"/>
            </a:pPr>
            <a:r>
              <a:rPr lang="nl-NL" sz="2400">
                <a:latin typeface="Wallop"/>
              </a:rPr>
              <a:t>Stakeholders belangrijker</a:t>
            </a:r>
          </a:p>
          <a:p>
            <a:pPr marL="342900" indent="-342900">
              <a:buFont typeface="Arial" panose="020B0604020202020204" pitchFamily="34" charset="0"/>
              <a:buChar char="•"/>
            </a:pPr>
            <a:r>
              <a:rPr lang="nl-NL" sz="2400">
                <a:latin typeface="Wallop"/>
              </a:rPr>
              <a:t>Transitie</a:t>
            </a:r>
          </a:p>
          <a:p>
            <a:pPr marL="342900" indent="-342900">
              <a:buFont typeface="Arial" panose="020B0604020202020204" pitchFamily="34" charset="0"/>
              <a:buChar char="•"/>
            </a:pPr>
            <a:r>
              <a:rPr lang="nl-NL" sz="2400">
                <a:latin typeface="Wallop"/>
              </a:rPr>
              <a:t>Nieuwe economie (IT, cybersecurity)</a:t>
            </a:r>
          </a:p>
          <a:p>
            <a:pPr marL="342900" indent="-342900">
              <a:buFont typeface="Arial" panose="020B0604020202020204" pitchFamily="34" charset="0"/>
              <a:buChar char="•"/>
            </a:pPr>
            <a:endParaRPr lang="nl-NL" sz="2400">
              <a:latin typeface="Wallop"/>
            </a:endParaRPr>
          </a:p>
          <a:p>
            <a:pPr marL="342900" indent="-342900">
              <a:buFont typeface="Arial" panose="020B0604020202020204" pitchFamily="34" charset="0"/>
              <a:buChar char="•"/>
            </a:pPr>
            <a:endParaRPr lang="nl-NL" sz="2400">
              <a:latin typeface="Wallop"/>
            </a:endParaRPr>
          </a:p>
          <a:p>
            <a:pPr marL="342900" indent="-342900">
              <a:buFont typeface="Arial" panose="020B0604020202020204" pitchFamily="34" charset="0"/>
              <a:buChar char="•"/>
            </a:pPr>
            <a:endParaRPr lang="nl-NL" sz="2400">
              <a:latin typeface="Wallop"/>
            </a:endParaRPr>
          </a:p>
          <a:p>
            <a:pPr marL="342900" indent="-342900">
              <a:buFont typeface="Arial" panose="020B0604020202020204" pitchFamily="34" charset="0"/>
              <a:buChar char="•"/>
            </a:pPr>
            <a:endParaRPr lang="nl-NL" sz="2400">
              <a:latin typeface="Wallop"/>
            </a:endParaRPr>
          </a:p>
          <a:p>
            <a:endParaRPr lang="nl-NL" sz="2000"/>
          </a:p>
        </p:txBody>
      </p:sp>
    </p:spTree>
    <p:extLst>
      <p:ext uri="{BB962C8B-B14F-4D97-AF65-F5344CB8AC3E}">
        <p14:creationId xmlns:p14="http://schemas.microsoft.com/office/powerpoint/2010/main" val="18063377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352C21-20B7-C364-BEA8-69A46B9EB6C6}"/>
              </a:ext>
            </a:extLst>
          </p:cNvPr>
          <p:cNvSpPr>
            <a:spLocks noGrp="1"/>
          </p:cNvSpPr>
          <p:nvPr>
            <p:ph type="title"/>
          </p:nvPr>
        </p:nvSpPr>
        <p:spPr/>
        <p:txBody>
          <a:bodyPr/>
          <a:lstStyle/>
          <a:p>
            <a:r>
              <a:rPr lang="nl-NL"/>
              <a:t>Toezicht is veranderd </a:t>
            </a:r>
          </a:p>
        </p:txBody>
      </p:sp>
      <p:sp>
        <p:nvSpPr>
          <p:cNvPr id="3" name="Tijdelijke aanduiding voor inhoud 2">
            <a:extLst>
              <a:ext uri="{FF2B5EF4-FFF2-40B4-BE49-F238E27FC236}">
                <a16:creationId xmlns:a16="http://schemas.microsoft.com/office/drawing/2014/main" id="{E6592B2C-D316-7F16-1520-778432A45EC0}"/>
              </a:ext>
            </a:extLst>
          </p:cNvPr>
          <p:cNvSpPr>
            <a:spLocks noGrp="1"/>
          </p:cNvSpPr>
          <p:nvPr>
            <p:ph idx="1"/>
          </p:nvPr>
        </p:nvSpPr>
        <p:spPr>
          <a:xfrm>
            <a:off x="838200" y="1468273"/>
            <a:ext cx="10515600" cy="4351338"/>
          </a:xfrm>
        </p:spPr>
        <p:txBody>
          <a:bodyPr vert="horz" lIns="91440" tIns="45720" rIns="91440" bIns="45720" rtlCol="0" anchor="t">
            <a:normAutofit fontScale="92500" lnSpcReduction="20000"/>
          </a:bodyPr>
          <a:lstStyle/>
          <a:p>
            <a:endParaRPr lang="nl-NL" sz="2600">
              <a:latin typeface="Wallop"/>
            </a:endParaRPr>
          </a:p>
          <a:p>
            <a:pPr marL="342900" indent="-342900">
              <a:buFont typeface="Arial" panose="020B0604020202020204" pitchFamily="34" charset="0"/>
              <a:buChar char="•"/>
            </a:pPr>
            <a:r>
              <a:rPr lang="nl-NL" sz="2600">
                <a:latin typeface="Wallop"/>
              </a:rPr>
              <a:t>Altijd aanspreekbaar</a:t>
            </a:r>
          </a:p>
          <a:p>
            <a:pPr marL="342900" indent="-342900">
              <a:buFont typeface="Arial" panose="020B0604020202020204" pitchFamily="34" charset="0"/>
              <a:buChar char="•"/>
            </a:pPr>
            <a:r>
              <a:rPr lang="nl-NL" sz="2600">
                <a:latin typeface="Wallop"/>
              </a:rPr>
              <a:t>Bekend en zichtbaar</a:t>
            </a:r>
          </a:p>
          <a:p>
            <a:pPr marL="342900" indent="-342900">
              <a:buFont typeface="Arial" panose="020B0604020202020204" pitchFamily="34" charset="0"/>
              <a:buChar char="•"/>
            </a:pPr>
            <a:r>
              <a:rPr lang="nl-NL" sz="2600">
                <a:latin typeface="Wallop"/>
              </a:rPr>
              <a:t>Samenwerken </a:t>
            </a:r>
          </a:p>
          <a:p>
            <a:pPr marL="342900" indent="-342900">
              <a:buFont typeface="Arial" panose="020B0604020202020204" pitchFamily="34" charset="0"/>
              <a:buChar char="•"/>
            </a:pPr>
            <a:r>
              <a:rPr lang="nl-NL" sz="2600">
                <a:latin typeface="Wallop"/>
              </a:rPr>
              <a:t>Reflecteren</a:t>
            </a:r>
          </a:p>
          <a:p>
            <a:pPr marL="342900" indent="-342900">
              <a:buFont typeface="Arial" panose="020B0604020202020204" pitchFamily="34" charset="0"/>
              <a:buChar char="•"/>
            </a:pPr>
            <a:r>
              <a:rPr lang="nl-NL" sz="2600">
                <a:latin typeface="Wallop"/>
              </a:rPr>
              <a:t>Sparringpartner</a:t>
            </a:r>
          </a:p>
          <a:p>
            <a:pPr marL="342900" indent="-342900">
              <a:buFont typeface="Arial" panose="020B0604020202020204" pitchFamily="34" charset="0"/>
              <a:buChar char="•"/>
            </a:pPr>
            <a:r>
              <a:rPr lang="nl-NL" sz="2600">
                <a:latin typeface="Wallop"/>
              </a:rPr>
              <a:t>Waardengericht</a:t>
            </a:r>
            <a:endParaRPr lang="nl-NL" sz="2600"/>
          </a:p>
        </p:txBody>
      </p:sp>
      <p:sp>
        <p:nvSpPr>
          <p:cNvPr id="5" name="Tekstvak 4">
            <a:extLst>
              <a:ext uri="{FF2B5EF4-FFF2-40B4-BE49-F238E27FC236}">
                <a16:creationId xmlns:a16="http://schemas.microsoft.com/office/drawing/2014/main" id="{9D61A63D-972B-5CCC-8925-404BF09F244C}"/>
              </a:ext>
            </a:extLst>
          </p:cNvPr>
          <p:cNvSpPr txBox="1"/>
          <p:nvPr/>
        </p:nvSpPr>
        <p:spPr>
          <a:xfrm>
            <a:off x="3048000" y="3108293"/>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nl-NL" sz="1800" b="0" i="0" u="none" strike="noStrike" kern="1200" cap="none" spc="0" normalizeH="0" baseline="0" noProof="0">
                <a:ln>
                  <a:noFill/>
                </a:ln>
                <a:solidFill>
                  <a:srgbClr val="000000"/>
                </a:solidFill>
                <a:effectLst/>
                <a:uLnTx/>
                <a:uFillTx/>
                <a:latin typeface="Calibri" panose="020F0502020204030204"/>
                <a:ea typeface="+mn-ea"/>
                <a:cs typeface="+mn-cs"/>
              </a:rPr>
            </a:br>
            <a:endParaRPr kumimoji="0" lang="nl-NL"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5288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352C21-20B7-C364-BEA8-69A46B9EB6C6}"/>
              </a:ext>
            </a:extLst>
          </p:cNvPr>
          <p:cNvSpPr>
            <a:spLocks noGrp="1"/>
          </p:cNvSpPr>
          <p:nvPr>
            <p:ph type="title"/>
          </p:nvPr>
        </p:nvSpPr>
        <p:spPr/>
        <p:txBody>
          <a:bodyPr/>
          <a:lstStyle/>
          <a:p>
            <a:r>
              <a:rPr lang="nl-NL"/>
              <a:t>Daar horen andere competenties bij</a:t>
            </a:r>
          </a:p>
        </p:txBody>
      </p:sp>
      <p:sp>
        <p:nvSpPr>
          <p:cNvPr id="3" name="Tijdelijke aanduiding voor inhoud 2">
            <a:extLst>
              <a:ext uri="{FF2B5EF4-FFF2-40B4-BE49-F238E27FC236}">
                <a16:creationId xmlns:a16="http://schemas.microsoft.com/office/drawing/2014/main" id="{E6592B2C-D316-7F16-1520-778432A45EC0}"/>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Transparant </a:t>
            </a:r>
          </a:p>
          <a:p>
            <a:pPr marL="285750" indent="-285750">
              <a:buFont typeface="Arial" panose="020B0604020202020204" pitchFamily="34" charset="0"/>
              <a:buChar char="•"/>
            </a:pPr>
            <a:r>
              <a:rPr lang="nl-NL" sz="2400"/>
              <a:t>Communicatief</a:t>
            </a:r>
          </a:p>
          <a:p>
            <a:pPr marL="285750" indent="-285750">
              <a:buFont typeface="Arial" panose="020B0604020202020204" pitchFamily="34" charset="0"/>
              <a:buChar char="•"/>
            </a:pPr>
            <a:r>
              <a:rPr lang="nl-NL" sz="2400"/>
              <a:t>Intuïtief</a:t>
            </a:r>
          </a:p>
          <a:p>
            <a:pPr marL="285750" indent="-285750">
              <a:buFont typeface="Arial" panose="020B0604020202020204" pitchFamily="34" charset="0"/>
              <a:buChar char="•"/>
            </a:pPr>
            <a:r>
              <a:rPr lang="nl-NL" sz="2400"/>
              <a:t>Reflecterend </a:t>
            </a:r>
          </a:p>
          <a:p>
            <a:pPr marL="285750" indent="-285750">
              <a:buFont typeface="Arial" panose="020B0604020202020204" pitchFamily="34" charset="0"/>
              <a:buChar char="•"/>
            </a:pPr>
            <a:r>
              <a:rPr lang="nl-NL" sz="2400"/>
              <a:t>Vertrouwen </a:t>
            </a:r>
          </a:p>
          <a:p>
            <a:pPr marL="285750" indent="-285750">
              <a:buFont typeface="Arial" panose="020B0604020202020204" pitchFamily="34" charset="0"/>
              <a:buChar char="•"/>
            </a:pPr>
            <a:r>
              <a:rPr lang="nl-NL" sz="2400"/>
              <a:t>Ambitieus </a:t>
            </a:r>
          </a:p>
          <a:p>
            <a:endParaRPr lang="nl-NL" sz="2400"/>
          </a:p>
        </p:txBody>
      </p:sp>
    </p:spTree>
    <p:extLst>
      <p:ext uri="{BB962C8B-B14F-4D97-AF65-F5344CB8AC3E}">
        <p14:creationId xmlns:p14="http://schemas.microsoft.com/office/powerpoint/2010/main" val="12797892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532B7-DAEE-8DCE-2484-F1A14B77090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7FF37FD-30E5-B78E-6E05-31D40083164B}"/>
              </a:ext>
            </a:extLst>
          </p:cNvPr>
          <p:cNvSpPr>
            <a:spLocks noGrp="1"/>
          </p:cNvSpPr>
          <p:nvPr>
            <p:ph type="title"/>
          </p:nvPr>
        </p:nvSpPr>
        <p:spPr/>
        <p:txBody>
          <a:bodyPr/>
          <a:lstStyle/>
          <a:p>
            <a:r>
              <a:rPr lang="nl-NL"/>
              <a:t>Diversiteit en nieuw bloed is belangrijk</a:t>
            </a:r>
          </a:p>
        </p:txBody>
      </p:sp>
      <p:sp>
        <p:nvSpPr>
          <p:cNvPr id="3" name="Tijdelijke aanduiding voor inhoud 2">
            <a:extLst>
              <a:ext uri="{FF2B5EF4-FFF2-40B4-BE49-F238E27FC236}">
                <a16:creationId xmlns:a16="http://schemas.microsoft.com/office/drawing/2014/main" id="{0CAFAF69-BC4B-3108-1055-9824CF87363A}"/>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Nieuw leiderschap</a:t>
            </a:r>
          </a:p>
          <a:p>
            <a:pPr marL="285750" indent="-285750">
              <a:buFont typeface="Arial" panose="020B0604020202020204" pitchFamily="34" charset="0"/>
              <a:buChar char="•"/>
            </a:pPr>
            <a:r>
              <a:rPr lang="nl-NL" sz="2400"/>
              <a:t>Visie op strategische IT, duurzaamheid, milieu</a:t>
            </a:r>
          </a:p>
          <a:p>
            <a:pPr marL="285750" indent="-285750">
              <a:buFont typeface="Arial" panose="020B0604020202020204" pitchFamily="34" charset="0"/>
              <a:buChar char="•"/>
            </a:pPr>
            <a:r>
              <a:rPr lang="nl-NL" sz="2400"/>
              <a:t>Netwerkorganisaties</a:t>
            </a:r>
          </a:p>
          <a:p>
            <a:pPr marL="285750" indent="-285750">
              <a:buFont typeface="Arial" panose="020B0604020202020204" pitchFamily="34" charset="0"/>
              <a:buChar char="•"/>
            </a:pPr>
            <a:r>
              <a:rPr lang="nl-NL" sz="2400"/>
              <a:t>Nieuwe businessmodellen</a:t>
            </a:r>
          </a:p>
          <a:p>
            <a:pPr marL="285750" indent="-285750">
              <a:buFont typeface="Arial" panose="020B0604020202020204" pitchFamily="34" charset="0"/>
              <a:buChar char="•"/>
            </a:pPr>
            <a:r>
              <a:rPr lang="nl-NL" sz="2400"/>
              <a:t>Waardecreatie</a:t>
            </a:r>
          </a:p>
          <a:p>
            <a:pPr marL="285750" indent="-285750">
              <a:buFont typeface="Arial" panose="020B0604020202020204" pitchFamily="34" charset="0"/>
              <a:buChar char="•"/>
            </a:pPr>
            <a:r>
              <a:rPr lang="nl-NL" sz="2400"/>
              <a:t>Lef en moed</a:t>
            </a:r>
          </a:p>
          <a:p>
            <a:endParaRPr lang="nl-NL" sz="2400"/>
          </a:p>
        </p:txBody>
      </p:sp>
    </p:spTree>
    <p:extLst>
      <p:ext uri="{BB962C8B-B14F-4D97-AF65-F5344CB8AC3E}">
        <p14:creationId xmlns:p14="http://schemas.microsoft.com/office/powerpoint/2010/main" val="907288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F2F51-EF8F-794F-51A0-EA6FD24E0A4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8D4521D-0759-EC9B-3A64-3552F41B3180}"/>
              </a:ext>
            </a:extLst>
          </p:cNvPr>
          <p:cNvSpPr>
            <a:spLocks noGrp="1"/>
          </p:cNvSpPr>
          <p:nvPr>
            <p:ph type="title"/>
          </p:nvPr>
        </p:nvSpPr>
        <p:spPr/>
        <p:txBody>
          <a:bodyPr/>
          <a:lstStyle/>
          <a:p>
            <a:r>
              <a:rPr lang="nl-NL"/>
              <a:t>Hoe te oriënteren</a:t>
            </a:r>
          </a:p>
        </p:txBody>
      </p:sp>
      <p:sp>
        <p:nvSpPr>
          <p:cNvPr id="3" name="Tijdelijke aanduiding voor inhoud 2">
            <a:extLst>
              <a:ext uri="{FF2B5EF4-FFF2-40B4-BE49-F238E27FC236}">
                <a16:creationId xmlns:a16="http://schemas.microsoft.com/office/drawing/2014/main" id="{EA01DE45-4D46-AC81-73A7-A8A4FC336751}"/>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Netwerkbijeenkomsten</a:t>
            </a:r>
          </a:p>
          <a:p>
            <a:pPr marL="285750" indent="-285750">
              <a:buFont typeface="Arial" panose="020B0604020202020204" pitchFamily="34" charset="0"/>
              <a:buChar char="•"/>
            </a:pPr>
            <a:r>
              <a:rPr lang="nl-NL" sz="2400"/>
              <a:t>Opleiding</a:t>
            </a:r>
          </a:p>
          <a:p>
            <a:pPr marL="285750" indent="-285750">
              <a:buFont typeface="Arial" panose="020B0604020202020204" pitchFamily="34" charset="0"/>
              <a:buChar char="•"/>
            </a:pPr>
            <a:r>
              <a:rPr lang="nl-NL" sz="2400" err="1"/>
              <a:t>Traineeship</a:t>
            </a:r>
            <a:endParaRPr lang="nl-NL" sz="2400"/>
          </a:p>
          <a:p>
            <a:pPr marL="285750" indent="-285750">
              <a:buFont typeface="Arial" panose="020B0604020202020204" pitchFamily="34" charset="0"/>
              <a:buChar char="•"/>
            </a:pPr>
            <a:r>
              <a:rPr lang="nl-NL" sz="2400" err="1"/>
              <a:t>Social</a:t>
            </a:r>
            <a:r>
              <a:rPr lang="nl-NL" sz="2400"/>
              <a:t> media</a:t>
            </a:r>
          </a:p>
          <a:p>
            <a:pPr marL="285750" indent="-285750">
              <a:buFont typeface="Arial" panose="020B0604020202020204" pitchFamily="34" charset="0"/>
              <a:buChar char="•"/>
            </a:pPr>
            <a:r>
              <a:rPr lang="nl-NL" sz="2400"/>
              <a:t>Vacatures</a:t>
            </a:r>
          </a:p>
          <a:p>
            <a:pPr marL="285750" indent="-285750">
              <a:buFont typeface="Arial" panose="020B0604020202020204" pitchFamily="34" charset="0"/>
              <a:buChar char="•"/>
            </a:pPr>
            <a:r>
              <a:rPr lang="nl-NL" sz="2400"/>
              <a:t>Bureaus </a:t>
            </a:r>
          </a:p>
          <a:p>
            <a:endParaRPr lang="nl-NL" sz="2400"/>
          </a:p>
        </p:txBody>
      </p:sp>
    </p:spTree>
    <p:extLst>
      <p:ext uri="{BB962C8B-B14F-4D97-AF65-F5344CB8AC3E}">
        <p14:creationId xmlns:p14="http://schemas.microsoft.com/office/powerpoint/2010/main" val="42434581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85930-22D4-AB0C-F7E2-D804BECAD7F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BDB7D60-B734-10F0-C349-9CEFF1CB41BC}"/>
              </a:ext>
            </a:extLst>
          </p:cNvPr>
          <p:cNvSpPr>
            <a:spLocks noGrp="1"/>
          </p:cNvSpPr>
          <p:nvPr>
            <p:ph type="title"/>
          </p:nvPr>
        </p:nvSpPr>
        <p:spPr/>
        <p:txBody>
          <a:bodyPr/>
          <a:lstStyle/>
          <a:p>
            <a:r>
              <a:rPr lang="nl-NL"/>
              <a:t>Opleiding</a:t>
            </a:r>
          </a:p>
        </p:txBody>
      </p:sp>
      <p:sp>
        <p:nvSpPr>
          <p:cNvPr id="3" name="Tijdelijke aanduiding voor inhoud 2">
            <a:extLst>
              <a:ext uri="{FF2B5EF4-FFF2-40B4-BE49-F238E27FC236}">
                <a16:creationId xmlns:a16="http://schemas.microsoft.com/office/drawing/2014/main" id="{C279E705-7DC6-7E54-9BE9-66D48FFC87DB}"/>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Universitair (Nyenrode, </a:t>
            </a:r>
            <a:r>
              <a:rPr lang="nl-NL" sz="2400" err="1"/>
              <a:t>Tias</a:t>
            </a:r>
            <a:r>
              <a:rPr lang="nl-NL" sz="2400"/>
              <a:t>, Erasmus)</a:t>
            </a:r>
          </a:p>
          <a:p>
            <a:pPr marL="285750" indent="-285750">
              <a:buFont typeface="Arial" panose="020B0604020202020204" pitchFamily="34" charset="0"/>
              <a:buChar char="•"/>
            </a:pPr>
            <a:r>
              <a:rPr lang="nl-NL" sz="2400"/>
              <a:t>Academies (Erkende toezichthouder, Wagner, NCD)</a:t>
            </a:r>
          </a:p>
          <a:p>
            <a:pPr marL="285750" indent="-285750">
              <a:buFont typeface="Arial" panose="020B0604020202020204" pitchFamily="34" charset="0"/>
              <a:buChar char="•"/>
            </a:pPr>
            <a:r>
              <a:rPr lang="nl-NL" sz="2400"/>
              <a:t>Accountantskantoren</a:t>
            </a:r>
          </a:p>
          <a:p>
            <a:pPr marL="285750" indent="-285750">
              <a:buFont typeface="Arial" panose="020B0604020202020204" pitchFamily="34" charset="0"/>
              <a:buChar char="•"/>
            </a:pPr>
            <a:r>
              <a:rPr lang="nl-NL" sz="2400"/>
              <a:t>Brancheverenigingen (NVTZ, VTW, </a:t>
            </a:r>
            <a:r>
              <a:rPr lang="nl-NL" sz="2400" err="1"/>
              <a:t>Cultuur+Ondernemen</a:t>
            </a:r>
            <a:r>
              <a:rPr lang="nl-NL" sz="2400"/>
              <a:t>)</a:t>
            </a:r>
          </a:p>
          <a:p>
            <a:endParaRPr lang="nl-NL" sz="2400"/>
          </a:p>
        </p:txBody>
      </p:sp>
    </p:spTree>
    <p:extLst>
      <p:ext uri="{BB962C8B-B14F-4D97-AF65-F5344CB8AC3E}">
        <p14:creationId xmlns:p14="http://schemas.microsoft.com/office/powerpoint/2010/main" val="29842756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074504" y="4537628"/>
            <a:ext cx="11739254" cy="461842"/>
          </a:xfrm>
        </p:spPr>
        <p:txBody>
          <a:bodyPr>
            <a:noAutofit/>
          </a:bodyPr>
          <a:lstStyle/>
          <a:p>
            <a:pPr>
              <a:lnSpc>
                <a:spcPct val="150000"/>
              </a:lnSpc>
            </a:pPr>
            <a:r>
              <a:rPr lang="nl-NL" sz="3386"/>
              <a:t>Goed Bestuur &amp; Toezicht: veelgevraagd, best lastig </a:t>
            </a:r>
            <a:br>
              <a:rPr lang="en-US" sz="3174"/>
            </a:br>
            <a:r>
              <a:rPr lang="en-US" sz="2539" b="0"/>
              <a:t>Prof. dr. </a:t>
            </a:r>
            <a:r>
              <a:rPr lang="en-US" sz="2539" b="0" err="1"/>
              <a:t>Leen</a:t>
            </a:r>
            <a:r>
              <a:rPr lang="en-US" sz="2539" b="0"/>
              <a:t> </a:t>
            </a:r>
            <a:r>
              <a:rPr lang="en-US" sz="2539" b="0" err="1"/>
              <a:t>Paape</a:t>
            </a:r>
            <a:r>
              <a:rPr lang="en-US" sz="2539" b="0"/>
              <a:t> RA RO CIA</a:t>
            </a:r>
            <a:endParaRPr lang="en-US" sz="3174"/>
          </a:p>
        </p:txBody>
      </p:sp>
      <p:sp>
        <p:nvSpPr>
          <p:cNvPr id="3" name="Ondertitel 2"/>
          <p:cNvSpPr>
            <a:spLocks noGrp="1"/>
          </p:cNvSpPr>
          <p:nvPr>
            <p:ph type="subTitle" idx="1"/>
          </p:nvPr>
        </p:nvSpPr>
        <p:spPr>
          <a:xfrm>
            <a:off x="9600958" y="5638648"/>
            <a:ext cx="11739254" cy="287988"/>
          </a:xfrm>
        </p:spPr>
        <p:txBody>
          <a:bodyPr/>
          <a:lstStyle/>
          <a:p>
            <a:r>
              <a:rPr lang="en-US"/>
              <a:t>8 </a:t>
            </a:r>
            <a:r>
              <a:rPr lang="en-US" err="1"/>
              <a:t>april</a:t>
            </a:r>
            <a:r>
              <a:rPr lang="en-US"/>
              <a:t> 2025</a:t>
            </a:r>
          </a:p>
        </p:txBody>
      </p:sp>
    </p:spTree>
    <p:extLst>
      <p:ext uri="{BB962C8B-B14F-4D97-AF65-F5344CB8AC3E}">
        <p14:creationId xmlns:p14="http://schemas.microsoft.com/office/powerpoint/2010/main" val="194432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415EEC-6F61-B565-4F1E-2AB5E728DB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CAC3A6D-2C1D-605D-12B4-176D789F614D}"/>
              </a:ext>
            </a:extLst>
          </p:cNvPr>
          <p:cNvSpPr>
            <a:spLocks noGrp="1"/>
          </p:cNvSpPr>
          <p:nvPr>
            <p:ph type="title"/>
          </p:nvPr>
        </p:nvSpPr>
        <p:spPr/>
        <p:txBody>
          <a:bodyPr/>
          <a:lstStyle/>
          <a:p>
            <a:r>
              <a:rPr lang="nl-NL"/>
              <a:t>Waarom wil jij toezicht houden?</a:t>
            </a:r>
          </a:p>
        </p:txBody>
      </p:sp>
      <p:sp>
        <p:nvSpPr>
          <p:cNvPr id="3" name="Tijdelijke aanduiding voor inhoud 2">
            <a:extLst>
              <a:ext uri="{FF2B5EF4-FFF2-40B4-BE49-F238E27FC236}">
                <a16:creationId xmlns:a16="http://schemas.microsoft.com/office/drawing/2014/main" id="{E6E04364-5A5B-6FB9-5EA7-D2593D8FDF1B}"/>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Waarom deze rol?</a:t>
            </a:r>
          </a:p>
          <a:p>
            <a:pPr marL="285750" indent="-285750">
              <a:buFont typeface="Arial" panose="020B0604020202020204" pitchFamily="34" charset="0"/>
              <a:buChar char="•"/>
            </a:pPr>
            <a:r>
              <a:rPr lang="nl-NL" sz="2400"/>
              <a:t>Wat vind je belangrijk?</a:t>
            </a:r>
          </a:p>
          <a:p>
            <a:pPr marL="285750" indent="-285750">
              <a:buFont typeface="Arial" panose="020B0604020202020204" pitchFamily="34" charset="0"/>
              <a:buChar char="•"/>
            </a:pPr>
            <a:r>
              <a:rPr lang="nl-NL" sz="2400"/>
              <a:t>Wat wil je bijdragen?</a:t>
            </a:r>
          </a:p>
          <a:p>
            <a:pPr marL="285750" indent="-285750">
              <a:buFont typeface="Arial" panose="020B0604020202020204" pitchFamily="34" charset="0"/>
              <a:buChar char="•"/>
            </a:pPr>
            <a:r>
              <a:rPr lang="nl-NL" sz="2400"/>
              <a:t>Wat heb je toe te voegen?</a:t>
            </a:r>
          </a:p>
          <a:p>
            <a:pPr marL="285750" indent="-285750">
              <a:buFont typeface="Arial" panose="020B0604020202020204" pitchFamily="34" charset="0"/>
              <a:buChar char="•"/>
            </a:pPr>
            <a:r>
              <a:rPr lang="nl-NL" sz="2400"/>
              <a:t>Expertise</a:t>
            </a:r>
          </a:p>
          <a:p>
            <a:pPr marL="285750" indent="-285750">
              <a:buFont typeface="Arial" panose="020B0604020202020204" pitchFamily="34" charset="0"/>
              <a:buChar char="•"/>
            </a:pPr>
            <a:r>
              <a:rPr lang="nl-NL" sz="2400"/>
              <a:t>In het team als persoon</a:t>
            </a:r>
          </a:p>
          <a:p>
            <a:endParaRPr lang="nl-NL" sz="2400"/>
          </a:p>
        </p:txBody>
      </p:sp>
    </p:spTree>
    <p:extLst>
      <p:ext uri="{BB962C8B-B14F-4D97-AF65-F5344CB8AC3E}">
        <p14:creationId xmlns:p14="http://schemas.microsoft.com/office/powerpoint/2010/main" val="2396030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FBB92-B8C3-041D-6FE6-690F202BFC6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5AC8076-E5F2-97B3-683D-34A24773451F}"/>
              </a:ext>
            </a:extLst>
          </p:cNvPr>
          <p:cNvSpPr>
            <a:spLocks noGrp="1"/>
          </p:cNvSpPr>
          <p:nvPr>
            <p:ph type="title"/>
          </p:nvPr>
        </p:nvSpPr>
        <p:spPr/>
        <p:txBody>
          <a:bodyPr/>
          <a:lstStyle/>
          <a:p>
            <a:r>
              <a:rPr lang="nl-NL"/>
              <a:t>Wie ben jij als toezichthouder?</a:t>
            </a:r>
          </a:p>
        </p:txBody>
      </p:sp>
      <p:sp>
        <p:nvSpPr>
          <p:cNvPr id="3" name="Tijdelijke aanduiding voor inhoud 2">
            <a:extLst>
              <a:ext uri="{FF2B5EF4-FFF2-40B4-BE49-F238E27FC236}">
                <a16:creationId xmlns:a16="http://schemas.microsoft.com/office/drawing/2014/main" id="{B4EE2284-4F25-7128-2DA9-133CD7BCB1CD}"/>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Wat wil je bijdragen, waarom investeer je je tijd?</a:t>
            </a:r>
          </a:p>
          <a:p>
            <a:pPr marL="285750" indent="-285750">
              <a:buFont typeface="Arial" panose="020B0604020202020204" pitchFamily="34" charset="0"/>
              <a:buChar char="•"/>
            </a:pPr>
            <a:r>
              <a:rPr lang="nl-NL" sz="2400"/>
              <a:t>Wat kom je brengen?</a:t>
            </a:r>
          </a:p>
          <a:p>
            <a:pPr marL="285750" indent="-285750">
              <a:buFont typeface="Arial" panose="020B0604020202020204" pitchFamily="34" charset="0"/>
              <a:buChar char="•"/>
            </a:pPr>
            <a:r>
              <a:rPr lang="nl-NL" sz="2400"/>
              <a:t>Waarom is dat relevant?</a:t>
            </a:r>
          </a:p>
          <a:p>
            <a:pPr marL="285750" indent="-285750">
              <a:buFont typeface="Arial" panose="020B0604020202020204" pitchFamily="34" charset="0"/>
              <a:buChar char="•"/>
            </a:pPr>
            <a:r>
              <a:rPr lang="nl-NL" sz="2400"/>
              <a:t>Wat kom je halen?</a:t>
            </a:r>
          </a:p>
          <a:p>
            <a:pPr marL="285750" indent="-285750">
              <a:buFont typeface="Arial" panose="020B0604020202020204" pitchFamily="34" charset="0"/>
              <a:buChar char="•"/>
            </a:pPr>
            <a:r>
              <a:rPr lang="nl-NL" sz="2400"/>
              <a:t>Wie ben jij, wat voeg je toe aan het team?</a:t>
            </a:r>
          </a:p>
          <a:p>
            <a:pPr marL="285750" indent="-285750">
              <a:buFont typeface="Arial" panose="020B0604020202020204" pitchFamily="34" charset="0"/>
              <a:buChar char="•"/>
            </a:pPr>
            <a:r>
              <a:rPr lang="nl-NL" sz="2400"/>
              <a:t>Wat zijn jouw belangrijkste waarden in toezicht?</a:t>
            </a:r>
          </a:p>
          <a:p>
            <a:endParaRPr lang="nl-NL" sz="2400"/>
          </a:p>
        </p:txBody>
      </p:sp>
    </p:spTree>
    <p:extLst>
      <p:ext uri="{BB962C8B-B14F-4D97-AF65-F5344CB8AC3E}">
        <p14:creationId xmlns:p14="http://schemas.microsoft.com/office/powerpoint/2010/main" val="1788078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7A1D6-817B-AC75-7005-B4F4C6584AA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FF95A49-1E20-8966-EA2B-3D5663B9EB61}"/>
              </a:ext>
            </a:extLst>
          </p:cNvPr>
          <p:cNvSpPr>
            <a:spLocks noGrp="1"/>
          </p:cNvSpPr>
          <p:nvPr>
            <p:ph type="title"/>
          </p:nvPr>
        </p:nvSpPr>
        <p:spPr/>
        <p:txBody>
          <a:bodyPr/>
          <a:lstStyle/>
          <a:p>
            <a:r>
              <a:rPr lang="nl-NL"/>
              <a:t>Solliciteren</a:t>
            </a:r>
          </a:p>
        </p:txBody>
      </p:sp>
      <p:sp>
        <p:nvSpPr>
          <p:cNvPr id="3" name="Tijdelijke aanduiding voor inhoud 2">
            <a:extLst>
              <a:ext uri="{FF2B5EF4-FFF2-40B4-BE49-F238E27FC236}">
                <a16:creationId xmlns:a16="http://schemas.microsoft.com/office/drawing/2014/main" id="{D95927EF-1A8B-AF01-976E-A933D732A6E1}"/>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Verken de opties, zijn er belemmeringen</a:t>
            </a:r>
          </a:p>
          <a:p>
            <a:pPr marL="285750" indent="-285750">
              <a:buFont typeface="Arial" panose="020B0604020202020204" pitchFamily="34" charset="0"/>
              <a:buChar char="•"/>
            </a:pPr>
            <a:r>
              <a:rPr lang="nl-NL" sz="2400"/>
              <a:t>CV </a:t>
            </a:r>
          </a:p>
          <a:p>
            <a:pPr marL="285750" indent="-285750">
              <a:buFont typeface="Arial" panose="020B0604020202020204" pitchFamily="34" charset="0"/>
              <a:buChar char="•"/>
            </a:pPr>
            <a:r>
              <a:rPr lang="nl-NL" sz="2400"/>
              <a:t>Motivatiebrief</a:t>
            </a:r>
          </a:p>
          <a:p>
            <a:pPr marL="285750" indent="-285750">
              <a:buFont typeface="Arial" panose="020B0604020202020204" pitchFamily="34" charset="0"/>
              <a:buChar char="•"/>
            </a:pPr>
            <a:r>
              <a:rPr lang="nl-NL" sz="2400"/>
              <a:t>Bestuurservaring</a:t>
            </a:r>
          </a:p>
          <a:p>
            <a:endParaRPr lang="nl-NL" sz="2400"/>
          </a:p>
        </p:txBody>
      </p:sp>
    </p:spTree>
    <p:extLst>
      <p:ext uri="{BB962C8B-B14F-4D97-AF65-F5344CB8AC3E}">
        <p14:creationId xmlns:p14="http://schemas.microsoft.com/office/powerpoint/2010/main" val="7742403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0EBC27-8490-B144-F2C5-D5A90880DE0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EAADFEF-959E-87CF-9F58-404210919451}"/>
              </a:ext>
            </a:extLst>
          </p:cNvPr>
          <p:cNvSpPr>
            <a:spLocks noGrp="1"/>
          </p:cNvSpPr>
          <p:nvPr>
            <p:ph type="title"/>
          </p:nvPr>
        </p:nvSpPr>
        <p:spPr/>
        <p:txBody>
          <a:bodyPr/>
          <a:lstStyle/>
          <a:p>
            <a:r>
              <a:rPr lang="nl-NL"/>
              <a:t>Hoe bereid je je voor?</a:t>
            </a:r>
          </a:p>
        </p:txBody>
      </p:sp>
      <p:sp>
        <p:nvSpPr>
          <p:cNvPr id="3" name="Tijdelijke aanduiding voor inhoud 2">
            <a:extLst>
              <a:ext uri="{FF2B5EF4-FFF2-40B4-BE49-F238E27FC236}">
                <a16:creationId xmlns:a16="http://schemas.microsoft.com/office/drawing/2014/main" id="{85CDEFC6-1DC4-9BE9-A887-DE1EE1B09439}"/>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Lees de stukken!</a:t>
            </a:r>
          </a:p>
          <a:p>
            <a:pPr marL="285750" indent="-285750">
              <a:buFont typeface="Arial" panose="020B0604020202020204" pitchFamily="34" charset="0"/>
              <a:buChar char="•"/>
            </a:pPr>
            <a:r>
              <a:rPr lang="nl-NL" sz="2400"/>
              <a:t>Denk na de over de omgeving, uitdagingen, stakeholders</a:t>
            </a:r>
          </a:p>
          <a:p>
            <a:pPr marL="285750" indent="-285750">
              <a:buFont typeface="Arial" panose="020B0604020202020204" pitchFamily="34" charset="0"/>
              <a:buChar char="•"/>
            </a:pPr>
            <a:r>
              <a:rPr lang="nl-NL" sz="2400"/>
              <a:t>Toegevoegde waarde in team van toezichthouders</a:t>
            </a:r>
          </a:p>
          <a:p>
            <a:pPr marL="285750" indent="-285750">
              <a:buFont typeface="Arial" panose="020B0604020202020204" pitchFamily="34" charset="0"/>
              <a:buChar char="•"/>
            </a:pPr>
            <a:r>
              <a:rPr lang="nl-NL" sz="2400"/>
              <a:t>Stel vragen, past deze rol op deze plek met deze mensen bij jou?</a:t>
            </a:r>
          </a:p>
          <a:p>
            <a:endParaRPr lang="nl-NL" sz="2400"/>
          </a:p>
        </p:txBody>
      </p:sp>
    </p:spTree>
    <p:extLst>
      <p:ext uri="{BB962C8B-B14F-4D97-AF65-F5344CB8AC3E}">
        <p14:creationId xmlns:p14="http://schemas.microsoft.com/office/powerpoint/2010/main" val="21518732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36AF1-C618-03F6-B4AA-C431B264319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5CFA4F2-AEF7-541E-1078-FE6310C4AF8C}"/>
              </a:ext>
            </a:extLst>
          </p:cNvPr>
          <p:cNvSpPr>
            <a:spLocks noGrp="1"/>
          </p:cNvSpPr>
          <p:nvPr>
            <p:ph type="title"/>
          </p:nvPr>
        </p:nvSpPr>
        <p:spPr/>
        <p:txBody>
          <a:bodyPr/>
          <a:lstStyle/>
          <a:p>
            <a:r>
              <a:rPr lang="nl-NL"/>
              <a:t>Bestuurservaring</a:t>
            </a:r>
          </a:p>
        </p:txBody>
      </p:sp>
      <p:sp>
        <p:nvSpPr>
          <p:cNvPr id="3" name="Tijdelijke aanduiding voor inhoud 2">
            <a:extLst>
              <a:ext uri="{FF2B5EF4-FFF2-40B4-BE49-F238E27FC236}">
                <a16:creationId xmlns:a16="http://schemas.microsoft.com/office/drawing/2014/main" id="{483034C9-3D28-3F38-BCC4-12DD51116B45}"/>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Eindverantwoordelijke ervaring</a:t>
            </a:r>
          </a:p>
          <a:p>
            <a:pPr marL="285750" indent="-285750">
              <a:buFont typeface="Arial" panose="020B0604020202020204" pitchFamily="34" charset="0"/>
              <a:buChar char="•"/>
            </a:pPr>
            <a:r>
              <a:rPr lang="nl-NL" sz="2400"/>
              <a:t>Bestuurlijke ervaring</a:t>
            </a:r>
          </a:p>
          <a:p>
            <a:pPr marL="285750" indent="-285750">
              <a:buFont typeface="Arial" panose="020B0604020202020204" pitchFamily="34" charset="0"/>
              <a:buChar char="•"/>
            </a:pPr>
            <a:r>
              <a:rPr lang="nl-NL" sz="2400"/>
              <a:t>Maar ook MR, OR, belangenvereniging of sportvereniging</a:t>
            </a:r>
          </a:p>
          <a:p>
            <a:endParaRPr lang="nl-NL" sz="2400"/>
          </a:p>
          <a:p>
            <a:endParaRPr lang="nl-NL" sz="2400"/>
          </a:p>
        </p:txBody>
      </p:sp>
    </p:spTree>
    <p:extLst>
      <p:ext uri="{BB962C8B-B14F-4D97-AF65-F5344CB8AC3E}">
        <p14:creationId xmlns:p14="http://schemas.microsoft.com/office/powerpoint/2010/main" val="2122888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893DD-0D37-E4FE-8B1E-B80918C54B2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CDB50AE-C02E-A985-C22A-B054DAEC8861}"/>
              </a:ext>
            </a:extLst>
          </p:cNvPr>
          <p:cNvSpPr>
            <a:spLocks noGrp="1"/>
          </p:cNvSpPr>
          <p:nvPr>
            <p:ph type="title"/>
          </p:nvPr>
        </p:nvSpPr>
        <p:spPr/>
        <p:txBody>
          <a:bodyPr/>
          <a:lstStyle/>
          <a:p>
            <a:r>
              <a:rPr lang="nl-NL" dirty="0"/>
              <a:t>Begin</a:t>
            </a:r>
          </a:p>
        </p:txBody>
      </p:sp>
      <p:sp>
        <p:nvSpPr>
          <p:cNvPr id="3" name="Tijdelijke aanduiding voor inhoud 2">
            <a:extLst>
              <a:ext uri="{FF2B5EF4-FFF2-40B4-BE49-F238E27FC236}">
                <a16:creationId xmlns:a16="http://schemas.microsoft.com/office/drawing/2014/main" id="{34165255-B1C9-4C57-B783-0521DCBC6688}"/>
              </a:ext>
            </a:extLst>
          </p:cNvPr>
          <p:cNvSpPr>
            <a:spLocks noGrp="1"/>
          </p:cNvSpPr>
          <p:nvPr>
            <p:ph idx="1"/>
          </p:nvPr>
        </p:nvSpPr>
        <p:spPr/>
        <p:txBody>
          <a:bodyPr>
            <a:normAutofit/>
          </a:bodyPr>
          <a:lstStyle/>
          <a:p>
            <a:pPr marL="285750" indent="-285750">
              <a:buFont typeface="Arial" panose="020B0604020202020204" pitchFamily="34" charset="0"/>
              <a:buChar char="•"/>
            </a:pPr>
            <a:r>
              <a:rPr lang="nl-NL" sz="2400"/>
              <a:t>Maak een profiel van jezelf als toezichthouder</a:t>
            </a:r>
          </a:p>
          <a:p>
            <a:pPr marL="285750" indent="-285750">
              <a:buFont typeface="Arial" panose="020B0604020202020204" pitchFamily="34" charset="0"/>
              <a:buChar char="•"/>
            </a:pPr>
            <a:r>
              <a:rPr lang="nl-NL" sz="2400"/>
              <a:t>Communiceer het in je netwerk</a:t>
            </a:r>
          </a:p>
          <a:p>
            <a:pPr marL="285750" indent="-285750">
              <a:buFont typeface="Arial" panose="020B0604020202020204" pitchFamily="34" charset="0"/>
              <a:buChar char="•"/>
            </a:pPr>
            <a:r>
              <a:rPr lang="nl-NL" sz="2400"/>
              <a:t>Volg ontwikkelingen en nieuwsbrieven in de branche die je interessant vindt</a:t>
            </a:r>
          </a:p>
          <a:p>
            <a:pPr marL="285750" indent="-285750">
              <a:buFont typeface="Arial" panose="020B0604020202020204" pitchFamily="34" charset="0"/>
              <a:buChar char="•"/>
            </a:pPr>
            <a:r>
              <a:rPr lang="nl-NL" sz="2400"/>
              <a:t>Zoek ook de vacatures die minder zichtbaar zijn</a:t>
            </a:r>
          </a:p>
          <a:p>
            <a:pPr marL="285750" indent="-285750">
              <a:buFont typeface="Arial" panose="020B0604020202020204" pitchFamily="34" charset="0"/>
              <a:buChar char="•"/>
            </a:pPr>
            <a:r>
              <a:rPr lang="nl-NL" sz="2400"/>
              <a:t>Start klein</a:t>
            </a:r>
          </a:p>
          <a:p>
            <a:pPr marL="285750" indent="-285750">
              <a:buFont typeface="Arial" panose="020B0604020202020204" pitchFamily="34" charset="0"/>
              <a:buChar char="•"/>
            </a:pPr>
            <a:endParaRPr lang="nl-NL" sz="2400"/>
          </a:p>
          <a:p>
            <a:endParaRPr lang="nl-NL" sz="2400"/>
          </a:p>
          <a:p>
            <a:endParaRPr lang="nl-NL" sz="2400"/>
          </a:p>
        </p:txBody>
      </p:sp>
    </p:spTree>
    <p:extLst>
      <p:ext uri="{BB962C8B-B14F-4D97-AF65-F5344CB8AC3E}">
        <p14:creationId xmlns:p14="http://schemas.microsoft.com/office/powerpoint/2010/main" val="35592441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352C21-20B7-C364-BEA8-69A46B9EB6C6}"/>
              </a:ext>
            </a:extLst>
          </p:cNvPr>
          <p:cNvSpPr>
            <a:spLocks noGrp="1"/>
          </p:cNvSpPr>
          <p:nvPr>
            <p:ph type="title"/>
          </p:nvPr>
        </p:nvSpPr>
        <p:spPr>
          <a:xfrm>
            <a:off x="839788" y="457200"/>
            <a:ext cx="3932237" cy="1600200"/>
          </a:xfrm>
        </p:spPr>
        <p:txBody>
          <a:bodyPr anchor="b">
            <a:normAutofit/>
          </a:bodyPr>
          <a:lstStyle/>
          <a:p>
            <a:r>
              <a:rPr lang="nl-NL" sz="4400" dirty="0"/>
              <a:t>Vragen?</a:t>
            </a:r>
          </a:p>
        </p:txBody>
      </p:sp>
      <p:sp>
        <p:nvSpPr>
          <p:cNvPr id="3" name="Tijdelijke aanduiding voor inhoud 2">
            <a:extLst>
              <a:ext uri="{FF2B5EF4-FFF2-40B4-BE49-F238E27FC236}">
                <a16:creationId xmlns:a16="http://schemas.microsoft.com/office/drawing/2014/main" id="{E6592B2C-D316-7F16-1520-778432A45EC0}"/>
              </a:ext>
            </a:extLst>
          </p:cNvPr>
          <p:cNvSpPr>
            <a:spLocks noGrp="1"/>
          </p:cNvSpPr>
          <p:nvPr>
            <p:ph type="body" sz="half" idx="2"/>
          </p:nvPr>
        </p:nvSpPr>
        <p:spPr>
          <a:xfrm>
            <a:off x="839788" y="2057400"/>
            <a:ext cx="3932237" cy="3811588"/>
          </a:xfrm>
        </p:spPr>
        <p:txBody>
          <a:bodyPr>
            <a:normAutofit/>
          </a:bodyPr>
          <a:lstStyle/>
          <a:p>
            <a:endParaRPr lang="nl-NL"/>
          </a:p>
          <a:p>
            <a:endParaRPr lang="nl-NL"/>
          </a:p>
        </p:txBody>
      </p:sp>
      <p:pic>
        <p:nvPicPr>
          <p:cNvPr id="5" name="Afbeelding 4">
            <a:extLst>
              <a:ext uri="{FF2B5EF4-FFF2-40B4-BE49-F238E27FC236}">
                <a16:creationId xmlns:a16="http://schemas.microsoft.com/office/drawing/2014/main" id="{93A67C57-F405-56E1-0DD3-A2220D651E8D}"/>
              </a:ext>
            </a:extLst>
          </p:cNvPr>
          <p:cNvPicPr>
            <a:picLocks noChangeAspect="1"/>
          </p:cNvPicPr>
          <p:nvPr/>
        </p:nvPicPr>
        <p:blipFill>
          <a:blip r:embed="rId3"/>
          <a:stretch>
            <a:fillRect/>
          </a:stretch>
        </p:blipFill>
        <p:spPr>
          <a:xfrm>
            <a:off x="4944633" y="606124"/>
            <a:ext cx="5762625" cy="5019675"/>
          </a:xfrm>
          <a:prstGeom prst="rect">
            <a:avLst/>
          </a:prstGeom>
        </p:spPr>
      </p:pic>
    </p:spTree>
    <p:extLst>
      <p:ext uri="{BB962C8B-B14F-4D97-AF65-F5344CB8AC3E}">
        <p14:creationId xmlns:p14="http://schemas.microsoft.com/office/powerpoint/2010/main" val="41178083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17">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39572DE-100F-C776-2BD8-BD9C68833EFB}"/>
              </a:ext>
            </a:extLst>
          </p:cNvPr>
          <p:cNvSpPr>
            <a:spLocks noGrp="1"/>
          </p:cNvSpPr>
          <p:nvPr>
            <p:ph type="title"/>
          </p:nvPr>
        </p:nvSpPr>
        <p:spPr>
          <a:xfrm>
            <a:off x="7085532" y="640080"/>
            <a:ext cx="4196932" cy="3566160"/>
          </a:xfrm>
        </p:spPr>
        <p:txBody>
          <a:bodyPr vert="horz" lIns="91440" tIns="45720" rIns="91440" bIns="45720" rtlCol="0" anchor="b">
            <a:normAutofit/>
          </a:bodyPr>
          <a:lstStyle/>
          <a:p>
            <a:r>
              <a:rPr lang="en-US" sz="4200" b="1"/>
              <a:t>NETWERKBORREL</a:t>
            </a:r>
            <a:br>
              <a:rPr lang="en-US" sz="4200" b="1"/>
            </a:br>
            <a:r>
              <a:rPr lang="en-US" sz="4200" b="1"/>
              <a:t>&amp; DINERBUFFET</a:t>
            </a:r>
          </a:p>
        </p:txBody>
      </p:sp>
      <p:sp>
        <p:nvSpPr>
          <p:cNvPr id="3" name="Tijdelijke aanduiding voor inhoud 2">
            <a:extLst>
              <a:ext uri="{FF2B5EF4-FFF2-40B4-BE49-F238E27FC236}">
                <a16:creationId xmlns:a16="http://schemas.microsoft.com/office/drawing/2014/main" id="{56D7B030-B788-AD2C-CB48-CDF3194234D4}"/>
              </a:ext>
            </a:extLst>
          </p:cNvPr>
          <p:cNvSpPr>
            <a:spLocks noGrp="1"/>
          </p:cNvSpPr>
          <p:nvPr>
            <p:ph idx="1"/>
          </p:nvPr>
        </p:nvSpPr>
        <p:spPr>
          <a:xfrm>
            <a:off x="7083831" y="4636008"/>
            <a:ext cx="4198634" cy="1572768"/>
          </a:xfrm>
        </p:spPr>
        <p:txBody>
          <a:bodyPr vert="horz" lIns="91440" tIns="45720" rIns="91440" bIns="45720" rtlCol="0">
            <a:normAutofit/>
          </a:bodyPr>
          <a:lstStyle/>
          <a:p>
            <a:pPr marL="0" indent="0">
              <a:buNone/>
            </a:pPr>
            <a:r>
              <a:rPr lang="en-US" sz="2400">
                <a:effectLst/>
              </a:rPr>
              <a:t>BEDANKT VOOR JULLIE KOMST!</a:t>
            </a:r>
            <a:endParaRPr lang="en-US" sz="2400"/>
          </a:p>
        </p:txBody>
      </p:sp>
      <p:pic>
        <p:nvPicPr>
          <p:cNvPr id="6" name="Afbeelding 5">
            <a:extLst>
              <a:ext uri="{FF2B5EF4-FFF2-40B4-BE49-F238E27FC236}">
                <a16:creationId xmlns:a16="http://schemas.microsoft.com/office/drawing/2014/main" id="{9B48CC6C-A5C2-6172-5448-2D3620C0DD4C}"/>
              </a:ext>
            </a:extLst>
          </p:cNvPr>
          <p:cNvPicPr>
            <a:picLocks noChangeAspect="1"/>
          </p:cNvPicPr>
          <p:nvPr/>
        </p:nvPicPr>
        <p:blipFill rotWithShape="1">
          <a:blip r:embed="rId2">
            <a:extLst>
              <a:ext uri="{28A0092B-C50C-407E-A947-70E740481C1C}">
                <a14:useLocalDpi xmlns:a14="http://schemas.microsoft.com/office/drawing/2010/main" val="0"/>
              </a:ext>
            </a:extLst>
          </a:blip>
          <a:srcRect r="3" b="13795"/>
          <a:stretch/>
        </p:blipFill>
        <p:spPr>
          <a:xfrm>
            <a:off x="866691" y="1216968"/>
            <a:ext cx="5416261" cy="4424065"/>
          </a:xfrm>
          <a:custGeom>
            <a:avLst/>
            <a:gdLst/>
            <a:ahLst/>
            <a:cxnLst/>
            <a:rect l="l" t="t" r="r" b="b"/>
            <a:pathLst>
              <a:path w="5531320" h="4424065">
                <a:moveTo>
                  <a:pt x="4292328" y="3931444"/>
                </a:moveTo>
                <a:cubicBezTo>
                  <a:pt x="3830135" y="4131325"/>
                  <a:pt x="3346708" y="4259111"/>
                  <a:pt x="2855653" y="4364392"/>
                </a:cubicBezTo>
                <a:lnTo>
                  <a:pt x="2855525" y="4364392"/>
                </a:lnTo>
                <a:cubicBezTo>
                  <a:pt x="3386634" y="4394018"/>
                  <a:pt x="3853531" y="4210158"/>
                  <a:pt x="4292328" y="3931444"/>
                </a:cubicBezTo>
                <a:close/>
                <a:moveTo>
                  <a:pt x="4302118" y="3923561"/>
                </a:moveTo>
                <a:lnTo>
                  <a:pt x="4301102" y="3924959"/>
                </a:lnTo>
                <a:lnTo>
                  <a:pt x="4302881" y="3924959"/>
                </a:lnTo>
                <a:close/>
                <a:moveTo>
                  <a:pt x="3885572" y="334733"/>
                </a:moveTo>
                <a:cubicBezTo>
                  <a:pt x="4046889" y="406840"/>
                  <a:pt x="4203653" y="488713"/>
                  <a:pt x="4355013" y="579880"/>
                </a:cubicBezTo>
                <a:cubicBezTo>
                  <a:pt x="4662082" y="768063"/>
                  <a:pt x="4933803" y="995790"/>
                  <a:pt x="5144619" y="1290779"/>
                </a:cubicBezTo>
                <a:cubicBezTo>
                  <a:pt x="5314365" y="1528042"/>
                  <a:pt x="5426258" y="1789591"/>
                  <a:pt x="5468598" y="2088522"/>
                </a:cubicBezTo>
                <a:cubicBezTo>
                  <a:pt x="5479330" y="2001424"/>
                  <a:pt x="5480182" y="1913385"/>
                  <a:pt x="5471141" y="1826083"/>
                </a:cubicBezTo>
                <a:cubicBezTo>
                  <a:pt x="5455337" y="1662962"/>
                  <a:pt x="5406307" y="1504799"/>
                  <a:pt x="5327080" y="1361348"/>
                </a:cubicBezTo>
                <a:cubicBezTo>
                  <a:pt x="5206160" y="1140233"/>
                  <a:pt x="5033362" y="965782"/>
                  <a:pt x="4833354" y="816507"/>
                </a:cubicBezTo>
                <a:cubicBezTo>
                  <a:pt x="4597235" y="640276"/>
                  <a:pt x="4336322" y="509438"/>
                  <a:pt x="4063457" y="400724"/>
                </a:cubicBezTo>
                <a:cubicBezTo>
                  <a:pt x="4033360" y="388607"/>
                  <a:pt x="4003060" y="376909"/>
                  <a:pt x="3972544" y="365631"/>
                </a:cubicBezTo>
                <a:cubicBezTo>
                  <a:pt x="3943680" y="354950"/>
                  <a:pt x="3914563" y="345033"/>
                  <a:pt x="3885572" y="334733"/>
                </a:cubicBezTo>
                <a:close/>
                <a:moveTo>
                  <a:pt x="3865737" y="329520"/>
                </a:moveTo>
                <a:cubicBezTo>
                  <a:pt x="3865737" y="329520"/>
                  <a:pt x="3865737" y="330410"/>
                  <a:pt x="3866500" y="330537"/>
                </a:cubicBezTo>
                <a:lnTo>
                  <a:pt x="3869806" y="330156"/>
                </a:lnTo>
                <a:close/>
                <a:moveTo>
                  <a:pt x="2219772" y="85645"/>
                </a:moveTo>
                <a:cubicBezTo>
                  <a:pt x="2206943" y="84005"/>
                  <a:pt x="2193910" y="85264"/>
                  <a:pt x="2181627" y="89333"/>
                </a:cubicBezTo>
                <a:cubicBezTo>
                  <a:pt x="1932920" y="125113"/>
                  <a:pt x="1690800" y="197118"/>
                  <a:pt x="1462972" y="303073"/>
                </a:cubicBezTo>
                <a:cubicBezTo>
                  <a:pt x="971789" y="529528"/>
                  <a:pt x="578130" y="865460"/>
                  <a:pt x="308698" y="1338461"/>
                </a:cubicBezTo>
                <a:cubicBezTo>
                  <a:pt x="180225" y="1561852"/>
                  <a:pt x="97653" y="1808638"/>
                  <a:pt x="65840" y="2064364"/>
                </a:cubicBezTo>
                <a:cubicBezTo>
                  <a:pt x="71943" y="2050505"/>
                  <a:pt x="77284" y="2036391"/>
                  <a:pt x="82115" y="2022150"/>
                </a:cubicBezTo>
                <a:cubicBezTo>
                  <a:pt x="170104" y="1763653"/>
                  <a:pt x="279580" y="1515073"/>
                  <a:pt x="423261" y="1282260"/>
                </a:cubicBezTo>
                <a:cubicBezTo>
                  <a:pt x="630770" y="945565"/>
                  <a:pt x="895371" y="664944"/>
                  <a:pt x="1231812" y="454001"/>
                </a:cubicBezTo>
                <a:cubicBezTo>
                  <a:pt x="1535193" y="263783"/>
                  <a:pt x="1866802" y="149729"/>
                  <a:pt x="2219772" y="85645"/>
                </a:cubicBezTo>
                <a:close/>
                <a:moveTo>
                  <a:pt x="2612541" y="836"/>
                </a:moveTo>
                <a:cubicBezTo>
                  <a:pt x="2715914" y="-4250"/>
                  <a:pt x="2831240" y="14695"/>
                  <a:pt x="2946311" y="35548"/>
                </a:cubicBezTo>
                <a:cubicBezTo>
                  <a:pt x="3291652" y="98106"/>
                  <a:pt x="3631144" y="182915"/>
                  <a:pt x="3961100" y="303581"/>
                </a:cubicBezTo>
                <a:cubicBezTo>
                  <a:pt x="4278341" y="419543"/>
                  <a:pt x="4581341" y="563350"/>
                  <a:pt x="4854588" y="764502"/>
                </a:cubicBezTo>
                <a:cubicBezTo>
                  <a:pt x="5067438" y="921152"/>
                  <a:pt x="5250408" y="1105521"/>
                  <a:pt x="5377813" y="1339732"/>
                </a:cubicBezTo>
                <a:cubicBezTo>
                  <a:pt x="5459812" y="1489986"/>
                  <a:pt x="5510304" y="1655396"/>
                  <a:pt x="5526198" y="1825829"/>
                </a:cubicBezTo>
                <a:cubicBezTo>
                  <a:pt x="5538277" y="1951327"/>
                  <a:pt x="5527342" y="2074917"/>
                  <a:pt x="5510558" y="2199398"/>
                </a:cubicBezTo>
                <a:cubicBezTo>
                  <a:pt x="5502967" y="2266991"/>
                  <a:pt x="5502713" y="2335195"/>
                  <a:pt x="5509796" y="2402839"/>
                </a:cubicBezTo>
                <a:cubicBezTo>
                  <a:pt x="5534208" y="2664197"/>
                  <a:pt x="5468472" y="2926051"/>
                  <a:pt x="5323520" y="3144890"/>
                </a:cubicBezTo>
                <a:cubicBezTo>
                  <a:pt x="5201340" y="3332234"/>
                  <a:pt x="5041042" y="3491719"/>
                  <a:pt x="4853062" y="3612932"/>
                </a:cubicBezTo>
                <a:cubicBezTo>
                  <a:pt x="4671110" y="3732072"/>
                  <a:pt x="4498566" y="3864563"/>
                  <a:pt x="4316359" y="3982940"/>
                </a:cubicBezTo>
                <a:cubicBezTo>
                  <a:pt x="4019717" y="4175573"/>
                  <a:pt x="3701077" y="4317347"/>
                  <a:pt x="3352557" y="4386771"/>
                </a:cubicBezTo>
                <a:cubicBezTo>
                  <a:pt x="3160954" y="4425590"/>
                  <a:pt x="2964456" y="4434173"/>
                  <a:pt x="2770207" y="4412201"/>
                </a:cubicBezTo>
                <a:cubicBezTo>
                  <a:pt x="2685525" y="4402537"/>
                  <a:pt x="2599953" y="4402410"/>
                  <a:pt x="2514889" y="4393637"/>
                </a:cubicBezTo>
                <a:cubicBezTo>
                  <a:pt x="2307137" y="4370851"/>
                  <a:pt x="2102209" y="4327277"/>
                  <a:pt x="1903167" y="4263562"/>
                </a:cubicBezTo>
                <a:cubicBezTo>
                  <a:pt x="1560623" y="4156119"/>
                  <a:pt x="1238932" y="4006972"/>
                  <a:pt x="948393" y="3794249"/>
                </a:cubicBezTo>
                <a:cubicBezTo>
                  <a:pt x="647554" y="3573897"/>
                  <a:pt x="396813" y="3308660"/>
                  <a:pt x="223634" y="2975526"/>
                </a:cubicBezTo>
                <a:cubicBezTo>
                  <a:pt x="129454" y="2796370"/>
                  <a:pt x="67150" y="2602198"/>
                  <a:pt x="39520" y="2401695"/>
                </a:cubicBezTo>
                <a:cubicBezTo>
                  <a:pt x="34510" y="2367555"/>
                  <a:pt x="26729" y="2333872"/>
                  <a:pt x="16252" y="2300991"/>
                </a:cubicBezTo>
                <a:cubicBezTo>
                  <a:pt x="-9179" y="2218598"/>
                  <a:pt x="-24" y="2135695"/>
                  <a:pt x="11801" y="2053556"/>
                </a:cubicBezTo>
                <a:cubicBezTo>
                  <a:pt x="93686" y="1480615"/>
                  <a:pt x="377868" y="1021983"/>
                  <a:pt x="812850" y="651084"/>
                </a:cubicBezTo>
                <a:cubicBezTo>
                  <a:pt x="1176755" y="340201"/>
                  <a:pt x="1598260" y="146042"/>
                  <a:pt x="2066810" y="52586"/>
                </a:cubicBezTo>
                <a:cubicBezTo>
                  <a:pt x="2154544" y="35039"/>
                  <a:pt x="2243041" y="23087"/>
                  <a:pt x="2332046" y="14441"/>
                </a:cubicBezTo>
                <a:cubicBezTo>
                  <a:pt x="2421052" y="5794"/>
                  <a:pt x="2508913" y="2107"/>
                  <a:pt x="2612541" y="836"/>
                </a:cubicBezTo>
                <a:close/>
              </a:path>
            </a:pathLst>
          </a:custGeom>
        </p:spPr>
      </p:pic>
      <p:sp>
        <p:nvSpPr>
          <p:cNvPr id="26" name="sketchy line">
            <a:extLst>
              <a:ext uri="{FF2B5EF4-FFF2-40B4-BE49-F238E27FC236}">
                <a16:creationId xmlns:a16="http://schemas.microsoft.com/office/drawing/2014/main" id="{3F9B0603-37C5-4312-AE4D-A3D0154754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85532" y="4409267"/>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1189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descr="Afbeelding met persoon, Menselijk gezicht, kleding, stropdas&#10;&#10;Automatisch gegenereerde beschrijving">
            <a:extLst>
              <a:ext uri="{FF2B5EF4-FFF2-40B4-BE49-F238E27FC236}">
                <a16:creationId xmlns:a16="http://schemas.microsoft.com/office/drawing/2014/main" id="{114EC8A6-D6D4-F6FC-83D5-DDBA978154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1" y="526"/>
            <a:ext cx="2996801" cy="4495201"/>
          </a:xfrm>
          <a:prstGeom prst="rect">
            <a:avLst/>
          </a:prstGeom>
        </p:spPr>
      </p:pic>
      <p:sp>
        <p:nvSpPr>
          <p:cNvPr id="4" name="Tekstvak 3">
            <a:extLst>
              <a:ext uri="{FF2B5EF4-FFF2-40B4-BE49-F238E27FC236}">
                <a16:creationId xmlns:a16="http://schemas.microsoft.com/office/drawing/2014/main" id="{55A63DB1-4A0C-6AEF-8A58-5A0C5FD52004}"/>
              </a:ext>
            </a:extLst>
          </p:cNvPr>
          <p:cNvSpPr txBox="1"/>
          <p:nvPr/>
        </p:nvSpPr>
        <p:spPr>
          <a:xfrm>
            <a:off x="3124405" y="236"/>
            <a:ext cx="8914785" cy="6248634"/>
          </a:xfrm>
          <a:prstGeom prst="rect">
            <a:avLst/>
          </a:prstGeom>
          <a:noFill/>
        </p:spPr>
        <p:txBody>
          <a:bodyPr wrap="square" rtlCol="0">
            <a:spAutoFit/>
          </a:bodyPr>
          <a:lstStyle/>
          <a:p>
            <a:r>
              <a:rPr lang="nl-NL" sz="1905" i="1">
                <a:solidFill>
                  <a:schemeClr val="tx2"/>
                </a:solidFill>
              </a:rPr>
              <a:t>Prof. dr. Leen Paape RA RO CIA</a:t>
            </a:r>
          </a:p>
          <a:p>
            <a:r>
              <a:rPr lang="nl-NL" sz="1905" i="1">
                <a:solidFill>
                  <a:schemeClr val="tx2"/>
                </a:solidFill>
              </a:rPr>
              <a:t>Emeritus Hoogleraar Corporate Governance Nyenrode Business University</a:t>
            </a:r>
          </a:p>
          <a:p>
            <a:endParaRPr lang="nl-NL" sz="1905" i="1">
              <a:solidFill>
                <a:schemeClr val="tx2"/>
              </a:solidFill>
            </a:endParaRPr>
          </a:p>
          <a:p>
            <a:r>
              <a:rPr lang="nl-NL" sz="1905" i="1">
                <a:solidFill>
                  <a:schemeClr val="tx2"/>
                </a:solidFill>
              </a:rPr>
              <a:t>Toezichthoudende rollen:</a:t>
            </a:r>
          </a:p>
          <a:p>
            <a:pPr marL="302352" indent="-302352">
              <a:buFontTx/>
              <a:buChar char="-"/>
            </a:pPr>
            <a:r>
              <a:rPr lang="nl-NL" sz="1905" i="1">
                <a:solidFill>
                  <a:schemeClr val="tx2"/>
                </a:solidFill>
              </a:rPr>
              <a:t>Voorzitter RvC Univé Dichtbij (lid AC)</a:t>
            </a:r>
          </a:p>
          <a:p>
            <a:pPr marL="302352" indent="-302352">
              <a:buFontTx/>
              <a:buChar char="-"/>
            </a:pPr>
            <a:r>
              <a:rPr lang="nl-NL" sz="1905" i="1">
                <a:solidFill>
                  <a:schemeClr val="tx2"/>
                </a:solidFill>
              </a:rPr>
              <a:t>Niet Uitvoerend Bestuurder ING (voorzitter AC)</a:t>
            </a:r>
          </a:p>
          <a:p>
            <a:pPr marL="302352" indent="-302352">
              <a:buFontTx/>
              <a:buChar char="-"/>
            </a:pPr>
            <a:r>
              <a:rPr lang="nl-NL" sz="1905" i="1">
                <a:solidFill>
                  <a:schemeClr val="tx2"/>
                </a:solidFill>
              </a:rPr>
              <a:t>Lid Algemeen Bestuur Stichting BOOR (lid AC)</a:t>
            </a:r>
          </a:p>
          <a:p>
            <a:endParaRPr lang="nl-NL" sz="1905" i="1">
              <a:solidFill>
                <a:schemeClr val="tx2"/>
              </a:solidFill>
            </a:endParaRPr>
          </a:p>
          <a:p>
            <a:r>
              <a:rPr lang="nl-NL" sz="1905" i="1">
                <a:solidFill>
                  <a:schemeClr val="tx2"/>
                </a:solidFill>
              </a:rPr>
              <a:t>Voorheen:</a:t>
            </a:r>
          </a:p>
          <a:p>
            <a:pPr marL="362822" indent="-362822">
              <a:buFont typeface="Arial" panose="020B0604020202020204" pitchFamily="34" charset="0"/>
              <a:buChar char="•"/>
            </a:pPr>
            <a:r>
              <a:rPr lang="nl-NL" sz="1905" i="1">
                <a:solidFill>
                  <a:schemeClr val="tx2"/>
                </a:solidFill>
              </a:rPr>
              <a:t>Chair </a:t>
            </a:r>
            <a:r>
              <a:rPr lang="nl-NL" sz="1905" i="1" err="1">
                <a:solidFill>
                  <a:schemeClr val="tx2"/>
                </a:solidFill>
              </a:rPr>
              <a:t>External</a:t>
            </a:r>
            <a:r>
              <a:rPr lang="nl-NL" sz="1905" i="1">
                <a:solidFill>
                  <a:schemeClr val="tx2"/>
                </a:solidFill>
              </a:rPr>
              <a:t> Audit </a:t>
            </a:r>
            <a:r>
              <a:rPr lang="nl-NL" sz="1905" i="1" err="1">
                <a:solidFill>
                  <a:schemeClr val="tx2"/>
                </a:solidFill>
              </a:rPr>
              <a:t>Committee</a:t>
            </a:r>
            <a:r>
              <a:rPr lang="nl-NL" sz="1905" i="1">
                <a:solidFill>
                  <a:schemeClr val="tx2"/>
                </a:solidFill>
              </a:rPr>
              <a:t> IMF, Washington</a:t>
            </a:r>
          </a:p>
          <a:p>
            <a:pPr marL="362822" indent="-362822">
              <a:buFont typeface="Arial" panose="020B0604020202020204" pitchFamily="34" charset="0"/>
              <a:buChar char="•"/>
            </a:pPr>
            <a:r>
              <a:rPr lang="nl-NL" sz="1905" i="1">
                <a:solidFill>
                  <a:schemeClr val="tx2"/>
                </a:solidFill>
              </a:rPr>
              <a:t>Extern lid Auditcommissie ABP</a:t>
            </a:r>
          </a:p>
          <a:p>
            <a:pPr marL="362822" indent="-362822">
              <a:buFont typeface="Arial" panose="020B0604020202020204" pitchFamily="34" charset="0"/>
              <a:buChar char="•"/>
            </a:pPr>
            <a:r>
              <a:rPr lang="nl-NL" sz="1905" i="1">
                <a:solidFill>
                  <a:schemeClr val="tx2"/>
                </a:solidFill>
              </a:rPr>
              <a:t>Voorzitter RvT Pensioenfonds SNS Reaal</a:t>
            </a:r>
          </a:p>
          <a:p>
            <a:pPr marL="362822" indent="-362822">
              <a:buFont typeface="Arial" panose="020B0604020202020204" pitchFamily="34" charset="0"/>
              <a:buChar char="•"/>
            </a:pPr>
            <a:r>
              <a:rPr lang="nl-NL" sz="1905" i="1">
                <a:solidFill>
                  <a:schemeClr val="tx2"/>
                </a:solidFill>
              </a:rPr>
              <a:t>Lid RvT/Voorzitter Auditcommissie Stichting Carmelcollege</a:t>
            </a:r>
          </a:p>
          <a:p>
            <a:pPr marL="362822" indent="-362822">
              <a:buFont typeface="Arial" panose="020B0604020202020204" pitchFamily="34" charset="0"/>
              <a:buChar char="•"/>
            </a:pPr>
            <a:r>
              <a:rPr lang="nl-NL" sz="1905" i="1">
                <a:solidFill>
                  <a:schemeClr val="tx2"/>
                </a:solidFill>
              </a:rPr>
              <a:t>Lid Audit &amp; Risico Commissie Gemeente Rotterdam</a:t>
            </a:r>
          </a:p>
          <a:p>
            <a:pPr marL="362822" indent="-362822">
              <a:buFont typeface="Arial" panose="020B0604020202020204" pitchFamily="34" charset="0"/>
              <a:buChar char="•"/>
            </a:pPr>
            <a:r>
              <a:rPr lang="nl-NL" sz="1905" i="1">
                <a:solidFill>
                  <a:schemeClr val="tx2"/>
                </a:solidFill>
              </a:rPr>
              <a:t>Lid Auditcommissie Ministerie van I &amp; M</a:t>
            </a:r>
          </a:p>
          <a:p>
            <a:endParaRPr lang="nl-NL" sz="1905" i="1">
              <a:solidFill>
                <a:schemeClr val="tx2"/>
              </a:solidFill>
            </a:endParaRPr>
          </a:p>
          <a:p>
            <a:r>
              <a:rPr lang="nl-NL" sz="1905" i="1" err="1">
                <a:solidFill>
                  <a:schemeClr val="tx2"/>
                </a:solidFill>
              </a:rPr>
              <a:t>Academic</a:t>
            </a:r>
            <a:r>
              <a:rPr lang="nl-NL" sz="1905" i="1">
                <a:solidFill>
                  <a:schemeClr val="tx2"/>
                </a:solidFill>
              </a:rPr>
              <a:t> Director </a:t>
            </a:r>
            <a:r>
              <a:rPr lang="nl-NL" sz="1905" i="1" err="1">
                <a:solidFill>
                  <a:schemeClr val="tx2"/>
                </a:solidFill>
              </a:rPr>
              <a:t>Internal</a:t>
            </a:r>
            <a:r>
              <a:rPr lang="nl-NL" sz="1905" i="1">
                <a:solidFill>
                  <a:schemeClr val="tx2"/>
                </a:solidFill>
              </a:rPr>
              <a:t> Audit Program Erasmus University</a:t>
            </a:r>
          </a:p>
          <a:p>
            <a:r>
              <a:rPr lang="nl-NL" sz="1905" i="1">
                <a:solidFill>
                  <a:schemeClr val="tx2"/>
                </a:solidFill>
              </a:rPr>
              <a:t>Voorzitter Signaleringsraad NBA</a:t>
            </a:r>
          </a:p>
          <a:p>
            <a:r>
              <a:rPr lang="nl-NL" sz="1905" i="1">
                <a:solidFill>
                  <a:schemeClr val="tx2"/>
                </a:solidFill>
              </a:rPr>
              <a:t>Begeleiden zelfevaluaties RvC/RvT/RvB</a:t>
            </a:r>
          </a:p>
          <a:p>
            <a:endParaRPr lang="nl-NL" sz="1905" i="1">
              <a:solidFill>
                <a:schemeClr val="tx2"/>
              </a:solidFill>
            </a:endParaRPr>
          </a:p>
          <a:p>
            <a:r>
              <a:rPr lang="nl-NL" sz="1905" i="1">
                <a:solidFill>
                  <a:schemeClr val="tx2"/>
                </a:solidFill>
              </a:rPr>
              <a:t>Voorheen: Landmacht &amp; Luchtmacht, KPMG, KLM, </a:t>
            </a:r>
            <a:r>
              <a:rPr lang="nl-NL" sz="1905" i="1" err="1">
                <a:solidFill>
                  <a:schemeClr val="tx2"/>
                </a:solidFill>
              </a:rPr>
              <a:t>PwC</a:t>
            </a:r>
            <a:r>
              <a:rPr lang="nl-NL" sz="1905" i="1">
                <a:solidFill>
                  <a:schemeClr val="tx2"/>
                </a:solidFill>
              </a:rPr>
              <a:t>, CvB Nyenrode</a:t>
            </a:r>
            <a:endParaRPr lang="nl-NL" sz="1905" b="1" i="1">
              <a:solidFill>
                <a:schemeClr val="tx2"/>
              </a:solidFill>
            </a:endParaRPr>
          </a:p>
        </p:txBody>
      </p:sp>
    </p:spTree>
    <p:extLst>
      <p:ext uri="{BB962C8B-B14F-4D97-AF65-F5344CB8AC3E}">
        <p14:creationId xmlns:p14="http://schemas.microsoft.com/office/powerpoint/2010/main" val="631564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63E8D-248D-7DD6-296B-5DD333448662}"/>
              </a:ext>
            </a:extLst>
          </p:cNvPr>
          <p:cNvSpPr>
            <a:spLocks noGrp="1"/>
          </p:cNvSpPr>
          <p:nvPr>
            <p:ph type="title"/>
          </p:nvPr>
        </p:nvSpPr>
        <p:spPr>
          <a:xfrm>
            <a:off x="686173" y="1981301"/>
            <a:ext cx="10972801" cy="777979"/>
          </a:xfrm>
        </p:spPr>
        <p:txBody>
          <a:bodyPr>
            <a:normAutofit/>
          </a:bodyPr>
          <a:lstStyle/>
          <a:p>
            <a:r>
              <a:rPr lang="nl-NL" sz="4232"/>
              <a:t>De belangrijkste taak van bestuur en toezicht?</a:t>
            </a:r>
          </a:p>
        </p:txBody>
      </p:sp>
    </p:spTree>
    <p:extLst>
      <p:ext uri="{BB962C8B-B14F-4D97-AF65-F5344CB8AC3E}">
        <p14:creationId xmlns:p14="http://schemas.microsoft.com/office/powerpoint/2010/main" val="3382938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5461CB97-94D2-0352-D1FF-6D73EC5B22D7}"/>
              </a:ext>
            </a:extLst>
          </p:cNvPr>
          <p:cNvPicPr>
            <a:picLocks noChangeAspect="1"/>
          </p:cNvPicPr>
          <p:nvPr/>
        </p:nvPicPr>
        <p:blipFill>
          <a:blip r:embed="rId2"/>
          <a:stretch>
            <a:fillRect/>
          </a:stretch>
        </p:blipFill>
        <p:spPr>
          <a:xfrm>
            <a:off x="1067147" y="457405"/>
            <a:ext cx="9775965" cy="5498979"/>
          </a:xfrm>
          <a:prstGeom prst="rect">
            <a:avLst/>
          </a:prstGeom>
        </p:spPr>
      </p:pic>
    </p:spTree>
    <p:extLst>
      <p:ext uri="{BB962C8B-B14F-4D97-AF65-F5344CB8AC3E}">
        <p14:creationId xmlns:p14="http://schemas.microsoft.com/office/powerpoint/2010/main" val="4004811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A9B5F-FAA5-434B-B857-5BDFF9B1671E}"/>
              </a:ext>
            </a:extLst>
          </p:cNvPr>
          <p:cNvSpPr>
            <a:spLocks noGrp="1"/>
          </p:cNvSpPr>
          <p:nvPr>
            <p:ph type="title"/>
          </p:nvPr>
        </p:nvSpPr>
        <p:spPr>
          <a:xfrm>
            <a:off x="609979" y="609795"/>
            <a:ext cx="5333632" cy="777979"/>
          </a:xfrm>
        </p:spPr>
        <p:txBody>
          <a:bodyPr>
            <a:normAutofit fontScale="90000"/>
          </a:bodyPr>
          <a:lstStyle/>
          <a:p>
            <a:r>
              <a:rPr lang="nl-NL"/>
              <a:t>ISO 37000 standaard:</a:t>
            </a:r>
            <a:br>
              <a:rPr lang="nl-NL"/>
            </a:br>
            <a:br>
              <a:rPr lang="nl-NL"/>
            </a:br>
            <a:r>
              <a:rPr lang="nl-NL" err="1"/>
              <a:t>Good</a:t>
            </a:r>
            <a:r>
              <a:rPr lang="nl-NL"/>
              <a:t> Governance</a:t>
            </a:r>
          </a:p>
        </p:txBody>
      </p:sp>
      <p:pic>
        <p:nvPicPr>
          <p:cNvPr id="6" name="Picture 5">
            <a:extLst>
              <a:ext uri="{FF2B5EF4-FFF2-40B4-BE49-F238E27FC236}">
                <a16:creationId xmlns:a16="http://schemas.microsoft.com/office/drawing/2014/main" id="{86FFF939-E05F-4914-B8FA-4CFFBBC36284}"/>
              </a:ext>
            </a:extLst>
          </p:cNvPr>
          <p:cNvPicPr>
            <a:picLocks noChangeAspect="1"/>
          </p:cNvPicPr>
          <p:nvPr/>
        </p:nvPicPr>
        <p:blipFill>
          <a:blip r:embed="rId2"/>
          <a:stretch>
            <a:fillRect/>
          </a:stretch>
        </p:blipFill>
        <p:spPr>
          <a:xfrm>
            <a:off x="5334053" y="-27178"/>
            <a:ext cx="6781332" cy="6171485"/>
          </a:xfrm>
          <a:prstGeom prst="rect">
            <a:avLst/>
          </a:prstGeom>
        </p:spPr>
      </p:pic>
      <p:pic>
        <p:nvPicPr>
          <p:cNvPr id="8" name="Picture 7">
            <a:extLst>
              <a:ext uri="{FF2B5EF4-FFF2-40B4-BE49-F238E27FC236}">
                <a16:creationId xmlns:a16="http://schemas.microsoft.com/office/drawing/2014/main" id="{4EF806E5-9142-47DA-8470-3D85DA8AB08A}"/>
              </a:ext>
            </a:extLst>
          </p:cNvPr>
          <p:cNvPicPr>
            <a:picLocks noChangeAspect="1"/>
          </p:cNvPicPr>
          <p:nvPr/>
        </p:nvPicPr>
        <p:blipFill>
          <a:blip r:embed="rId3"/>
          <a:stretch>
            <a:fillRect/>
          </a:stretch>
        </p:blipFill>
        <p:spPr>
          <a:xfrm>
            <a:off x="310651" y="3352805"/>
            <a:ext cx="4216454" cy="2149403"/>
          </a:xfrm>
          <a:prstGeom prst="rect">
            <a:avLst/>
          </a:prstGeom>
        </p:spPr>
      </p:pic>
    </p:spTree>
    <p:extLst>
      <p:ext uri="{BB962C8B-B14F-4D97-AF65-F5344CB8AC3E}">
        <p14:creationId xmlns:p14="http://schemas.microsoft.com/office/powerpoint/2010/main" val="1684506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4280E-8C56-6AB2-7CBF-D37DED276072}"/>
            </a:ext>
          </a:extLst>
        </p:cNvPr>
        <p:cNvGrpSpPr/>
        <p:nvPr/>
      </p:nvGrpSpPr>
      <p:grpSpPr>
        <a:xfrm>
          <a:off x="0" y="0"/>
          <a:ext cx="0" cy="0"/>
          <a:chOff x="0" y="0"/>
          <a:chExt cx="0" cy="0"/>
        </a:xfrm>
      </p:grpSpPr>
      <p:pic>
        <p:nvPicPr>
          <p:cNvPr id="2" name="Afbeelding 1">
            <a:extLst>
              <a:ext uri="{FF2B5EF4-FFF2-40B4-BE49-F238E27FC236}">
                <a16:creationId xmlns:a16="http://schemas.microsoft.com/office/drawing/2014/main" id="{2F1B486E-A2EA-12FC-5011-E73F6422A875}"/>
              </a:ext>
            </a:extLst>
          </p:cNvPr>
          <p:cNvPicPr>
            <a:picLocks noChangeAspect="1"/>
          </p:cNvPicPr>
          <p:nvPr/>
        </p:nvPicPr>
        <p:blipFill>
          <a:blip r:embed="rId2"/>
          <a:stretch>
            <a:fillRect/>
          </a:stretch>
        </p:blipFill>
        <p:spPr>
          <a:xfrm>
            <a:off x="2666032" y="237"/>
            <a:ext cx="9525969" cy="6856949"/>
          </a:xfrm>
          <a:prstGeom prst="rect">
            <a:avLst/>
          </a:prstGeom>
        </p:spPr>
      </p:pic>
      <p:sp>
        <p:nvSpPr>
          <p:cNvPr id="4" name="Rechthoekige toelichting 3">
            <a:extLst>
              <a:ext uri="{FF2B5EF4-FFF2-40B4-BE49-F238E27FC236}">
                <a16:creationId xmlns:a16="http://schemas.microsoft.com/office/drawing/2014/main" id="{4C167158-C2E1-DB8A-212B-2A97CE06A694}"/>
              </a:ext>
            </a:extLst>
          </p:cNvPr>
          <p:cNvSpPr/>
          <p:nvPr/>
        </p:nvSpPr>
        <p:spPr>
          <a:xfrm>
            <a:off x="76615" y="2971832"/>
            <a:ext cx="2438232" cy="1486411"/>
          </a:xfrm>
          <a:prstGeom prst="wedgeRectCallout">
            <a:avLst>
              <a:gd name="adj1" fmla="val 108272"/>
              <a:gd name="adj2" fmla="val 12049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116"/>
          </a:p>
        </p:txBody>
      </p:sp>
      <p:sp>
        <p:nvSpPr>
          <p:cNvPr id="5" name="Tekstvak 4">
            <a:extLst>
              <a:ext uri="{FF2B5EF4-FFF2-40B4-BE49-F238E27FC236}">
                <a16:creationId xmlns:a16="http://schemas.microsoft.com/office/drawing/2014/main" id="{F0043096-DDA3-242C-1C13-78B7E4EA4F91}"/>
              </a:ext>
            </a:extLst>
          </p:cNvPr>
          <p:cNvSpPr txBox="1"/>
          <p:nvPr/>
        </p:nvSpPr>
        <p:spPr>
          <a:xfrm>
            <a:off x="227799" y="3392093"/>
            <a:ext cx="2172390" cy="743537"/>
          </a:xfrm>
          <a:prstGeom prst="rect">
            <a:avLst/>
          </a:prstGeom>
          <a:noFill/>
        </p:spPr>
        <p:txBody>
          <a:bodyPr wrap="none" rtlCol="0">
            <a:spAutoFit/>
          </a:bodyPr>
          <a:lstStyle/>
          <a:p>
            <a:r>
              <a:rPr lang="nl-NL" sz="2116" b="1" i="1">
                <a:solidFill>
                  <a:srgbClr val="FF0000"/>
                </a:solidFill>
              </a:rPr>
              <a:t>Doen we </a:t>
            </a:r>
          </a:p>
          <a:p>
            <a:r>
              <a:rPr lang="nl-NL" sz="2116" b="1" i="1">
                <a:solidFill>
                  <a:srgbClr val="FF0000"/>
                </a:solidFill>
              </a:rPr>
              <a:t>de goede dingen?</a:t>
            </a:r>
          </a:p>
        </p:txBody>
      </p:sp>
    </p:spTree>
    <p:extLst>
      <p:ext uri="{BB962C8B-B14F-4D97-AF65-F5344CB8AC3E}">
        <p14:creationId xmlns:p14="http://schemas.microsoft.com/office/powerpoint/2010/main" val="3538358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NS new guided">
  <a:themeElements>
    <a:clrScheme name="TNS new guided">
      <a:dk1>
        <a:sysClr val="windowText" lastClr="000000"/>
      </a:dk1>
      <a:lt1>
        <a:sysClr val="window" lastClr="FFFFFF"/>
      </a:lt1>
      <a:dk2>
        <a:srgbClr val="000000"/>
      </a:dk2>
      <a:lt2>
        <a:srgbClr val="FFFFFF"/>
      </a:lt2>
      <a:accent1>
        <a:srgbClr val="52B4EA"/>
      </a:accent1>
      <a:accent2>
        <a:srgbClr val="E71844"/>
      </a:accent2>
      <a:accent3>
        <a:srgbClr val="74BE6B"/>
      </a:accent3>
      <a:accent4>
        <a:srgbClr val="573771"/>
      </a:accent4>
      <a:accent5>
        <a:srgbClr val="F58A16"/>
      </a:accent5>
      <a:accent6>
        <a:srgbClr val="0099CC"/>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Huisstijl">
  <a:themeElements>
    <a:clrScheme name="Kleuren BPD - PP">
      <a:dk1>
        <a:srgbClr val="000000"/>
      </a:dk1>
      <a:lt1>
        <a:srgbClr val="FFFFFF"/>
      </a:lt1>
      <a:dk2>
        <a:srgbClr val="AFABAD"/>
      </a:dk2>
      <a:lt2>
        <a:srgbClr val="CDB47F"/>
      </a:lt2>
      <a:accent1>
        <a:srgbClr val="6FC2E3"/>
      </a:accent1>
      <a:accent2>
        <a:srgbClr val="B4C832"/>
      </a:accent2>
      <a:accent3>
        <a:srgbClr val="EC1E2F"/>
      </a:accent3>
      <a:accent4>
        <a:srgbClr val="B473AC"/>
      </a:accent4>
      <a:accent5>
        <a:srgbClr val="EB9800"/>
      </a:accent5>
      <a:accent6>
        <a:srgbClr val="396EB3"/>
      </a:accent6>
      <a:hlink>
        <a:srgbClr val="000000"/>
      </a:hlink>
      <a:folHlink>
        <a:srgbClr val="000000"/>
      </a:folHlink>
    </a:clrScheme>
    <a:fontScheme name="Lettertypen BPD">
      <a:majorFont>
        <a:latin typeface="Univers"/>
        <a:ea typeface=""/>
        <a:cs typeface=""/>
      </a:majorFont>
      <a:minorFont>
        <a:latin typeface="Univers"/>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800" dirty="0" err="1" smtClean="0"/>
        </a:defPPr>
      </a:lstStyle>
    </a:txDef>
  </a:objectDefaults>
  <a:extraClrSchemeLst/>
  <a:custClrLst>
    <a:custClr name="basis blauw">
      <a:srgbClr val="6FC2E3"/>
    </a:custClr>
    <a:custClr name="donker blauw">
      <a:srgbClr val="00A2BC"/>
    </a:custClr>
    <a:custClr name="licht blauw">
      <a:srgbClr val="B3D8EE"/>
    </a:custClr>
    <a:custClr name="witte buffer">
      <a:srgbClr val="FFFFFF"/>
    </a:custClr>
    <a:custClr name="witte buffer">
      <a:srgbClr val="FFFFFF"/>
    </a:custClr>
    <a:custClr name="basis groen">
      <a:srgbClr val="B4C832"/>
    </a:custClr>
    <a:custClr name="donker groen">
      <a:srgbClr val="99A637"/>
    </a:custClr>
    <a:custClr name="licht groen">
      <a:srgbClr val="E6E470"/>
    </a:custClr>
    <a:custClr name="witte buffer">
      <a:srgbClr val="FFFFFF"/>
    </a:custClr>
    <a:custClr name="witte buffer">
      <a:srgbClr val="FFFFFF"/>
    </a:custClr>
    <a:custClr name="basis rood">
      <a:srgbClr val="EC1E2F"/>
    </a:custClr>
    <a:custClr name="donker rood">
      <a:srgbClr val="961E2F"/>
    </a:custClr>
    <a:custClr name="licht rood">
      <a:srgbClr val="D78381"/>
    </a:custClr>
    <a:custClr name="witte buffer">
      <a:srgbClr val="FFFFFF"/>
    </a:custClr>
    <a:custClr name="witte buffer">
      <a:srgbClr val="FFFFFF"/>
    </a:custClr>
    <a:custClr name="basis grijs">
      <a:srgbClr val="AFABAD"/>
    </a:custClr>
    <a:custClr name="donker grijs">
      <a:srgbClr val="898285"/>
    </a:custClr>
    <a:custClr name="licht grijs">
      <a:srgbClr val="CCC8CB"/>
    </a:custClr>
    <a:custClr name="witte buffer">
      <a:srgbClr val="FFFFFF"/>
    </a:custClr>
    <a:custClr name="witte buffer">
      <a:srgbClr val="FFFFFF"/>
    </a:custClr>
    <a:custClr name="basis paars">
      <a:srgbClr val="B473AC"/>
    </a:custClr>
    <a:custClr name="donker paars">
      <a:srgbClr val="8B536A"/>
    </a:custClr>
    <a:custClr name="licht paars">
      <a:srgbClr val="D5ADC8"/>
    </a:custClr>
    <a:custClr name="witte buffer">
      <a:srgbClr val="FFFFFF"/>
    </a:custClr>
    <a:custClr name="witte buffer">
      <a:srgbClr val="FFFFFF"/>
    </a:custClr>
    <a:custClr name="basis oranje">
      <a:srgbClr val="EB9800"/>
    </a:custClr>
    <a:custClr name="donker oranje">
      <a:srgbClr val="C0601A"/>
    </a:custClr>
    <a:custClr name="licht oranje">
      <a:srgbClr val="EEC666"/>
    </a:custClr>
    <a:custClr name="witte buffer">
      <a:srgbClr val="FFFFFF"/>
    </a:custClr>
    <a:custClr name="witte buffer">
      <a:srgbClr val="FFFFFF"/>
    </a:custClr>
    <a:custClr name="basis blauw (2)">
      <a:srgbClr val="396EB3"/>
    </a:custClr>
    <a:custClr name="donker blauw (2)">
      <a:srgbClr val="254676"/>
    </a:custClr>
    <a:custClr name="licht blauw (2)">
      <a:srgbClr val="81B1E1"/>
    </a:custClr>
    <a:custClr name="witte buffer">
      <a:srgbClr val="FFFFFF"/>
    </a:custClr>
    <a:custClr name="witte buffer">
      <a:srgbClr val="FFFFFF"/>
    </a:custClr>
    <a:custClr name="basis oker">
      <a:srgbClr val="CDB47F"/>
    </a:custClr>
    <a:custClr name="donker oker">
      <a:srgbClr val="AF8D46"/>
    </a:custClr>
    <a:custClr name="licht oker">
      <a:srgbClr val="E0D0AE"/>
    </a:custClr>
    <a:custClr name="witte buffer">
      <a:srgbClr val="FFFFFF"/>
    </a:custClr>
    <a:custClr name="witte buffer">
      <a:srgbClr val="FFFFFF"/>
    </a:custClr>
    <a:custClr name="basis oud rose">
      <a:srgbClr val="B49EA1"/>
    </a:custClr>
    <a:custClr name="donker oud rose">
      <a:srgbClr val="947D7F"/>
    </a:custClr>
    <a:custClr name="licht oud rose">
      <a:srgbClr val="DEC7C3"/>
    </a:custClr>
  </a:custClrLst>
  <a:extLst>
    <a:ext uri="{05A4C25C-085E-4340-85A3-A5531E510DB2}">
      <thm15:themeFamily xmlns:thm15="http://schemas.microsoft.com/office/thememl/2012/main" name="Presentatie BPD NL 4 feb 2022" id="{6376A07A-55D7-9B44-A256-12E3A898259F}" vid="{42529E4D-2320-7E4F-AED4-28494D4D3F44}"/>
    </a:ext>
  </a:extLst>
</a:theme>
</file>

<file path=ppt/theme/theme4.xml><?xml version="1.0" encoding="utf-8"?>
<a:theme xmlns:a="http://schemas.openxmlformats.org/drawingml/2006/main" name="1_Kantoorthema">
  <a:themeElements>
    <a:clrScheme name="Delfin impact executives">
      <a:dk1>
        <a:srgbClr val="000000"/>
      </a:dk1>
      <a:lt1>
        <a:srgbClr val="FFFFFF"/>
      </a:lt1>
      <a:dk2>
        <a:srgbClr val="44546A"/>
      </a:dk2>
      <a:lt2>
        <a:srgbClr val="E7E6E6"/>
      </a:lt2>
      <a:accent1>
        <a:srgbClr val="00A0D7"/>
      </a:accent1>
      <a:accent2>
        <a:srgbClr val="EC6441"/>
      </a:accent2>
      <a:accent3>
        <a:srgbClr val="CCE3E8"/>
      </a:accent3>
      <a:accent4>
        <a:srgbClr val="001E32"/>
      </a:accent4>
      <a:accent5>
        <a:srgbClr val="76B369"/>
      </a:accent5>
      <a:accent6>
        <a:srgbClr val="FFE3A1"/>
      </a:accent6>
      <a:hlink>
        <a:srgbClr val="ECE6D5"/>
      </a:hlink>
      <a:folHlink>
        <a:srgbClr val="EC644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7B644F9F-7F4D-B642-873A-90E8FE460971}" vid="{AC8FBB85-6B45-9D42-BDA1-5D158C1FFB10}"/>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juid xmlns="http://www.joulesunlimited.com/juid"/>
</file>

<file path=customXml/item11.xml><?xml version="1.0" encoding="utf-8"?>
<juid xmlns="http://www.joulesunlimited.com/juid"/>
</file>

<file path=customXml/item12.xml><?xml version="1.0" encoding="utf-8"?>
<juid xmlns="http://www.joulesunlimited.com/juid"/>
</file>

<file path=customXml/item13.xml><?xml version="1.0" encoding="utf-8"?>
<juid xmlns="http://www.joulesunlimited.com/juid"/>
</file>

<file path=customXml/item14.xml><?xml version="1.0" encoding="utf-8"?>
<juid xmlns="http://www.joulesunlimited.com/juid"/>
</file>

<file path=customXml/item15.xml><?xml version="1.0" encoding="utf-8"?>
<juid xmlns="http://www.joulesunlimited.com/juid"/>
</file>

<file path=customXml/item16.xml><?xml version="1.0" encoding="utf-8"?>
<juid xmlns="http://www.joulesunlimited.com/juid"/>
</file>

<file path=customXml/item17.xml><?xml version="1.0" encoding="utf-8"?>
<juid xmlns="http://www.joulesunlimited.com/juid"/>
</file>

<file path=customXml/item18.xml><?xml version="1.0" encoding="utf-8"?>
<juid xmlns="http://www.joulesunlimited.com/juid"/>
</file>

<file path=customXml/item19.xml><?xml version="1.0" encoding="utf-8"?>
<juid xmlns="http://www.joulesunlimited.com/juid"/>
</file>

<file path=customXml/item2.xml><?xml version="1.0" encoding="utf-8"?>
<ct:contentTypeSchema xmlns:ct="http://schemas.microsoft.com/office/2006/metadata/contentType" xmlns:ma="http://schemas.microsoft.com/office/2006/metadata/properties/metaAttributes" ct:_="" ma:_="" ma:contentTypeName="Document" ma:contentTypeID="0x010100049DAFB9C875574C9AEB95108A54E03F" ma:contentTypeVersion="15" ma:contentTypeDescription="Een nieuw document maken." ma:contentTypeScope="" ma:versionID="61c01cec5ed2a04760d3cd9673f5f417">
  <xsd:schema xmlns:xsd="http://www.w3.org/2001/XMLSchema" xmlns:xs="http://www.w3.org/2001/XMLSchema" xmlns:p="http://schemas.microsoft.com/office/2006/metadata/properties" xmlns:ns2="f9031f74-b70c-480c-80eb-fc19e0b23913" xmlns:ns3="1d0b6731-75e8-4f00-aac4-7e43be4c83f4" targetNamespace="http://schemas.microsoft.com/office/2006/metadata/properties" ma:root="true" ma:fieldsID="4bab4b9e5633e220b1f29546506733a6" ns2:_="" ns3:_="">
    <xsd:import namespace="f9031f74-b70c-480c-80eb-fc19e0b23913"/>
    <xsd:import namespace="1d0b6731-75e8-4f00-aac4-7e43be4c83f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OCR" minOccurs="0"/>
                <xsd:element ref="ns2:MediaServiceLocation"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31f74-b70c-480c-80eb-fc19e0b2391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Afbeeldingtags" ma:readOnly="false" ma:fieldId="{5cf76f15-5ced-4ddc-b409-7134ff3c332f}" ma:taxonomyMulti="true" ma:sspId="55d1a364-6027-42cf-8f53-ce4e015641d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descrip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0b6731-75e8-4f00-aac4-7e43be4c83f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d0ad135-414d-4ee3-a2c8-59c52f2a76d3}" ma:internalName="TaxCatchAll" ma:showField="CatchAllData" ma:web="1d0b6731-75e8-4f00-aac4-7e43be4c83f4">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juid xmlns="http://www.joulesunlimited.com/juid"/>
</file>

<file path=customXml/item21.xml><?xml version="1.0" encoding="utf-8"?>
<juid xmlns="http://www.joulesunlimited.com/juid"/>
</file>

<file path=customXml/item22.xml><?xml version="1.0" encoding="utf-8"?>
<juid xmlns="http://www.joulesunlimited.com/juid"/>
</file>

<file path=customXml/item23.xml><?xml version="1.0" encoding="utf-8"?>
<juid xmlns="http://www.joulesunlimited.com/juid"/>
</file>

<file path=customXml/item24.xml><?xml version="1.0" encoding="utf-8"?>
<juid xmlns="http://www.joulesunlimited.com/juid"/>
</file>

<file path=customXml/item25.xml><?xml version="1.0" encoding="utf-8"?>
<juid xmlns="http://www.joulesunlimited.com/juid"/>
</file>

<file path=customXml/item26.xml><?xml version="1.0" encoding="utf-8"?>
<juid xmlns="http://www.joulesunlimited.com/juid"/>
</file>

<file path=customXml/item27.xml><?xml version="1.0" encoding="utf-8"?>
<juid xmlns="http://www.joulesunlimited.com/juid"/>
</file>

<file path=customXml/item28.xml><?xml version="1.0" encoding="utf-8"?>
<juid xmlns="http://www.joulesunlimited.com/juid"/>
</file>

<file path=customXml/item29.xml><?xml version="1.0" encoding="utf-8"?>
<juid xmlns="http://www.joulesunlimited.com/juid"/>
</file>

<file path=customXml/item3.xml><?xml version="1.0" encoding="utf-8"?>
<p:properties xmlns:p="http://schemas.microsoft.com/office/2006/metadata/properties" xmlns:xsi="http://www.w3.org/2001/XMLSchema-instance" xmlns:pc="http://schemas.microsoft.com/office/infopath/2007/PartnerControls">
  <documentManagement>
    <TaxCatchAll xmlns="1d0b6731-75e8-4f00-aac4-7e43be4c83f4" xsi:nil="true"/>
    <lcf76f155ced4ddcb4097134ff3c332f xmlns="f9031f74-b70c-480c-80eb-fc19e0b23913">
      <Terms xmlns="http://schemas.microsoft.com/office/infopath/2007/PartnerControls"/>
    </lcf76f155ced4ddcb4097134ff3c332f>
  </documentManagement>
</p:properties>
</file>

<file path=customXml/item30.xml><?xml version="1.0" encoding="utf-8"?>
<juid xmlns="http://www.joulesunlimited.com/juid"/>
</file>

<file path=customXml/item31.xml><?xml version="1.0" encoding="utf-8"?>
<juid xmlns="http://www.joulesunlimited.com/juid"/>
</file>

<file path=customXml/item32.xml><?xml version="1.0" encoding="utf-8"?>
<juid xmlns="http://www.joulesunlimited.com/juid"/>
</file>

<file path=customXml/item33.xml><?xml version="1.0" encoding="utf-8"?>
<juid xmlns="http://www.joulesunlimited.com/juid"/>
</file>

<file path=customXml/item34.xml><?xml version="1.0" encoding="utf-8"?>
<juid xmlns="http://www.joulesunlimited.com/juid"/>
</file>

<file path=customXml/item35.xml><?xml version="1.0" encoding="utf-8"?>
<juid xmlns="http://www.joulesunlimited.com/juid"/>
</file>

<file path=customXml/item36.xml><?xml version="1.0" encoding="utf-8"?>
<juid xmlns="http://www.joulesunlimited.com/juid"/>
</file>

<file path=customXml/item37.xml><?xml version="1.0" encoding="utf-8"?>
<juid xmlns="http://www.joulesunlimited.com/juid"/>
</file>

<file path=customXml/item38.xml><?xml version="1.0" encoding="utf-8"?>
<juid xmlns="http://www.joulesunlimited.com/juid"/>
</file>

<file path=customXml/item39.xml><?xml version="1.0" encoding="utf-8"?>
<juid xmlns="http://www.joulesunlimited.com/juid"/>
</file>

<file path=customXml/item4.xml><?xml version="1.0" encoding="utf-8"?>
<juid xmlns="http://www.joulesunlimited.com/juid"/>
</file>

<file path=customXml/item40.xml><?xml version="1.0" encoding="utf-8"?>
<juid xmlns="http://www.joulesunlimited.com/juid"/>
</file>

<file path=customXml/item41.xml><?xml version="1.0" encoding="utf-8"?>
<juid xmlns="http://www.joulesunlimited.com/juid"/>
</file>

<file path=customXml/item42.xml><?xml version="1.0" encoding="utf-8"?>
<juid xmlns="http://www.joulesunlimited.com/juid"/>
</file>

<file path=customXml/item43.xml><?xml version="1.0" encoding="utf-8"?>
<juid xmlns="http://www.joulesunlimited.com/juid"/>
</file>

<file path=customXml/item44.xml><?xml version="1.0" encoding="utf-8"?>
<juid xmlns="http://www.joulesunlimited.com/juid"/>
</file>

<file path=customXml/item45.xml><?xml version="1.0" encoding="utf-8"?>
<juid xmlns="http://www.joulesunlimited.com/juid"/>
</file>

<file path=customXml/item46.xml><?xml version="1.0" encoding="utf-8"?>
<juid xmlns="http://www.joulesunlimited.com/juid"/>
</file>

<file path=customXml/item47.xml><?xml version="1.0" encoding="utf-8"?>
<juid xmlns="http://www.joulesunlimited.com/juid"/>
</file>

<file path=customXml/item48.xml><?xml version="1.0" encoding="utf-8"?>
<juid xmlns="http://www.joulesunlimited.com/juid"/>
</file>

<file path=customXml/item49.xml><?xml version="1.0" encoding="utf-8"?>
<juid xmlns="http://www.joulesunlimited.com/juid"/>
</file>

<file path=customXml/item5.xml><?xml version="1.0" encoding="utf-8"?>
<juid xmlns="http://www.joulesunlimited.com/juid"/>
</file>

<file path=customXml/item50.xml><?xml version="1.0" encoding="utf-8"?>
<juid xmlns="http://www.joulesunlimited.com/juid"/>
</file>

<file path=customXml/item51.xml><?xml version="1.0" encoding="utf-8"?>
<juid xmlns="http://www.joulesunlimited.com/juid"/>
</file>

<file path=customXml/item6.xml><?xml version="1.0" encoding="utf-8"?>
<juid xmlns="http://www.joulesunlimited.com/juid"/>
</file>

<file path=customXml/item7.xml><?xml version="1.0" encoding="utf-8"?>
<juid xmlns="http://www.joulesunlimited.com/juid"/>
</file>

<file path=customXml/item8.xml><?xml version="1.0" encoding="utf-8"?>
<juid xmlns="http://www.joulesunlimited.com/juid"/>
</file>

<file path=customXml/item9.xml><?xml version="1.0" encoding="utf-8"?>
<juid xmlns="http://www.joulesunlimited.com/juid"/>
</file>

<file path=customXml/itemProps1.xml><?xml version="1.0" encoding="utf-8"?>
<ds:datastoreItem xmlns:ds="http://schemas.openxmlformats.org/officeDocument/2006/customXml" ds:itemID="{59FF0478-9C64-4AA8-8B84-D6306801268A}">
  <ds:schemaRefs>
    <ds:schemaRef ds:uri="http://schemas.microsoft.com/sharepoint/v3/contenttype/forms"/>
  </ds:schemaRefs>
</ds:datastoreItem>
</file>

<file path=customXml/itemProps10.xml><?xml version="1.0" encoding="utf-8"?>
<ds:datastoreItem xmlns:ds="http://schemas.openxmlformats.org/officeDocument/2006/customXml" ds:itemID="{FC70EF87-CB2B-4F8A-8150-90121B56A491}">
  <ds:schemaRefs>
    <ds:schemaRef ds:uri="http://www.joulesunlimited.com/juid"/>
  </ds:schemaRefs>
</ds:datastoreItem>
</file>

<file path=customXml/itemProps11.xml><?xml version="1.0" encoding="utf-8"?>
<ds:datastoreItem xmlns:ds="http://schemas.openxmlformats.org/officeDocument/2006/customXml" ds:itemID="{9F9AB4F2-D4B3-49CE-8F47-E886855CE0D8}">
  <ds:schemaRefs>
    <ds:schemaRef ds:uri="http://www.joulesunlimited.com/juid"/>
  </ds:schemaRefs>
</ds:datastoreItem>
</file>

<file path=customXml/itemProps12.xml><?xml version="1.0" encoding="utf-8"?>
<ds:datastoreItem xmlns:ds="http://schemas.openxmlformats.org/officeDocument/2006/customXml" ds:itemID="{D1B03579-C6B5-4A76-BB56-34B34A26B793}">
  <ds:schemaRefs>
    <ds:schemaRef ds:uri="http://www.joulesunlimited.com/juid"/>
  </ds:schemaRefs>
</ds:datastoreItem>
</file>

<file path=customXml/itemProps13.xml><?xml version="1.0" encoding="utf-8"?>
<ds:datastoreItem xmlns:ds="http://schemas.openxmlformats.org/officeDocument/2006/customXml" ds:itemID="{77EC725E-38D5-4C00-8D0D-D850BC45B4C4}">
  <ds:schemaRefs>
    <ds:schemaRef ds:uri="http://www.joulesunlimited.com/juid"/>
  </ds:schemaRefs>
</ds:datastoreItem>
</file>

<file path=customXml/itemProps14.xml><?xml version="1.0" encoding="utf-8"?>
<ds:datastoreItem xmlns:ds="http://schemas.openxmlformats.org/officeDocument/2006/customXml" ds:itemID="{5E68535F-E4D3-40C7-B114-76C727ACF256}">
  <ds:schemaRefs>
    <ds:schemaRef ds:uri="http://www.joulesunlimited.com/juid"/>
  </ds:schemaRefs>
</ds:datastoreItem>
</file>

<file path=customXml/itemProps15.xml><?xml version="1.0" encoding="utf-8"?>
<ds:datastoreItem xmlns:ds="http://schemas.openxmlformats.org/officeDocument/2006/customXml" ds:itemID="{1B98DF2A-4BCB-4706-B8AB-DFAC2EC666F5}">
  <ds:schemaRefs>
    <ds:schemaRef ds:uri="http://www.joulesunlimited.com/juid"/>
  </ds:schemaRefs>
</ds:datastoreItem>
</file>

<file path=customXml/itemProps16.xml><?xml version="1.0" encoding="utf-8"?>
<ds:datastoreItem xmlns:ds="http://schemas.openxmlformats.org/officeDocument/2006/customXml" ds:itemID="{1D407A54-1F1B-45FC-A0B8-3F3CB84B18D8}">
  <ds:schemaRefs>
    <ds:schemaRef ds:uri="http://www.joulesunlimited.com/juid"/>
  </ds:schemaRefs>
</ds:datastoreItem>
</file>

<file path=customXml/itemProps17.xml><?xml version="1.0" encoding="utf-8"?>
<ds:datastoreItem xmlns:ds="http://schemas.openxmlformats.org/officeDocument/2006/customXml" ds:itemID="{34A59BE6-DC37-4EDC-8031-F1713515FF05}">
  <ds:schemaRefs>
    <ds:schemaRef ds:uri="http://www.joulesunlimited.com/juid"/>
  </ds:schemaRefs>
</ds:datastoreItem>
</file>

<file path=customXml/itemProps18.xml><?xml version="1.0" encoding="utf-8"?>
<ds:datastoreItem xmlns:ds="http://schemas.openxmlformats.org/officeDocument/2006/customXml" ds:itemID="{DDF23244-F7AB-48D7-B88B-1721924E21FF}">
  <ds:schemaRefs>
    <ds:schemaRef ds:uri="http://www.joulesunlimited.com/juid"/>
  </ds:schemaRefs>
</ds:datastoreItem>
</file>

<file path=customXml/itemProps19.xml><?xml version="1.0" encoding="utf-8"?>
<ds:datastoreItem xmlns:ds="http://schemas.openxmlformats.org/officeDocument/2006/customXml" ds:itemID="{AF403672-C282-44EB-942D-A4BFFD06EBF8}">
  <ds:schemaRefs>
    <ds:schemaRef ds:uri="http://www.joulesunlimited.com/juid"/>
  </ds:schemaRefs>
</ds:datastoreItem>
</file>

<file path=customXml/itemProps2.xml><?xml version="1.0" encoding="utf-8"?>
<ds:datastoreItem xmlns:ds="http://schemas.openxmlformats.org/officeDocument/2006/customXml" ds:itemID="{DE0DF73D-5122-4304-BA9F-C6A58D16FFF0}">
  <ds:schemaRefs>
    <ds:schemaRef ds:uri="1d0b6731-75e8-4f00-aac4-7e43be4c83f4"/>
    <ds:schemaRef ds:uri="f9031f74-b70c-480c-80eb-fc19e0b239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0.xml><?xml version="1.0" encoding="utf-8"?>
<ds:datastoreItem xmlns:ds="http://schemas.openxmlformats.org/officeDocument/2006/customXml" ds:itemID="{0E0EE809-3909-4353-9ECA-11F162AC8B5B}">
  <ds:schemaRefs>
    <ds:schemaRef ds:uri="http://www.joulesunlimited.com/juid"/>
  </ds:schemaRefs>
</ds:datastoreItem>
</file>

<file path=customXml/itemProps21.xml><?xml version="1.0" encoding="utf-8"?>
<ds:datastoreItem xmlns:ds="http://schemas.openxmlformats.org/officeDocument/2006/customXml" ds:itemID="{85ADEE1A-4313-4D38-B9D9-9EF1FCDE64AD}">
  <ds:schemaRefs>
    <ds:schemaRef ds:uri="http://www.joulesunlimited.com/juid"/>
  </ds:schemaRefs>
</ds:datastoreItem>
</file>

<file path=customXml/itemProps22.xml><?xml version="1.0" encoding="utf-8"?>
<ds:datastoreItem xmlns:ds="http://schemas.openxmlformats.org/officeDocument/2006/customXml" ds:itemID="{4D8EDE42-BB2C-4A03-8FD1-9487246C7A04}">
  <ds:schemaRefs>
    <ds:schemaRef ds:uri="http://www.joulesunlimited.com/juid"/>
  </ds:schemaRefs>
</ds:datastoreItem>
</file>

<file path=customXml/itemProps23.xml><?xml version="1.0" encoding="utf-8"?>
<ds:datastoreItem xmlns:ds="http://schemas.openxmlformats.org/officeDocument/2006/customXml" ds:itemID="{B8305FB0-C5BA-4115-96A1-43D2BDA53C60}">
  <ds:schemaRefs>
    <ds:schemaRef ds:uri="http://www.joulesunlimited.com/juid"/>
  </ds:schemaRefs>
</ds:datastoreItem>
</file>

<file path=customXml/itemProps24.xml><?xml version="1.0" encoding="utf-8"?>
<ds:datastoreItem xmlns:ds="http://schemas.openxmlformats.org/officeDocument/2006/customXml" ds:itemID="{1F58B735-6540-405B-AA52-EE49E27ABFDD}">
  <ds:schemaRefs>
    <ds:schemaRef ds:uri="http://www.joulesunlimited.com/juid"/>
  </ds:schemaRefs>
</ds:datastoreItem>
</file>

<file path=customXml/itemProps25.xml><?xml version="1.0" encoding="utf-8"?>
<ds:datastoreItem xmlns:ds="http://schemas.openxmlformats.org/officeDocument/2006/customXml" ds:itemID="{19DE19BC-2E54-47B8-ABBD-CAF58ED9E0C5}">
  <ds:schemaRefs>
    <ds:schemaRef ds:uri="http://www.joulesunlimited.com/juid"/>
  </ds:schemaRefs>
</ds:datastoreItem>
</file>

<file path=customXml/itemProps26.xml><?xml version="1.0" encoding="utf-8"?>
<ds:datastoreItem xmlns:ds="http://schemas.openxmlformats.org/officeDocument/2006/customXml" ds:itemID="{A87D60AB-C537-41BD-9DAB-5A8EE0EA8010}">
  <ds:schemaRefs>
    <ds:schemaRef ds:uri="http://www.joulesunlimited.com/juid"/>
  </ds:schemaRefs>
</ds:datastoreItem>
</file>

<file path=customXml/itemProps27.xml><?xml version="1.0" encoding="utf-8"?>
<ds:datastoreItem xmlns:ds="http://schemas.openxmlformats.org/officeDocument/2006/customXml" ds:itemID="{1F9E5DD6-36D4-4511-80F2-C54C6B206F40}">
  <ds:schemaRefs>
    <ds:schemaRef ds:uri="http://www.joulesunlimited.com/juid"/>
  </ds:schemaRefs>
</ds:datastoreItem>
</file>

<file path=customXml/itemProps28.xml><?xml version="1.0" encoding="utf-8"?>
<ds:datastoreItem xmlns:ds="http://schemas.openxmlformats.org/officeDocument/2006/customXml" ds:itemID="{B777E969-F83C-4ED4-88B0-F0CC6F2FE2CD}">
  <ds:schemaRefs>
    <ds:schemaRef ds:uri="http://www.joulesunlimited.com/juid"/>
  </ds:schemaRefs>
</ds:datastoreItem>
</file>

<file path=customXml/itemProps29.xml><?xml version="1.0" encoding="utf-8"?>
<ds:datastoreItem xmlns:ds="http://schemas.openxmlformats.org/officeDocument/2006/customXml" ds:itemID="{D4BD5E5A-B937-4F7C-929A-0BC25544076E}">
  <ds:schemaRefs>
    <ds:schemaRef ds:uri="http://www.joulesunlimited.com/juid"/>
  </ds:schemaRefs>
</ds:datastoreItem>
</file>

<file path=customXml/itemProps3.xml><?xml version="1.0" encoding="utf-8"?>
<ds:datastoreItem xmlns:ds="http://schemas.openxmlformats.org/officeDocument/2006/customXml" ds:itemID="{4159E940-D8BD-4636-BBEB-C5FB9E265E56}">
  <ds:schemaRefs>
    <ds:schemaRef ds:uri="1d0b6731-75e8-4f00-aac4-7e43be4c83f4"/>
    <ds:schemaRef ds:uri="f9031f74-b70c-480c-80eb-fc19e0b23913"/>
    <ds:schemaRef ds:uri="http://schemas.microsoft.com/office/2006/metadata/properties"/>
    <ds:schemaRef ds:uri="http://schemas.microsoft.com/office/infopath/2007/PartnerControls"/>
  </ds:schemaRefs>
</ds:datastoreItem>
</file>

<file path=customXml/itemProps30.xml><?xml version="1.0" encoding="utf-8"?>
<ds:datastoreItem xmlns:ds="http://schemas.openxmlformats.org/officeDocument/2006/customXml" ds:itemID="{380E59E6-3F50-4F26-88AA-AFB17A742A2F}">
  <ds:schemaRefs>
    <ds:schemaRef ds:uri="http://www.joulesunlimited.com/juid"/>
  </ds:schemaRefs>
</ds:datastoreItem>
</file>

<file path=customXml/itemProps31.xml><?xml version="1.0" encoding="utf-8"?>
<ds:datastoreItem xmlns:ds="http://schemas.openxmlformats.org/officeDocument/2006/customXml" ds:itemID="{C6FD5280-C9EF-4C9D-A8E1-A05E904C3A2B}">
  <ds:schemaRefs>
    <ds:schemaRef ds:uri="http://www.joulesunlimited.com/juid"/>
  </ds:schemaRefs>
</ds:datastoreItem>
</file>

<file path=customXml/itemProps32.xml><?xml version="1.0" encoding="utf-8"?>
<ds:datastoreItem xmlns:ds="http://schemas.openxmlformats.org/officeDocument/2006/customXml" ds:itemID="{F705F720-E0A8-4E0E-9319-2EF5661080EC}">
  <ds:schemaRefs>
    <ds:schemaRef ds:uri="http://www.joulesunlimited.com/juid"/>
  </ds:schemaRefs>
</ds:datastoreItem>
</file>

<file path=customXml/itemProps33.xml><?xml version="1.0" encoding="utf-8"?>
<ds:datastoreItem xmlns:ds="http://schemas.openxmlformats.org/officeDocument/2006/customXml" ds:itemID="{3BA44C6F-C52F-4C94-B7E6-E997C1C09C5C}">
  <ds:schemaRefs>
    <ds:schemaRef ds:uri="http://www.joulesunlimited.com/juid"/>
  </ds:schemaRefs>
</ds:datastoreItem>
</file>

<file path=customXml/itemProps34.xml><?xml version="1.0" encoding="utf-8"?>
<ds:datastoreItem xmlns:ds="http://schemas.openxmlformats.org/officeDocument/2006/customXml" ds:itemID="{4D9D2F36-63BC-4B22-A0BF-9D0A09449EB3}">
  <ds:schemaRefs>
    <ds:schemaRef ds:uri="http://www.joulesunlimited.com/juid"/>
  </ds:schemaRefs>
</ds:datastoreItem>
</file>

<file path=customXml/itemProps35.xml><?xml version="1.0" encoding="utf-8"?>
<ds:datastoreItem xmlns:ds="http://schemas.openxmlformats.org/officeDocument/2006/customXml" ds:itemID="{9B09A1BA-761D-4925-9175-7E2974A86F43}">
  <ds:schemaRefs>
    <ds:schemaRef ds:uri="http://www.joulesunlimited.com/juid"/>
  </ds:schemaRefs>
</ds:datastoreItem>
</file>

<file path=customXml/itemProps36.xml><?xml version="1.0" encoding="utf-8"?>
<ds:datastoreItem xmlns:ds="http://schemas.openxmlformats.org/officeDocument/2006/customXml" ds:itemID="{28A93A10-A8CB-4E48-BD7A-884EA6547D98}">
  <ds:schemaRefs>
    <ds:schemaRef ds:uri="http://www.joulesunlimited.com/juid"/>
  </ds:schemaRefs>
</ds:datastoreItem>
</file>

<file path=customXml/itemProps37.xml><?xml version="1.0" encoding="utf-8"?>
<ds:datastoreItem xmlns:ds="http://schemas.openxmlformats.org/officeDocument/2006/customXml" ds:itemID="{9F84E809-629C-4332-B814-7BCBE27ACC3D}">
  <ds:schemaRefs>
    <ds:schemaRef ds:uri="http://www.joulesunlimited.com/juid"/>
  </ds:schemaRefs>
</ds:datastoreItem>
</file>

<file path=customXml/itemProps38.xml><?xml version="1.0" encoding="utf-8"?>
<ds:datastoreItem xmlns:ds="http://schemas.openxmlformats.org/officeDocument/2006/customXml" ds:itemID="{7BFC20E9-726B-4485-8B25-3E9B521817C4}">
  <ds:schemaRefs>
    <ds:schemaRef ds:uri="http://www.joulesunlimited.com/juid"/>
  </ds:schemaRefs>
</ds:datastoreItem>
</file>

<file path=customXml/itemProps39.xml><?xml version="1.0" encoding="utf-8"?>
<ds:datastoreItem xmlns:ds="http://schemas.openxmlformats.org/officeDocument/2006/customXml" ds:itemID="{377894DE-591D-41E1-876E-CD24C169C0AC}">
  <ds:schemaRefs>
    <ds:schemaRef ds:uri="http://www.joulesunlimited.com/juid"/>
  </ds:schemaRefs>
</ds:datastoreItem>
</file>

<file path=customXml/itemProps4.xml><?xml version="1.0" encoding="utf-8"?>
<ds:datastoreItem xmlns:ds="http://schemas.openxmlformats.org/officeDocument/2006/customXml" ds:itemID="{D8D791DE-E28B-43FA-A995-B46A4375CFD8}">
  <ds:schemaRefs>
    <ds:schemaRef ds:uri="http://www.joulesunlimited.com/juid"/>
  </ds:schemaRefs>
</ds:datastoreItem>
</file>

<file path=customXml/itemProps40.xml><?xml version="1.0" encoding="utf-8"?>
<ds:datastoreItem xmlns:ds="http://schemas.openxmlformats.org/officeDocument/2006/customXml" ds:itemID="{1396898B-DA53-41DA-BA79-5C1D86F2C096}">
  <ds:schemaRefs>
    <ds:schemaRef ds:uri="http://www.joulesunlimited.com/juid"/>
  </ds:schemaRefs>
</ds:datastoreItem>
</file>

<file path=customXml/itemProps41.xml><?xml version="1.0" encoding="utf-8"?>
<ds:datastoreItem xmlns:ds="http://schemas.openxmlformats.org/officeDocument/2006/customXml" ds:itemID="{835CA44C-1AE1-4EDD-BC19-17D4C10B9C24}">
  <ds:schemaRefs>
    <ds:schemaRef ds:uri="http://www.joulesunlimited.com/juid"/>
  </ds:schemaRefs>
</ds:datastoreItem>
</file>

<file path=customXml/itemProps42.xml><?xml version="1.0" encoding="utf-8"?>
<ds:datastoreItem xmlns:ds="http://schemas.openxmlformats.org/officeDocument/2006/customXml" ds:itemID="{DBC54A1C-9F42-4CD0-8AD0-CFFA1B9BA4EE}">
  <ds:schemaRefs>
    <ds:schemaRef ds:uri="http://www.joulesunlimited.com/juid"/>
  </ds:schemaRefs>
</ds:datastoreItem>
</file>

<file path=customXml/itemProps43.xml><?xml version="1.0" encoding="utf-8"?>
<ds:datastoreItem xmlns:ds="http://schemas.openxmlformats.org/officeDocument/2006/customXml" ds:itemID="{01121578-C19F-48DF-B56A-D45BAD273483}">
  <ds:schemaRefs>
    <ds:schemaRef ds:uri="http://www.joulesunlimited.com/juid"/>
  </ds:schemaRefs>
</ds:datastoreItem>
</file>

<file path=customXml/itemProps44.xml><?xml version="1.0" encoding="utf-8"?>
<ds:datastoreItem xmlns:ds="http://schemas.openxmlformats.org/officeDocument/2006/customXml" ds:itemID="{F31F1D04-B837-4041-97AD-0A2A27C3DC75}">
  <ds:schemaRefs>
    <ds:schemaRef ds:uri="http://www.joulesunlimited.com/juid"/>
  </ds:schemaRefs>
</ds:datastoreItem>
</file>

<file path=customXml/itemProps45.xml><?xml version="1.0" encoding="utf-8"?>
<ds:datastoreItem xmlns:ds="http://schemas.openxmlformats.org/officeDocument/2006/customXml" ds:itemID="{36135321-46C2-4806-BB9B-CD96BD604D99}">
  <ds:schemaRefs>
    <ds:schemaRef ds:uri="http://www.joulesunlimited.com/juid"/>
  </ds:schemaRefs>
</ds:datastoreItem>
</file>

<file path=customXml/itemProps46.xml><?xml version="1.0" encoding="utf-8"?>
<ds:datastoreItem xmlns:ds="http://schemas.openxmlformats.org/officeDocument/2006/customXml" ds:itemID="{897CAAAA-2B74-4E8E-A865-24A21D5475A7}">
  <ds:schemaRefs>
    <ds:schemaRef ds:uri="http://www.joulesunlimited.com/juid"/>
  </ds:schemaRefs>
</ds:datastoreItem>
</file>

<file path=customXml/itemProps47.xml><?xml version="1.0" encoding="utf-8"?>
<ds:datastoreItem xmlns:ds="http://schemas.openxmlformats.org/officeDocument/2006/customXml" ds:itemID="{529350FB-8D01-4A8C-9972-7E9DABAF317C}">
  <ds:schemaRefs>
    <ds:schemaRef ds:uri="http://www.joulesunlimited.com/juid"/>
  </ds:schemaRefs>
</ds:datastoreItem>
</file>

<file path=customXml/itemProps48.xml><?xml version="1.0" encoding="utf-8"?>
<ds:datastoreItem xmlns:ds="http://schemas.openxmlformats.org/officeDocument/2006/customXml" ds:itemID="{19DE3605-7C5B-45AE-B9ED-0A1DCDDA1EB8}">
  <ds:schemaRefs>
    <ds:schemaRef ds:uri="http://www.joulesunlimited.com/juid"/>
  </ds:schemaRefs>
</ds:datastoreItem>
</file>

<file path=customXml/itemProps49.xml><?xml version="1.0" encoding="utf-8"?>
<ds:datastoreItem xmlns:ds="http://schemas.openxmlformats.org/officeDocument/2006/customXml" ds:itemID="{9EC4082F-C9BC-4ECE-9C46-7F27FEB3404B}">
  <ds:schemaRefs>
    <ds:schemaRef ds:uri="http://www.joulesunlimited.com/juid"/>
  </ds:schemaRefs>
</ds:datastoreItem>
</file>

<file path=customXml/itemProps5.xml><?xml version="1.0" encoding="utf-8"?>
<ds:datastoreItem xmlns:ds="http://schemas.openxmlformats.org/officeDocument/2006/customXml" ds:itemID="{3BFE93FA-8697-4DEE-8A14-EAE66A7E70E1}">
  <ds:schemaRefs>
    <ds:schemaRef ds:uri="http://www.joulesunlimited.com/juid"/>
  </ds:schemaRefs>
</ds:datastoreItem>
</file>

<file path=customXml/itemProps50.xml><?xml version="1.0" encoding="utf-8"?>
<ds:datastoreItem xmlns:ds="http://schemas.openxmlformats.org/officeDocument/2006/customXml" ds:itemID="{EA1B2E01-1AE0-49FA-9BF1-F21347DD7C46}">
  <ds:schemaRefs>
    <ds:schemaRef ds:uri="http://www.joulesunlimited.com/juid"/>
  </ds:schemaRefs>
</ds:datastoreItem>
</file>

<file path=customXml/itemProps51.xml><?xml version="1.0" encoding="utf-8"?>
<ds:datastoreItem xmlns:ds="http://schemas.openxmlformats.org/officeDocument/2006/customXml" ds:itemID="{7EA02A9A-BC61-4876-B5DE-5A6EE4E47EE8}">
  <ds:schemaRefs>
    <ds:schemaRef ds:uri="http://www.joulesunlimited.com/juid"/>
  </ds:schemaRefs>
</ds:datastoreItem>
</file>

<file path=customXml/itemProps6.xml><?xml version="1.0" encoding="utf-8"?>
<ds:datastoreItem xmlns:ds="http://schemas.openxmlformats.org/officeDocument/2006/customXml" ds:itemID="{9C37F929-5B96-435A-966D-079FB05583F4}">
  <ds:schemaRefs>
    <ds:schemaRef ds:uri="http://www.joulesunlimited.com/juid"/>
  </ds:schemaRefs>
</ds:datastoreItem>
</file>

<file path=customXml/itemProps7.xml><?xml version="1.0" encoding="utf-8"?>
<ds:datastoreItem xmlns:ds="http://schemas.openxmlformats.org/officeDocument/2006/customXml" ds:itemID="{E7BC5300-A748-4218-9F0A-675B834ACEC1}">
  <ds:schemaRefs>
    <ds:schemaRef ds:uri="http://www.joulesunlimited.com/juid"/>
  </ds:schemaRefs>
</ds:datastoreItem>
</file>

<file path=customXml/itemProps8.xml><?xml version="1.0" encoding="utf-8"?>
<ds:datastoreItem xmlns:ds="http://schemas.openxmlformats.org/officeDocument/2006/customXml" ds:itemID="{7412196B-393B-4063-93C6-8A86C9B17924}">
  <ds:schemaRefs>
    <ds:schemaRef ds:uri="http://www.joulesunlimited.com/juid"/>
  </ds:schemaRefs>
</ds:datastoreItem>
</file>

<file path=customXml/itemProps9.xml><?xml version="1.0" encoding="utf-8"?>
<ds:datastoreItem xmlns:ds="http://schemas.openxmlformats.org/officeDocument/2006/customXml" ds:itemID="{70A62AFF-B342-4CE7-93C1-A497827F3A74}">
  <ds:schemaRefs>
    <ds:schemaRef ds:uri="http://www.joulesunlimited.com/juid"/>
  </ds:schemaRefs>
</ds:datastoreItem>
</file>

<file path=docProps/app.xml><?xml version="1.0" encoding="utf-8"?>
<Properties xmlns="http://schemas.openxmlformats.org/officeDocument/2006/extended-properties" xmlns:vt="http://schemas.openxmlformats.org/officeDocument/2006/docPropsVTypes">
  <TotalTime>4</TotalTime>
  <Words>1746</Words>
  <Application>Microsoft Office PowerPoint</Application>
  <PresentationFormat>Breedbeeld</PresentationFormat>
  <Paragraphs>355</Paragraphs>
  <Slides>47</Slides>
  <Notes>16</Notes>
  <HiddenSlides>0</HiddenSlides>
  <MMClips>1</MMClips>
  <ScaleCrop>false</ScaleCrop>
  <HeadingPairs>
    <vt:vector size="6" baseType="variant">
      <vt:variant>
        <vt:lpstr>Gebruikte lettertypen</vt:lpstr>
      </vt:variant>
      <vt:variant>
        <vt:i4>12</vt:i4>
      </vt:variant>
      <vt:variant>
        <vt:lpstr>Thema</vt:lpstr>
      </vt:variant>
      <vt:variant>
        <vt:i4>4</vt:i4>
      </vt:variant>
      <vt:variant>
        <vt:lpstr>Diatitels</vt:lpstr>
      </vt:variant>
      <vt:variant>
        <vt:i4>47</vt:i4>
      </vt:variant>
    </vt:vector>
  </HeadingPairs>
  <TitlesOfParts>
    <vt:vector size="63" baseType="lpstr">
      <vt:lpstr>ＭＳ Ｐゴシック</vt:lpstr>
      <vt:lpstr>-apple-system</vt:lpstr>
      <vt:lpstr>Aptos</vt:lpstr>
      <vt:lpstr>Arial</vt:lpstr>
      <vt:lpstr>Calibri</vt:lpstr>
      <vt:lpstr>Calibri Light</vt:lpstr>
      <vt:lpstr>Futura (Light)</vt:lpstr>
      <vt:lpstr>Futura Medium</vt:lpstr>
      <vt:lpstr>Garamond</vt:lpstr>
      <vt:lpstr>Tobias Light</vt:lpstr>
      <vt:lpstr>Univers</vt:lpstr>
      <vt:lpstr>Wallop</vt:lpstr>
      <vt:lpstr>Kantoorthema</vt:lpstr>
      <vt:lpstr>TNS new guided</vt:lpstr>
      <vt:lpstr>Huisstijl</vt:lpstr>
      <vt:lpstr>1_Kantoorthema</vt:lpstr>
      <vt:lpstr>PowerPoint-presentatie</vt:lpstr>
      <vt:lpstr>WELKOM</vt:lpstr>
      <vt:lpstr>PROGRAMMA</vt:lpstr>
      <vt:lpstr>Goed Bestuur &amp; Toezicht: veelgevraagd, best lastig  Prof. dr. Leen Paape RA RO CIA</vt:lpstr>
      <vt:lpstr>PowerPoint-presentatie</vt:lpstr>
      <vt:lpstr>De belangrijkste taak van bestuur en toezicht?</vt:lpstr>
      <vt:lpstr>PowerPoint-presentatie</vt:lpstr>
      <vt:lpstr>ISO 37000 standaard:  Good Governance</vt:lpstr>
      <vt:lpstr>PowerPoint-presentatie</vt:lpstr>
      <vt:lpstr>PowerPoint-presentatie</vt:lpstr>
      <vt:lpstr>PowerPoint-presentatie</vt:lpstr>
      <vt:lpstr>Relevante lange termijn ontwikkelingen</vt:lpstr>
      <vt:lpstr>Exploratie &amp; Exploitatie</vt:lpstr>
      <vt:lpstr>Efficientie of schaal is de dominante logica</vt:lpstr>
      <vt:lpstr>Ambidexterity: het nieuwe toverwoord</vt:lpstr>
      <vt:lpstr>PowerPoint-presentatie</vt:lpstr>
      <vt:lpstr>Waar gaat het eigenlijk om?</vt:lpstr>
      <vt:lpstr>Enkele basisprincipes (in Nederland)</vt:lpstr>
      <vt:lpstr>Twee basismodellen</vt:lpstr>
      <vt:lpstr>Rechtsvormen met rechtspersoonlijkheid</vt:lpstr>
      <vt:lpstr>Gewone vennootschap:</vt:lpstr>
      <vt:lpstr>Vergelijking vennootschappen:</vt:lpstr>
      <vt:lpstr>Recente ontwikkelingen</vt:lpstr>
      <vt:lpstr>Kenmerken van een goed team</vt:lpstr>
      <vt:lpstr>De 5 V’s van Leiderschap</vt:lpstr>
      <vt:lpstr>Kenmerken van een goede toezichthouder</vt:lpstr>
      <vt:lpstr>Hoe doe je het?</vt:lpstr>
      <vt:lpstr>Taakverdeling Bestuur en Toezicht</vt:lpstr>
      <vt:lpstr>Generieke bevindingen uit zelfevaluaties</vt:lpstr>
      <vt:lpstr>VRAGEN?</vt:lpstr>
      <vt:lpstr>PowerPoint-presentatie</vt:lpstr>
      <vt:lpstr>Missie</vt:lpstr>
      <vt:lpstr>Elise Lansu</vt:lpstr>
      <vt:lpstr>Trends in toezicht</vt:lpstr>
      <vt:lpstr>Toezicht is veranderd </vt:lpstr>
      <vt:lpstr>Daar horen andere competenties bij</vt:lpstr>
      <vt:lpstr>Diversiteit en nieuw bloed is belangrijk</vt:lpstr>
      <vt:lpstr>Hoe te oriënteren</vt:lpstr>
      <vt:lpstr>Opleiding</vt:lpstr>
      <vt:lpstr>Waarom wil jij toezicht houden?</vt:lpstr>
      <vt:lpstr>Wie ben jij als toezichthouder?</vt:lpstr>
      <vt:lpstr>Solliciteren</vt:lpstr>
      <vt:lpstr>Hoe bereid je je voor?</vt:lpstr>
      <vt:lpstr>Bestuurservaring</vt:lpstr>
      <vt:lpstr>Begin</vt:lpstr>
      <vt:lpstr>Vragen?</vt:lpstr>
      <vt:lpstr>NETWERKBORREL &amp; DINERBUFF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Sander Tazelaar | Dux Nova</dc:creator>
  <cp:lastModifiedBy>Koen Vermulst | Dux Nova</cp:lastModifiedBy>
  <cp:revision>1</cp:revision>
  <dcterms:created xsi:type="dcterms:W3CDTF">2023-10-03T12:28:19Z</dcterms:created>
  <dcterms:modified xsi:type="dcterms:W3CDTF">2025-04-08T07:4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9DAFB9C875574C9AEB95108A54E03F</vt:lpwstr>
  </property>
  <property fmtid="{D5CDD505-2E9C-101B-9397-08002B2CF9AE}" pid="3" name="MediaServiceImageTags">
    <vt:lpwstr/>
  </property>
</Properties>
</file>